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8.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22" r:id="rId5"/>
    <p:sldMasterId id="2147483681" r:id="rId6"/>
    <p:sldMasterId id="2147483759" r:id="rId7"/>
    <p:sldMasterId id="2147483771" r:id="rId8"/>
    <p:sldMasterId id="2147483791" r:id="rId9"/>
    <p:sldMasterId id="2147483805" r:id="rId10"/>
    <p:sldMasterId id="2147483812" r:id="rId11"/>
    <p:sldMasterId id="2147483830" r:id="rId12"/>
  </p:sldMasterIdLst>
  <p:notesMasterIdLst>
    <p:notesMasterId r:id="rId36"/>
  </p:notesMasterIdLst>
  <p:handoutMasterIdLst>
    <p:handoutMasterId r:id="rId37"/>
  </p:handoutMasterIdLst>
  <p:sldIdLst>
    <p:sldId id="2147374847" r:id="rId13"/>
    <p:sldId id="305" r:id="rId14"/>
    <p:sldId id="287" r:id="rId15"/>
    <p:sldId id="288" r:id="rId16"/>
    <p:sldId id="2147374943" r:id="rId17"/>
    <p:sldId id="307" r:id="rId18"/>
    <p:sldId id="309" r:id="rId19"/>
    <p:sldId id="284" r:id="rId20"/>
    <p:sldId id="361" r:id="rId21"/>
    <p:sldId id="294" r:id="rId22"/>
    <p:sldId id="295" r:id="rId23"/>
    <p:sldId id="296" r:id="rId24"/>
    <p:sldId id="297" r:id="rId25"/>
    <p:sldId id="2147374952" r:id="rId26"/>
    <p:sldId id="2147374944" r:id="rId27"/>
    <p:sldId id="292" r:id="rId28"/>
    <p:sldId id="335" r:id="rId29"/>
    <p:sldId id="336" r:id="rId30"/>
    <p:sldId id="337" r:id="rId31"/>
    <p:sldId id="2147374951" r:id="rId32"/>
    <p:sldId id="352" r:id="rId33"/>
    <p:sldId id="2147374911" r:id="rId34"/>
    <p:sldId id="289" r:id="rId35"/>
  </p:sldIdLst>
  <p:sldSz cx="12192000" cy="6858000"/>
  <p:notesSz cx="6858000" cy="9144000"/>
  <p:defaultTex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801" userDrawn="1">
          <p15:clr>
            <a:srgbClr val="A4A3A4"/>
          </p15:clr>
        </p15:guide>
        <p15:guide id="2" pos="864"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91A2D5C-B447-7E5D-A20D-5CABE756535C}" name="Ashlee Tuttleman" initials="AT" userId="S::tuttleman@idhtrade.org::44ae6cd2-7fb9-43b9-88ff-88ade1606a18" providerId="AD"/>
  <p188:author id="{E24E54F8-6B75-FCCB-3033-BF402B1AC0D1}" name="Vaibhav Panpaliya" initials="VP" userId="S::panpaliya@idhtrade.org::d2690668-9a7f-455a-8e4b-9087c4212d4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line Schoe" initials="ES" lastIdx="1" clrIdx="0">
    <p:extLst>
      <p:ext uri="{19B8F6BF-5375-455C-9EA6-DF929625EA0E}">
        <p15:presenceInfo xmlns:p15="http://schemas.microsoft.com/office/powerpoint/2012/main" userId="S::eline@pptstudios.nl::7e4c73be-f3d4-44a9-856c-7951ddeb280c" providerId="AD"/>
      </p:ext>
    </p:extLst>
  </p:cmAuthor>
  <p:cmAuthor id="2" name="Sera de Vries" initials="SdV" lastIdx="1" clrIdx="1">
    <p:extLst>
      <p:ext uri="{19B8F6BF-5375-455C-9EA6-DF929625EA0E}">
        <p15:presenceInfo xmlns:p15="http://schemas.microsoft.com/office/powerpoint/2012/main" userId="S::sera@pptsolutions.nl::3303f409-83b3-4a68-9145-6c8f86f2483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15F"/>
    <a:srgbClr val="004240"/>
    <a:srgbClr val="FF8B4B"/>
    <a:srgbClr val="BE4E30"/>
    <a:srgbClr val="00375C"/>
    <a:srgbClr val="E37204"/>
    <a:srgbClr val="F68E29"/>
    <a:srgbClr val="A45608"/>
    <a:srgbClr val="693300"/>
    <a:srgbClr val="D970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02" autoAdjust="0"/>
    <p:restoredTop sz="93557" autoAdjust="0"/>
  </p:normalViewPr>
  <p:slideViewPr>
    <p:cSldViewPr snapToGrid="0" snapToObjects="1">
      <p:cViewPr>
        <p:scale>
          <a:sx n="60" d="100"/>
          <a:sy n="60" d="100"/>
        </p:scale>
        <p:origin x="380" y="140"/>
      </p:cViewPr>
      <p:guideLst>
        <p:guide pos="801"/>
        <p:guide pos="864"/>
        <p:guide orient="horz" pos="2160"/>
      </p:guideLst>
    </p:cSldViewPr>
  </p:slideViewPr>
  <p:notesTextViewPr>
    <p:cViewPr>
      <p:scale>
        <a:sx n="100" d="100"/>
        <a:sy n="100" d="100"/>
      </p:scale>
      <p:origin x="0" y="0"/>
    </p:cViewPr>
  </p:notesTextViewPr>
  <p:sorterViewPr>
    <p:cViewPr>
      <p:scale>
        <a:sx n="72" d="100"/>
        <a:sy n="72" d="100"/>
      </p:scale>
      <p:origin x="0" y="-4296"/>
    </p:cViewPr>
  </p:sorterViewPr>
  <p:notesViewPr>
    <p:cSldViewPr snapToGrid="0" snapToObjects="1" showGuides="1">
      <p:cViewPr varScale="1">
        <p:scale>
          <a:sx n="122" d="100"/>
          <a:sy n="122" d="100"/>
        </p:scale>
        <p:origin x="3096"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7519275711950135E-2"/>
          <c:w val="1"/>
          <c:h val="0.94602075321431112"/>
        </c:manualLayout>
      </c:layout>
      <c:doughnutChart>
        <c:varyColors val="1"/>
        <c:ser>
          <c:idx val="0"/>
          <c:order val="0"/>
          <c:tx>
            <c:strRef>
              <c:f>Sheet1!$B$1</c:f>
              <c:strCache>
                <c:ptCount val="1"/>
                <c:pt idx="0">
                  <c:v>Column1</c:v>
                </c:pt>
              </c:strCache>
            </c:strRef>
          </c:tx>
          <c:spPr>
            <a:solidFill>
              <a:srgbClr val="FF0000"/>
            </a:solidFill>
            <a:ln>
              <a:noFill/>
            </a:ln>
            <a:effectLst/>
          </c:spPr>
          <c:explosion val="7"/>
          <c:dPt>
            <c:idx val="0"/>
            <c:bubble3D val="0"/>
            <c:spPr>
              <a:solidFill>
                <a:srgbClr val="FF4C00"/>
              </a:solidFill>
              <a:ln w="19050">
                <a:noFill/>
              </a:ln>
              <a:effectLst/>
            </c:spPr>
            <c:extLst>
              <c:ext xmlns:c16="http://schemas.microsoft.com/office/drawing/2014/chart" uri="{C3380CC4-5D6E-409C-BE32-E72D297353CC}">
                <c16:uniqueId val="{00000001-A68C-4678-B867-B6FEA2EB27F0}"/>
              </c:ext>
            </c:extLst>
          </c:dPt>
          <c:dPt>
            <c:idx val="1"/>
            <c:bubble3D val="0"/>
            <c:spPr>
              <a:solidFill>
                <a:srgbClr val="33827F"/>
              </a:solidFill>
              <a:ln w="19050">
                <a:noFill/>
              </a:ln>
              <a:effectLst/>
            </c:spPr>
            <c:extLst>
              <c:ext xmlns:c16="http://schemas.microsoft.com/office/drawing/2014/chart" uri="{C3380CC4-5D6E-409C-BE32-E72D297353CC}">
                <c16:uniqueId val="{00000003-A68C-4678-B867-B6FEA2EB27F0}"/>
              </c:ext>
            </c:extLst>
          </c:dPt>
          <c:dPt>
            <c:idx val="2"/>
            <c:bubble3D val="0"/>
            <c:spPr>
              <a:solidFill>
                <a:srgbClr val="FF0000"/>
              </a:solidFill>
              <a:ln w="19050">
                <a:noFill/>
              </a:ln>
              <a:effectLst/>
            </c:spPr>
            <c:extLst>
              <c:ext xmlns:c16="http://schemas.microsoft.com/office/drawing/2014/chart" uri="{C3380CC4-5D6E-409C-BE32-E72D297353CC}">
                <c16:uniqueId val="{00000005-A68C-4678-B867-B6FEA2EB27F0}"/>
              </c:ext>
            </c:extLst>
          </c:dPt>
          <c:dPt>
            <c:idx val="3"/>
            <c:bubble3D val="0"/>
            <c:spPr>
              <a:solidFill>
                <a:srgbClr val="FF0000"/>
              </a:solidFill>
              <a:ln w="19050">
                <a:noFill/>
              </a:ln>
              <a:effectLst/>
            </c:spPr>
            <c:extLst>
              <c:ext xmlns:c16="http://schemas.microsoft.com/office/drawing/2014/chart" uri="{C3380CC4-5D6E-409C-BE32-E72D297353CC}">
                <c16:uniqueId val="{00000007-A68C-4678-B867-B6FEA2EB27F0}"/>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3.5</c:v>
                </c:pt>
                <c:pt idx="1">
                  <c:v>6.5</c:v>
                </c:pt>
              </c:numCache>
            </c:numRef>
          </c:val>
          <c:extLst>
            <c:ext xmlns:c16="http://schemas.microsoft.com/office/drawing/2014/chart" uri="{C3380CC4-5D6E-409C-BE32-E72D297353CC}">
              <c16:uniqueId val="{00000008-A68C-4678-B867-B6FEA2EB27F0}"/>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doughnutChart>
        <c:varyColors val="1"/>
        <c:ser>
          <c:idx val="0"/>
          <c:order val="0"/>
          <c:tx>
            <c:strRef>
              <c:f>Sheet1!$B$1</c:f>
              <c:strCache>
                <c:ptCount val="1"/>
                <c:pt idx="0">
                  <c:v>Sales</c:v>
                </c:pt>
              </c:strCache>
            </c:strRef>
          </c:tx>
          <c:spPr>
            <a:solidFill>
              <a:schemeClr val="accent2"/>
            </a:solidFill>
            <a:ln w="38100">
              <a:solidFill>
                <a:schemeClr val="tx2"/>
              </a:solidFill>
            </a:ln>
          </c:spPr>
          <c:dPt>
            <c:idx val="0"/>
            <c:bubble3D val="0"/>
            <c:spPr>
              <a:solidFill>
                <a:schemeClr val="accent2"/>
              </a:solidFill>
              <a:ln w="38100">
                <a:solidFill>
                  <a:schemeClr val="tx2"/>
                </a:solidFill>
              </a:ln>
              <a:effectLst/>
            </c:spPr>
            <c:extLst>
              <c:ext xmlns:c16="http://schemas.microsoft.com/office/drawing/2014/chart" uri="{C3380CC4-5D6E-409C-BE32-E72D297353CC}">
                <c16:uniqueId val="{00000001-194F-4856-8B1C-8057D64A110D}"/>
              </c:ext>
            </c:extLst>
          </c:dPt>
          <c:dPt>
            <c:idx val="1"/>
            <c:bubble3D val="0"/>
            <c:spPr>
              <a:solidFill>
                <a:schemeClr val="accent2"/>
              </a:solidFill>
              <a:ln w="38100">
                <a:solidFill>
                  <a:schemeClr val="tx2"/>
                </a:solidFill>
              </a:ln>
              <a:effectLst/>
            </c:spPr>
            <c:extLst>
              <c:ext xmlns:c16="http://schemas.microsoft.com/office/drawing/2014/chart" uri="{C3380CC4-5D6E-409C-BE32-E72D297353CC}">
                <c16:uniqueId val="{00000003-194F-4856-8B1C-8057D64A110D}"/>
              </c:ext>
            </c:extLst>
          </c:dPt>
          <c:dPt>
            <c:idx val="2"/>
            <c:bubble3D val="0"/>
            <c:spPr>
              <a:solidFill>
                <a:schemeClr val="accent2"/>
              </a:solidFill>
              <a:ln w="38100">
                <a:solidFill>
                  <a:schemeClr val="tx2"/>
                </a:solidFill>
              </a:ln>
              <a:effectLst/>
            </c:spPr>
            <c:extLst>
              <c:ext xmlns:c16="http://schemas.microsoft.com/office/drawing/2014/chart" uri="{C3380CC4-5D6E-409C-BE32-E72D297353CC}">
                <c16:uniqueId val="{00000005-194F-4856-8B1C-8057D64A110D}"/>
              </c:ext>
            </c:extLst>
          </c:dPt>
          <c:dPt>
            <c:idx val="3"/>
            <c:bubble3D val="0"/>
            <c:spPr>
              <a:solidFill>
                <a:schemeClr val="accent2"/>
              </a:solidFill>
              <a:ln w="38100">
                <a:solidFill>
                  <a:schemeClr val="tx2"/>
                </a:solidFill>
              </a:ln>
              <a:effectLst/>
            </c:spPr>
            <c:extLst>
              <c:ext xmlns:c16="http://schemas.microsoft.com/office/drawing/2014/chart" uri="{C3380CC4-5D6E-409C-BE32-E72D297353CC}">
                <c16:uniqueId val="{00000007-194F-4856-8B1C-8057D64A110D}"/>
              </c:ext>
            </c:extLst>
          </c:dPt>
          <c:dPt>
            <c:idx val="4"/>
            <c:bubble3D val="0"/>
            <c:spPr>
              <a:solidFill>
                <a:schemeClr val="accent2"/>
              </a:solidFill>
              <a:ln w="38100">
                <a:solidFill>
                  <a:schemeClr val="tx2"/>
                </a:solidFill>
              </a:ln>
              <a:effectLst/>
            </c:spPr>
            <c:extLst>
              <c:ext xmlns:c16="http://schemas.microsoft.com/office/drawing/2014/chart" uri="{C3380CC4-5D6E-409C-BE32-E72D297353CC}">
                <c16:uniqueId val="{00000009-194F-4856-8B1C-8057D64A110D}"/>
              </c:ext>
            </c:extLst>
          </c:dPt>
          <c:dPt>
            <c:idx val="5"/>
            <c:bubble3D val="0"/>
            <c:spPr>
              <a:solidFill>
                <a:schemeClr val="accent2"/>
              </a:solidFill>
              <a:ln w="38100">
                <a:solidFill>
                  <a:schemeClr val="tx2"/>
                </a:solidFill>
              </a:ln>
              <a:effectLst/>
            </c:spPr>
            <c:extLst>
              <c:ext xmlns:c16="http://schemas.microsoft.com/office/drawing/2014/chart" uri="{C3380CC4-5D6E-409C-BE32-E72D297353CC}">
                <c16:uniqueId val="{0000000B-194F-4856-8B1C-8057D64A110D}"/>
              </c:ext>
            </c:extLst>
          </c:dPt>
          <c:cat>
            <c:strRef>
              <c:f>Sheet1!$A$2:$A$7</c:f>
              <c:strCache>
                <c:ptCount val="6"/>
                <c:pt idx="0">
                  <c:v>1st Qtr</c:v>
                </c:pt>
                <c:pt idx="1">
                  <c:v>2nd Qtr</c:v>
                </c:pt>
                <c:pt idx="2">
                  <c:v>3rd Qtr</c:v>
                </c:pt>
                <c:pt idx="3">
                  <c:v>4th Qtr</c:v>
                </c:pt>
                <c:pt idx="4">
                  <c:v>5th</c:v>
                </c:pt>
                <c:pt idx="5">
                  <c:v>6th</c:v>
                </c:pt>
              </c:strCache>
            </c:strRef>
          </c:cat>
          <c:val>
            <c:numRef>
              <c:f>Sheet1!$B$2:$B$7</c:f>
              <c:numCache>
                <c:formatCode>General</c:formatCode>
                <c:ptCount val="6"/>
                <c:pt idx="0">
                  <c:v>60</c:v>
                </c:pt>
                <c:pt idx="1">
                  <c:v>60</c:v>
                </c:pt>
                <c:pt idx="2">
                  <c:v>60</c:v>
                </c:pt>
                <c:pt idx="3">
                  <c:v>60</c:v>
                </c:pt>
                <c:pt idx="4">
                  <c:v>60</c:v>
                </c:pt>
                <c:pt idx="5">
                  <c:v>60</c:v>
                </c:pt>
              </c:numCache>
            </c:numRef>
          </c:val>
          <c:extLst>
            <c:ext xmlns:c16="http://schemas.microsoft.com/office/drawing/2014/chart" uri="{C3380CC4-5D6E-409C-BE32-E72D297353CC}">
              <c16:uniqueId val="{0000000C-194F-4856-8B1C-8057D64A110D}"/>
            </c:ext>
          </c:extLst>
        </c:ser>
        <c:dLbls>
          <c:showLegendKey val="0"/>
          <c:showVal val="0"/>
          <c:showCatName val="0"/>
          <c:showSerName val="0"/>
          <c:showPercent val="0"/>
          <c:showBubbleSize val="0"/>
          <c:showLeaderLines val="1"/>
        </c:dLbls>
        <c:firstSliceAng val="0"/>
        <c:holeSize val="4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4496936716880979"/>
          <c:y val="0"/>
          <c:w val="0.71006126566238026"/>
          <c:h val="1"/>
        </c:manualLayout>
      </c:layout>
      <c:doughnutChart>
        <c:varyColors val="0"/>
        <c:ser>
          <c:idx val="0"/>
          <c:order val="0"/>
          <c:tx>
            <c:strRef>
              <c:f>Sheet1!$B$1</c:f>
              <c:strCache>
                <c:ptCount val="1"/>
                <c:pt idx="0">
                  <c:v>Sales</c:v>
                </c:pt>
              </c:strCache>
            </c:strRef>
          </c:tx>
          <c:spPr>
            <a:solidFill>
              <a:schemeClr val="bg1"/>
            </a:solidFill>
            <a:ln w="38100">
              <a:solidFill>
                <a:schemeClr val="tx2"/>
              </a:solidFill>
            </a:ln>
            <a:effectLst/>
          </c:spPr>
          <c:dPt>
            <c:idx val="0"/>
            <c:bubble3D val="0"/>
            <c:extLst>
              <c:ext xmlns:c16="http://schemas.microsoft.com/office/drawing/2014/chart" uri="{C3380CC4-5D6E-409C-BE32-E72D297353CC}">
                <c16:uniqueId val="{00000000-81CA-4967-8ACE-FA1A2D35B5B4}"/>
              </c:ext>
            </c:extLst>
          </c:dPt>
          <c:dPt>
            <c:idx val="1"/>
            <c:bubble3D val="0"/>
            <c:extLst>
              <c:ext xmlns:c16="http://schemas.microsoft.com/office/drawing/2014/chart" uri="{C3380CC4-5D6E-409C-BE32-E72D297353CC}">
                <c16:uniqueId val="{00000001-81CA-4967-8ACE-FA1A2D35B5B4}"/>
              </c:ext>
            </c:extLst>
          </c:dPt>
          <c:dPt>
            <c:idx val="2"/>
            <c:bubble3D val="0"/>
            <c:extLst>
              <c:ext xmlns:c16="http://schemas.microsoft.com/office/drawing/2014/chart" uri="{C3380CC4-5D6E-409C-BE32-E72D297353CC}">
                <c16:uniqueId val="{00000002-81CA-4967-8ACE-FA1A2D35B5B4}"/>
              </c:ext>
            </c:extLst>
          </c:dPt>
          <c:dPt>
            <c:idx val="3"/>
            <c:bubble3D val="0"/>
            <c:extLst>
              <c:ext xmlns:c16="http://schemas.microsoft.com/office/drawing/2014/chart" uri="{C3380CC4-5D6E-409C-BE32-E72D297353CC}">
                <c16:uniqueId val="{00000003-81CA-4967-8ACE-FA1A2D35B5B4}"/>
              </c:ext>
            </c:extLst>
          </c:dPt>
          <c:dPt>
            <c:idx val="4"/>
            <c:bubble3D val="0"/>
            <c:extLst>
              <c:ext xmlns:c16="http://schemas.microsoft.com/office/drawing/2014/chart" uri="{C3380CC4-5D6E-409C-BE32-E72D297353CC}">
                <c16:uniqueId val="{00000004-81CA-4967-8ACE-FA1A2D35B5B4}"/>
              </c:ext>
            </c:extLst>
          </c:dPt>
          <c:dPt>
            <c:idx val="5"/>
            <c:bubble3D val="0"/>
            <c:extLst>
              <c:ext xmlns:c16="http://schemas.microsoft.com/office/drawing/2014/chart" uri="{C3380CC4-5D6E-409C-BE32-E72D297353CC}">
                <c16:uniqueId val="{00000005-81CA-4967-8ACE-FA1A2D35B5B4}"/>
              </c:ext>
            </c:extLst>
          </c:dPt>
          <c:cat>
            <c:strRef>
              <c:f>Sheet1!$A$2:$A$7</c:f>
              <c:strCache>
                <c:ptCount val="6"/>
                <c:pt idx="0">
                  <c:v>1st Qtr</c:v>
                </c:pt>
                <c:pt idx="1">
                  <c:v>2nd Qtr</c:v>
                </c:pt>
                <c:pt idx="2">
                  <c:v>3rd Qtr</c:v>
                </c:pt>
                <c:pt idx="3">
                  <c:v>4th Qtr</c:v>
                </c:pt>
                <c:pt idx="4">
                  <c:v>5th</c:v>
                </c:pt>
                <c:pt idx="5">
                  <c:v>6th</c:v>
                </c:pt>
              </c:strCache>
            </c:strRef>
          </c:cat>
          <c:val>
            <c:numRef>
              <c:f>Sheet1!$B$2:$B$7</c:f>
              <c:numCache>
                <c:formatCode>General</c:formatCode>
                <c:ptCount val="6"/>
                <c:pt idx="0">
                  <c:v>60</c:v>
                </c:pt>
                <c:pt idx="1">
                  <c:v>60</c:v>
                </c:pt>
                <c:pt idx="2">
                  <c:v>60</c:v>
                </c:pt>
                <c:pt idx="3">
                  <c:v>60</c:v>
                </c:pt>
                <c:pt idx="4">
                  <c:v>60</c:v>
                </c:pt>
                <c:pt idx="5">
                  <c:v>60</c:v>
                </c:pt>
              </c:numCache>
            </c:numRef>
          </c:val>
          <c:extLst>
            <c:ext xmlns:c16="http://schemas.microsoft.com/office/drawing/2014/chart" uri="{C3380CC4-5D6E-409C-BE32-E72D297353CC}">
              <c16:uniqueId val="{00000006-81CA-4967-8ACE-FA1A2D35B5B4}"/>
            </c:ext>
          </c:extLst>
        </c:ser>
        <c:dLbls>
          <c:showLegendKey val="0"/>
          <c:showVal val="0"/>
          <c:showCatName val="0"/>
          <c:showSerName val="0"/>
          <c:showPercent val="0"/>
          <c:showBubbleSize val="0"/>
          <c:showLeaderLines val="1"/>
        </c:dLbls>
        <c:firstSliceAng val="0"/>
        <c:holeSize val="56"/>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FEBCF39-CA26-EA96-2ACB-091D9695F4F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2C437B9-7B8C-48FB-9A35-2A03992364F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19F5021-989E-CF45-B4F3-E355E8D65DE0}" type="datetimeFigureOut">
              <a:rPr lang="en-US" smtClean="0"/>
              <a:t>5/19/2025</a:t>
            </a:fld>
            <a:endParaRPr lang="en-US"/>
          </a:p>
        </p:txBody>
      </p:sp>
      <p:sp>
        <p:nvSpPr>
          <p:cNvPr id="4" name="Footer Placeholder 3">
            <a:extLst>
              <a:ext uri="{FF2B5EF4-FFF2-40B4-BE49-F238E27FC236}">
                <a16:creationId xmlns:a16="http://schemas.microsoft.com/office/drawing/2014/main" id="{AB553563-08DB-FE61-63CE-C2B95B3B04C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6188FD9-E190-67EC-AD76-ED008A907AE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ABE240F-E3FD-4D4E-801C-6BBF4B7154F9}" type="slidenum">
              <a:rPr lang="en-US" smtClean="0"/>
              <a:t>‹#›</a:t>
            </a:fld>
            <a:endParaRPr lang="en-US"/>
          </a:p>
        </p:txBody>
      </p:sp>
    </p:spTree>
    <p:extLst>
      <p:ext uri="{BB962C8B-B14F-4D97-AF65-F5344CB8AC3E}">
        <p14:creationId xmlns:p14="http://schemas.microsoft.com/office/powerpoint/2010/main" val="3027949303"/>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E09628-FD03-E848-86D8-1A92D66BF071}" type="datetimeFigureOut">
              <a:rPr lang="en-NL" smtClean="0"/>
              <a:t>05/19/2025</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ECCBBC-4017-5345-80D2-9C8E720DBD43}" type="slidenum">
              <a:rPr lang="en-NL" smtClean="0"/>
              <a:t>‹#›</a:t>
            </a:fld>
            <a:endParaRPr lang="en-NL"/>
          </a:p>
        </p:txBody>
      </p:sp>
    </p:spTree>
    <p:extLst>
      <p:ext uri="{BB962C8B-B14F-4D97-AF65-F5344CB8AC3E}">
        <p14:creationId xmlns:p14="http://schemas.microsoft.com/office/powerpoint/2010/main" val="5910300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C6ECCBBC-4017-5345-80D2-9C8E720DBD43}" type="slidenum">
              <a:rPr lang="en-NL" smtClean="0"/>
              <a:t>1</a:t>
            </a:fld>
            <a:endParaRPr lang="en-NL"/>
          </a:p>
        </p:txBody>
      </p:sp>
    </p:spTree>
    <p:extLst>
      <p:ext uri="{BB962C8B-B14F-4D97-AF65-F5344CB8AC3E}">
        <p14:creationId xmlns:p14="http://schemas.microsoft.com/office/powerpoint/2010/main" val="1701475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mbitious LI results CAN support / positively reinforce </a:t>
            </a:r>
          </a:p>
          <a:p>
            <a:pPr lvl="1"/>
            <a:r>
              <a:rPr lang="en-US" dirty="0"/>
              <a:t>Environmental improvements / forest protection</a:t>
            </a:r>
          </a:p>
          <a:p>
            <a:pPr lvl="1"/>
            <a:r>
              <a:rPr lang="en-US" dirty="0"/>
              <a:t>Mitigating other human rights violations, like child labor </a:t>
            </a:r>
          </a:p>
          <a:p>
            <a:pPr lvl="1"/>
            <a:r>
              <a:rPr lang="en-US" dirty="0"/>
              <a:t>…others?</a:t>
            </a:r>
          </a:p>
          <a:p>
            <a:pPr lvl="1"/>
            <a:r>
              <a:rPr lang="en-US" dirty="0"/>
              <a:t>Food security</a:t>
            </a:r>
          </a:p>
          <a:p>
            <a:pPr lvl="1"/>
            <a:r>
              <a:rPr lang="en-US" dirty="0"/>
              <a:t>HEALTHY ENVIRONMENT and food system</a:t>
            </a:r>
            <a:endParaRPr lang="en-GB" dirty="0"/>
          </a:p>
          <a:p>
            <a:pPr marL="173990" indent="-173990"/>
            <a:br>
              <a:rPr lang="en-GB" dirty="0"/>
            </a:br>
            <a:endParaRPr lang="en-GB" sz="1800" dirty="0">
              <a:effectLst/>
              <a:latin typeface="Calibri" panose="020F0502020204030204" pitchFamily="34" charset="0"/>
              <a:ea typeface="Calibri" panose="020F0502020204030204" pitchFamily="34" charset="0"/>
            </a:endParaRPr>
          </a:p>
          <a:p>
            <a:r>
              <a:rPr lang="en-GB" sz="1800" dirty="0">
                <a:effectLst/>
                <a:latin typeface="Calibri" panose="020F0502020204030204" pitchFamily="34" charset="0"/>
                <a:ea typeface="Calibri" panose="020F0502020204030204" pitchFamily="34" charset="0"/>
              </a:rPr>
              <a:t> </a:t>
            </a:r>
          </a:p>
          <a:p>
            <a:endParaRPr lang="en-GB" dirty="0"/>
          </a:p>
        </p:txBody>
      </p:sp>
      <p:sp>
        <p:nvSpPr>
          <p:cNvPr id="4" name="Tijdelijke aanduiding voor dianummer 3"/>
          <p:cNvSpPr>
            <a:spLocks noGrp="1"/>
          </p:cNvSpPr>
          <p:nvPr>
            <p:ph type="sldNum" sz="quarter" idx="5"/>
          </p:nvPr>
        </p:nvSpPr>
        <p:spPr/>
        <p:txBody>
          <a:bodyPr/>
          <a:lstStyle/>
          <a:p>
            <a:fld id="{C6ECCBBC-4017-5345-80D2-9C8E720DBD43}" type="slidenum">
              <a:rPr lang="en-NL" smtClean="0"/>
              <a:t>10</a:t>
            </a:fld>
            <a:endParaRPr lang="en-NL"/>
          </a:p>
        </p:txBody>
      </p:sp>
    </p:spTree>
    <p:extLst>
      <p:ext uri="{BB962C8B-B14F-4D97-AF65-F5344CB8AC3E}">
        <p14:creationId xmlns:p14="http://schemas.microsoft.com/office/powerpoint/2010/main" val="14115086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C6ECCBBC-4017-5345-80D2-9C8E720DBD43}" type="slidenum">
              <a:rPr lang="en-NL" smtClean="0"/>
              <a:t>11</a:t>
            </a:fld>
            <a:endParaRPr lang="en-NL"/>
          </a:p>
        </p:txBody>
      </p:sp>
    </p:spTree>
    <p:extLst>
      <p:ext uri="{BB962C8B-B14F-4D97-AF65-F5344CB8AC3E}">
        <p14:creationId xmlns:p14="http://schemas.microsoft.com/office/powerpoint/2010/main" val="7955631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3990" marR="0" lvl="0" indent="-173990" algn="l" defTabSz="914400" rtl="0" eaLnBrk="1" fontAlgn="auto" latinLnBrk="0" hangingPunct="1">
              <a:lnSpc>
                <a:spcPct val="100000"/>
              </a:lnSpc>
              <a:spcBef>
                <a:spcPts val="0"/>
              </a:spcBef>
              <a:spcAft>
                <a:spcPts val="0"/>
              </a:spcAft>
              <a:buClrTx/>
              <a:buSzTx/>
              <a:buFontTx/>
              <a:buNone/>
              <a:tabLst/>
              <a:defRPr/>
            </a:pPr>
            <a:r>
              <a:rPr lang="en-GB" dirty="0"/>
              <a:t>Social license to operate companies need this. </a:t>
            </a:r>
            <a:br>
              <a:rPr lang="en-GB" dirty="0"/>
            </a:br>
            <a:br>
              <a:rPr lang="en-GB" dirty="0"/>
            </a:br>
            <a:r>
              <a:rPr lang="en-GB" sz="1800" b="1" dirty="0">
                <a:solidFill>
                  <a:srgbClr val="000000"/>
                </a:solidFill>
                <a:effectLst/>
                <a:latin typeface="Calibri" panose="020F0502020204030204" pitchFamily="34" charset="0"/>
                <a:ea typeface="Calibri" panose="020F0502020204030204" pitchFamily="34" charset="0"/>
              </a:rPr>
              <a:t>Human Rights</a:t>
            </a:r>
            <a:endParaRPr lang="en-GB" sz="1200" dirty="0">
              <a:solidFill>
                <a:srgbClr val="000000"/>
              </a:solidFill>
              <a:effectLst/>
              <a:latin typeface="Calibri" panose="020F0502020204030204" pitchFamily="34" charset="0"/>
              <a:ea typeface="Calibri" panose="020F0502020204030204" pitchFamily="34" charset="0"/>
            </a:endParaRPr>
          </a:p>
          <a:p>
            <a:pPr marL="173990" indent="-173990"/>
            <a:endParaRPr lang="en-GB" sz="1200" dirty="0">
              <a:solidFill>
                <a:srgbClr val="000000"/>
              </a:solidFill>
              <a:effectLst/>
              <a:latin typeface="Calibri" panose="020F0502020204030204" pitchFamily="34" charset="0"/>
              <a:ea typeface="Calibri" panose="020F0502020204030204" pitchFamily="34" charset="0"/>
            </a:endParaRPr>
          </a:p>
          <a:p>
            <a:pPr marL="173990" indent="-173990"/>
            <a:r>
              <a:rPr lang="en-GB" sz="1200" dirty="0">
                <a:solidFill>
                  <a:srgbClr val="000000"/>
                </a:solidFill>
                <a:effectLst/>
                <a:latin typeface="Calibri" panose="020F0502020204030204" pitchFamily="34" charset="0"/>
                <a:ea typeface="Calibri" panose="020F0502020204030204" pitchFamily="34" charset="0"/>
              </a:rPr>
              <a:t>Leverage Opportunities:</a:t>
            </a:r>
            <a:endParaRPr lang="en-GB" sz="1200" dirty="0">
              <a:effectLst/>
              <a:latin typeface="Calibri" panose="020F0502020204030204" pitchFamily="34" charset="0"/>
              <a:ea typeface="Calibri" panose="020F0502020204030204" pitchFamily="34" charset="0"/>
            </a:endParaRPr>
          </a:p>
          <a:p>
            <a:pPr marL="342900" lvl="0" indent="-342900">
              <a:buFont typeface="Arial" panose="020B0604020202020204" pitchFamily="34" charset="0"/>
              <a:buChar char="•"/>
              <a:tabLst>
                <a:tab pos="457200" algn="l"/>
              </a:tabLst>
            </a:pPr>
            <a:r>
              <a:rPr lang="en-GB"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ll of us working to achieve the SDGs is really important, wherever your business is along the supply chain, alongside governments and civil society. </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GB"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ith pressure now through legislation, reporting will become easier. There is an option to </a:t>
            </a:r>
            <a:r>
              <a:rPr lang="en-GB" sz="12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pt for traceability too.</a:t>
            </a:r>
            <a:endParaRPr lang="en-GB" sz="1200" b="1" dirty="0">
              <a:effectLst/>
              <a:latin typeface="Calibri" panose="020F0502020204030204" pitchFamily="34" charset="0"/>
              <a:ea typeface="Calibri" panose="020F0502020204030204" pitchFamily="34" charset="0"/>
              <a:cs typeface="Times New Roman" panose="02020603050405020304" pitchFamily="18" charset="0"/>
            </a:endParaRPr>
          </a:p>
          <a:p>
            <a:pPr marL="173990" indent="-173990"/>
            <a:r>
              <a:rPr lang="en-GB" sz="1200" dirty="0">
                <a:solidFill>
                  <a:srgbClr val="000000"/>
                </a:solidFill>
                <a:effectLst/>
                <a:latin typeface="Calibri" panose="020F0502020204030204" pitchFamily="34" charset="0"/>
                <a:ea typeface="Calibri" panose="020F0502020204030204" pitchFamily="34" charset="0"/>
              </a:rPr>
              <a:t>Mitigate risks</a:t>
            </a:r>
            <a:endParaRPr lang="en-GB" sz="1200" dirty="0">
              <a:effectLst/>
              <a:latin typeface="Calibri" panose="020F0502020204030204" pitchFamily="34" charset="0"/>
              <a:ea typeface="Calibri" panose="020F0502020204030204" pitchFamily="34" charset="0"/>
            </a:endParaRPr>
          </a:p>
          <a:p>
            <a:pPr marL="342900" lvl="0" indent="-342900">
              <a:buFont typeface="Arial" panose="020B0604020202020204" pitchFamily="34" charset="0"/>
              <a:buChar char="•"/>
              <a:tabLst>
                <a:tab pos="457200" algn="l"/>
              </a:tabLst>
            </a:pPr>
            <a:r>
              <a:rPr lang="en-GB"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cotton sector is also well known for using child labour – so that families can earn a decent income each day. This is particularly true during the harvest season and worker families who migrate into the area to pick cotton. While child labour is illegal, for these vulnerable communities, there is no choice, unless they </a:t>
            </a:r>
            <a:r>
              <a:rPr lang="en-GB" sz="12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y</a:t>
            </a:r>
            <a:r>
              <a:rPr lang="en-GB"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re paid a living wage and farmers are paid the fair price.</a:t>
            </a:r>
          </a:p>
          <a:p>
            <a:pPr marL="0" lvl="0" indent="0">
              <a:buFont typeface="Arial" panose="020B0604020202020204" pitchFamily="34" charset="0"/>
              <a:buNone/>
              <a:tabLst>
                <a:tab pos="457200" algn="l"/>
              </a:tabLst>
            </a:pP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p>
            <a:r>
              <a:rPr lang="en-GB" sz="1200" b="1" dirty="0">
                <a:solidFill>
                  <a:srgbClr val="000000"/>
                </a:solidFill>
                <a:effectLst/>
                <a:latin typeface="Calibri" panose="020F0502020204030204" pitchFamily="34" charset="0"/>
                <a:ea typeface="Calibri" panose="020F0502020204030204" pitchFamily="34" charset="0"/>
              </a:rPr>
              <a:t>Reputation</a:t>
            </a:r>
            <a:endParaRPr lang="en-GB" sz="1200" dirty="0">
              <a:effectLst/>
              <a:latin typeface="Calibri" panose="020F0502020204030204" pitchFamily="34" charset="0"/>
              <a:ea typeface="Calibri" panose="020F0502020204030204" pitchFamily="34" charset="0"/>
            </a:endParaRPr>
          </a:p>
          <a:p>
            <a:pPr marL="342900" lvl="0" indent="-342900">
              <a:buFont typeface="Arial" panose="020B0604020202020204" pitchFamily="34" charset="0"/>
              <a:buChar char="•"/>
              <a:tabLst>
                <a:tab pos="457200" algn="l"/>
              </a:tabLst>
            </a:pPr>
            <a:r>
              <a:rPr lang="en-GB"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he fashion industry is highly competitive and one of the ways of differentiating oneself is to make choices that would help build a favourable reputation with consumers. Consumers have begun to make choices to buy from companies that are ethical and care for producer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GB" sz="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nvestors are also getting interested in companies that have the edge on the social and environmental front. Such investment is also an incentive to make changes along the value chain and therefore create a positive market presence, and get a better share of the market.</a:t>
            </a:r>
          </a:p>
          <a:p>
            <a:pPr marL="0" lvl="0" indent="0">
              <a:buFont typeface="Arial" panose="020B0604020202020204" pitchFamily="34" charset="0"/>
              <a:buNone/>
              <a:tabLst>
                <a:tab pos="457200" algn="l"/>
              </a:tabLst>
            </a:pP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p>
            <a:r>
              <a:rPr lang="en-GB" sz="1200" b="1" dirty="0">
                <a:solidFill>
                  <a:srgbClr val="000000"/>
                </a:solidFill>
                <a:effectLst/>
                <a:latin typeface="Calibri" panose="020F0502020204030204" pitchFamily="34" charset="0"/>
                <a:ea typeface="Calibri" panose="020F0502020204030204" pitchFamily="34" charset="0"/>
              </a:rPr>
              <a:t>Supply security</a:t>
            </a:r>
            <a:endParaRPr lang="en-GB" sz="1200" dirty="0">
              <a:effectLst/>
              <a:latin typeface="Calibri" panose="020F0502020204030204" pitchFamily="34" charset="0"/>
              <a:ea typeface="Calibri" panose="020F0502020204030204" pitchFamily="34" charset="0"/>
            </a:endParaRPr>
          </a:p>
          <a:p>
            <a:r>
              <a:rPr lang="en-GB" sz="1200" dirty="0">
                <a:solidFill>
                  <a:srgbClr val="000000"/>
                </a:solidFill>
                <a:effectLst/>
                <a:latin typeface="Calibri" panose="020F0502020204030204" pitchFamily="34" charset="0"/>
                <a:ea typeface="Calibri" panose="020F0502020204030204" pitchFamily="34" charset="0"/>
              </a:rPr>
              <a:t>Climate change is creating havoc in the lives of cotton farmers and therefore supporting them with better prices, training, and help to move to sustainable practices will help companies to secure their supply.  All cotton countries are affected by climate change and the volume of cotton produced is reducing.  Due to challenges of the market as well as costs of production increasing, cotton farmers are beginning to move to other crops which will further reduce the supply of cotton on the world market. For the long-term survival of the fashion industry and other industries dependent on cotton, it is important that companies work together to find solutions to support the needs of cotton farmers. </a:t>
            </a:r>
            <a:endParaRPr lang="en-GB" dirty="0"/>
          </a:p>
        </p:txBody>
      </p:sp>
      <p:sp>
        <p:nvSpPr>
          <p:cNvPr id="4" name="Tijdelijke aanduiding voor dianummer 3"/>
          <p:cNvSpPr>
            <a:spLocks noGrp="1"/>
          </p:cNvSpPr>
          <p:nvPr>
            <p:ph type="sldNum" sz="quarter" idx="5"/>
          </p:nvPr>
        </p:nvSpPr>
        <p:spPr/>
        <p:txBody>
          <a:bodyPr/>
          <a:lstStyle/>
          <a:p>
            <a:fld id="{C6ECCBBC-4017-5345-80D2-9C8E720DBD43}" type="slidenum">
              <a:rPr lang="en-NL" smtClean="0"/>
              <a:t>12</a:t>
            </a:fld>
            <a:endParaRPr lang="en-NL"/>
          </a:p>
        </p:txBody>
      </p:sp>
    </p:spTree>
    <p:extLst>
      <p:ext uri="{BB962C8B-B14F-4D97-AF65-F5344CB8AC3E}">
        <p14:creationId xmlns:p14="http://schemas.microsoft.com/office/powerpoint/2010/main" val="40536252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CCBBC-4017-5345-80D2-9C8E720DBD43}"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47237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CCBBC-4017-5345-80D2-9C8E720DBD43}"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0106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C6ECCBBC-4017-5345-80D2-9C8E720DBD43}" type="slidenum">
              <a:rPr lang="en-NL" smtClean="0"/>
              <a:t>15</a:t>
            </a:fld>
            <a:endParaRPr lang="en-NL"/>
          </a:p>
        </p:txBody>
      </p:sp>
    </p:spTree>
    <p:extLst>
      <p:ext uri="{BB962C8B-B14F-4D97-AF65-F5344CB8AC3E}">
        <p14:creationId xmlns:p14="http://schemas.microsoft.com/office/powerpoint/2010/main" val="5294098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CCBBC-4017-5345-80D2-9C8E720DBD43}"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90014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CCBBC-4017-5345-80D2-9C8E720DBD43}"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75324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The implementation of a pricing mechanism formula that’s often prescribed by local or national governments. </a:t>
            </a:r>
          </a:p>
          <a:p>
            <a:r>
              <a:rPr lang="en-GB" dirty="0"/>
              <a:t>• The world market price, as the FFB-price received by smallholders often relies on global prices. </a:t>
            </a:r>
          </a:p>
          <a:p>
            <a:r>
              <a:rPr lang="en-GB" dirty="0"/>
              <a:t>• Size of the farm. </a:t>
            </a:r>
          </a:p>
          <a:p>
            <a:r>
              <a:rPr lang="en-GB" dirty="0"/>
              <a:t>• Productivity level. </a:t>
            </a:r>
          </a:p>
          <a:p>
            <a:r>
              <a:rPr lang="en-GB" dirty="0"/>
              <a:t>• Labor costs. </a:t>
            </a:r>
          </a:p>
          <a:p>
            <a:r>
              <a:rPr lang="en-GB" dirty="0"/>
              <a:t>• The price farmers pay for inputs like fertilizer and pesticides also depend on global market prices. </a:t>
            </a:r>
          </a:p>
          <a:p>
            <a:r>
              <a:rPr lang="en-GB" dirty="0"/>
              <a:t>• Whether the farmer or agent is selling to intermediaries or directly to the mill. </a:t>
            </a:r>
          </a:p>
          <a:p>
            <a:r>
              <a:rPr lang="en-GB" dirty="0"/>
              <a:t>• The state and availability of local infrastructure and transport logistics </a:t>
            </a:r>
          </a:p>
          <a:p>
            <a:r>
              <a:rPr lang="en-GB" dirty="0"/>
              <a:t>• The number and capacity of mills that can be reached before the FFB starts to deteriorate. </a:t>
            </a:r>
          </a:p>
          <a:p>
            <a:r>
              <a:rPr lang="en-GB" dirty="0"/>
              <a:t>• The reliability and fairness of weighing scales and quality control procedures. </a:t>
            </a:r>
          </a:p>
          <a:p>
            <a:r>
              <a:rPr lang="en-GB" dirty="0"/>
              <a:t>• The objective assessment of FFB grading by the mill and how transparent it is about its grading system. </a:t>
            </a:r>
          </a:p>
          <a:p>
            <a:r>
              <a:rPr lang="en-GB" dirty="0"/>
              <a:t>• The Oil Extraction Rate (OER), which in turn relies on the quality of the FFB.</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CCBBC-4017-5345-80D2-9C8E720DBD43}"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68684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The world market price, as the FFB-price received by smallholders often relies on global prices. </a:t>
            </a:r>
          </a:p>
          <a:p>
            <a:r>
              <a:rPr lang="en-GB" dirty="0"/>
              <a:t>• Labor costs. </a:t>
            </a:r>
          </a:p>
          <a:p>
            <a:r>
              <a:rPr lang="en-GB" dirty="0"/>
              <a:t>• The price farmers pay for inputs like fertilizer and pesticides also depend on global market prices. </a:t>
            </a:r>
          </a:p>
          <a:p>
            <a:r>
              <a:rPr lang="en-GB" dirty="0"/>
              <a:t>• Whether the farmer or agent is selling to intermediaries or directly to the mill. </a:t>
            </a:r>
          </a:p>
          <a:p>
            <a:r>
              <a:rPr lang="en-GB" dirty="0"/>
              <a:t>• The state and availability of local infrastructure and transport logistics </a:t>
            </a:r>
          </a:p>
          <a:p>
            <a:r>
              <a:rPr lang="en-GB" dirty="0"/>
              <a:t>• The number and capacity of mills that can be reached before the FFB starts to deteriorate. </a:t>
            </a:r>
          </a:p>
          <a:p>
            <a:r>
              <a:rPr lang="en-GB" dirty="0"/>
              <a:t>• The reliability and fairness of weighing scales and quality control procedures. </a:t>
            </a:r>
          </a:p>
          <a:p>
            <a:r>
              <a:rPr lang="en-GB" dirty="0"/>
              <a:t>• The objective assessment of FFB grading by the mill and how transparent it is about its grading system. </a:t>
            </a:r>
          </a:p>
          <a:p>
            <a:r>
              <a:rPr lang="en-GB" dirty="0"/>
              <a:t>• The Oil Extraction Rate (OER), which in turn relies on the quality of the FFB.</a:t>
            </a:r>
          </a:p>
          <a:p>
            <a:endParaRPr lang="en-GB"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CCBBC-4017-5345-80D2-9C8E720DBD43}"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8398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C6ECCBBC-4017-5345-80D2-9C8E720DBD43}" type="slidenum">
              <a:rPr lang="en-NL" smtClean="0"/>
              <a:t>2</a:t>
            </a:fld>
            <a:endParaRPr lang="en-NL"/>
          </a:p>
        </p:txBody>
      </p:sp>
    </p:spTree>
    <p:extLst>
      <p:ext uri="{BB962C8B-B14F-4D97-AF65-F5344CB8AC3E}">
        <p14:creationId xmlns:p14="http://schemas.microsoft.com/office/powerpoint/2010/main" val="37744797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a:buFont typeface="Arial" panose="020B0604020202020204" pitchFamily="34" charset="0"/>
              <a:buNone/>
            </a:pPr>
            <a:endParaRPr lang="en-US" sz="1200">
              <a:effectLst/>
              <a:latin typeface="Calibri" panose="020F0502020204030204" pitchFamily="34" charset="0"/>
              <a:ea typeface="Calibri" panose="020F0502020204030204" pitchFamily="34" charset="0"/>
              <a:cs typeface="Arial" panose="020B0604020202020204" pitchFamily="34" charset="0"/>
            </a:endParaRP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CCBBC-4017-5345-80D2-9C8E720DBD43}"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4603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In order to deliver results at farm level with multiple income drivers, stakeholders need to change their behavior at various levels – their own behavior (</a:t>
            </a:r>
            <a:r>
              <a:rPr lang="en-US" sz="1200" dirty="0" err="1">
                <a:effectLst/>
                <a:latin typeface="Calibri" panose="020F0502020204030204" pitchFamily="34" charset="0"/>
                <a:ea typeface="Calibri" panose="020F0502020204030204" pitchFamily="34" charset="0"/>
                <a:cs typeface="Arial" panose="020B0604020202020204" pitchFamily="34" charset="0"/>
              </a:rPr>
              <a:t>ie</a:t>
            </a:r>
            <a:r>
              <a:rPr lang="en-US" sz="1200" dirty="0">
                <a:effectLst/>
                <a:latin typeface="Calibri" panose="020F0502020204030204" pitchFamily="34" charset="0"/>
                <a:ea typeface="Calibri" panose="020F0502020204030204" pitchFamily="34" charset="0"/>
                <a:cs typeface="Arial" panose="020B0604020202020204" pitchFamily="34" charset="0"/>
              </a:rPr>
              <a:t> business practice), at national and/or landscape level, and at sector leve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This means strategies that can improve income drivers go far beyond addressing changes in the farm system and household behavio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These strategies range from service delivery for improved production and processing, to brand and consumer engagement, to improving the enabling environment. See below for 6 strategic areas that multiple stakeholders can address in their multistakeholder intervention strateg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Each of these strategies should influence an improvement in one or multiple income drivers, or the underlying conditions that enable an improvement in income drive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effectLst/>
                <a:latin typeface="Calibri" panose="020F0502020204030204" pitchFamily="34" charset="0"/>
                <a:ea typeface="Calibri" panose="020F0502020204030204" pitchFamily="34" charset="0"/>
                <a:cs typeface="Arial" panose="020B0604020202020204" pitchFamily="34" charset="0"/>
              </a:rPr>
              <a:t>As you iterate on feasible values and the impact it has on income, the more exploration you might have to do to identify appropriate strategies. </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CCBBC-4017-5345-80D2-9C8E720DBD43}"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03754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CCBBC-4017-5345-80D2-9C8E720DBD43}"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27872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ECCBBC-4017-5345-80D2-9C8E720DBD43}" type="slidenum">
              <a:rPr lang="en-NL" smtClean="0"/>
              <a:t>23</a:t>
            </a:fld>
            <a:endParaRPr lang="en-NL"/>
          </a:p>
        </p:txBody>
      </p:sp>
    </p:spTree>
    <p:extLst>
      <p:ext uri="{BB962C8B-B14F-4D97-AF65-F5344CB8AC3E}">
        <p14:creationId xmlns:p14="http://schemas.microsoft.com/office/powerpoint/2010/main" val="40709993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C6ECCBBC-4017-5345-80D2-9C8E720DBD43}" type="slidenum">
              <a:rPr lang="en-NL" smtClean="0"/>
              <a:t>3</a:t>
            </a:fld>
            <a:endParaRPr lang="en-NL"/>
          </a:p>
        </p:txBody>
      </p:sp>
    </p:spTree>
    <p:extLst>
      <p:ext uri="{BB962C8B-B14F-4D97-AF65-F5344CB8AC3E}">
        <p14:creationId xmlns:p14="http://schemas.microsoft.com/office/powerpoint/2010/main" val="18613512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C6ECCBBC-4017-5345-80D2-9C8E720DBD43}" type="slidenum">
              <a:rPr lang="en-NL" smtClean="0"/>
              <a:t>4</a:t>
            </a:fld>
            <a:endParaRPr lang="en-NL"/>
          </a:p>
        </p:txBody>
      </p:sp>
    </p:spTree>
    <p:extLst>
      <p:ext uri="{BB962C8B-B14F-4D97-AF65-F5344CB8AC3E}">
        <p14:creationId xmlns:p14="http://schemas.microsoft.com/office/powerpoint/2010/main" val="801784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C6ECCBBC-4017-5345-80D2-9C8E720DBD43}" type="slidenum">
              <a:rPr lang="en-NL" smtClean="0"/>
              <a:t>5</a:t>
            </a:fld>
            <a:endParaRPr lang="en-NL"/>
          </a:p>
        </p:txBody>
      </p:sp>
    </p:spTree>
    <p:extLst>
      <p:ext uri="{BB962C8B-B14F-4D97-AF65-F5344CB8AC3E}">
        <p14:creationId xmlns:p14="http://schemas.microsoft.com/office/powerpoint/2010/main" val="3466256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C6ECCBBC-4017-5345-80D2-9C8E720DBD43}" type="slidenum">
              <a:rPr lang="en-NL" smtClean="0"/>
              <a:t>6</a:t>
            </a:fld>
            <a:endParaRPr lang="en-NL"/>
          </a:p>
        </p:txBody>
      </p:sp>
    </p:spTree>
    <p:extLst>
      <p:ext uri="{BB962C8B-B14F-4D97-AF65-F5344CB8AC3E}">
        <p14:creationId xmlns:p14="http://schemas.microsoft.com/office/powerpoint/2010/main" val="3927175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CCBBC-4017-5345-80D2-9C8E720DBD43}"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29109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C6ECCBBC-4017-5345-80D2-9C8E720DBD43}" type="slidenum">
              <a:rPr lang="en-NL" smtClean="0"/>
              <a:t>8</a:t>
            </a:fld>
            <a:endParaRPr lang="en-NL"/>
          </a:p>
        </p:txBody>
      </p:sp>
    </p:spTree>
    <p:extLst>
      <p:ext uri="{BB962C8B-B14F-4D97-AF65-F5344CB8AC3E}">
        <p14:creationId xmlns:p14="http://schemas.microsoft.com/office/powerpoint/2010/main" val="27706771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sz="1800" b="0" i="0" u="none" strike="noStrike" baseline="0" dirty="0">
                <a:solidFill>
                  <a:srgbClr val="000000"/>
                </a:solidFill>
                <a:latin typeface="FreightSans Pro Book"/>
              </a:rPr>
              <a:t>A typical oil palm plot is below five hectares, despite the fact that the threshold for smallholder farmers is set at 25 hectares in Indonesia and at 40 hectares in Malaysia</a:t>
            </a:r>
          </a:p>
          <a:p>
            <a:endParaRPr lang="en-GB" sz="1800" b="0" i="0" u="none" strike="noStrike" baseline="0" dirty="0">
              <a:solidFill>
                <a:srgbClr val="000000"/>
              </a:solidFill>
              <a:latin typeface="FreightSans Pro Book"/>
            </a:endParaRPr>
          </a:p>
          <a:p>
            <a:r>
              <a:rPr lang="en-GB" dirty="0"/>
              <a:t>Smallholder farmers account for an estimated 27 percent of the total cultivated land area and between 25 and 30 percent of global production</a:t>
            </a:r>
            <a:endParaRPr lang="en-GB" sz="1800" b="0" i="0" u="none" strike="noStrike" baseline="0" dirty="0">
              <a:solidFill>
                <a:srgbClr val="000000"/>
              </a:solidFill>
              <a:latin typeface="FreightSans Pro Book"/>
            </a:endParaRPr>
          </a:p>
          <a:p>
            <a:endParaRPr lang="en-GB" sz="1800" b="0" i="0" u="none" strike="noStrike" baseline="0" dirty="0">
              <a:solidFill>
                <a:srgbClr val="000000"/>
              </a:solidFill>
              <a:latin typeface="FreightSans Pro Book"/>
            </a:endParaRPr>
          </a:p>
          <a:p>
            <a:r>
              <a:rPr lang="en-GB" dirty="0"/>
              <a:t>These smallholders are developing their operations independently from the large plantations. They organize themselves in farmer groups, cooperatives and associations to collect and sell their fresh fruit bunches (FFB) to the mill that offers the best price. Or they depend on intermediaries for selling their produce as well as for access to inputs and credit.</a:t>
            </a:r>
            <a:endParaRPr lang="en-GB" sz="1800" b="0" i="0" u="none" strike="noStrike" baseline="0" dirty="0">
              <a:solidFill>
                <a:srgbClr val="000000"/>
              </a:solidFill>
              <a:latin typeface="FreightSans Pro Book"/>
            </a:endParaRPr>
          </a:p>
          <a:p>
            <a:endParaRPr lang="en-GB" sz="1800" b="0" i="0" u="none" strike="noStrike" baseline="0" dirty="0">
              <a:solidFill>
                <a:srgbClr val="000000"/>
              </a:solidFill>
              <a:latin typeface="FreightSans Pro Book"/>
            </a:endParaRPr>
          </a:p>
          <a:p>
            <a:r>
              <a:rPr lang="en-GB" dirty="0"/>
              <a:t>Many smallholders are attracted to growing oil palm for its greater yield and potentially higher prices, as well as the fact that it can be harvested year-round, providing a steady cash flow. Compared to other commodities like cocoa, coffee or tea, oil palm is seen as a profitable crop and price is rarely the subject of public debate. This is likely linked to the fact that palm oil is generally more profitable compared to other crops and that, in most cases, smallholders have larger plots than their peers in other crops.</a:t>
            </a:r>
            <a:endParaRPr lang="en-GB" sz="1800" b="0" i="0" u="none" strike="noStrike" baseline="0" dirty="0">
              <a:solidFill>
                <a:srgbClr val="000000"/>
              </a:solidFill>
              <a:latin typeface="FreightSans Pro Book"/>
            </a:endParaRPr>
          </a:p>
          <a:p>
            <a:endParaRPr lang="en-GB" sz="1800" b="0" i="0" u="none" strike="noStrike" baseline="0" dirty="0">
              <a:solidFill>
                <a:srgbClr val="000000"/>
              </a:solidFill>
              <a:latin typeface="FreightSans Pro Book"/>
            </a:endParaRPr>
          </a:p>
          <a:p>
            <a:r>
              <a:rPr lang="en-GB" dirty="0"/>
              <a:t>Palm oil companies rely on the RSPO for implementing sustainability and smallholder inclusivity in the palm oil value chain.59 While RSPO is an important multistakeholder platform to drive improvements in the palm oil value chain such as </a:t>
            </a:r>
            <a:r>
              <a:rPr lang="en-GB" dirty="0" err="1"/>
              <a:t>labor</a:t>
            </a:r>
            <a:r>
              <a:rPr lang="en-GB" dirty="0"/>
              <a:t> standards and the recognition of rights of indigenous communities, it does not have a good track record with respect to smallholder inclusivity. The number of smallholders included in certified value chains is low; in September 2024, independent smallholders made up 2.5 percent of RSPO certified volume,60 representing around 50,000 smallholders61 and around 130,000 hectares of RSPO certified land (2.5 percent of all RSPO certified land). New data from the RSPO suggests there has been a remarkable growth in numbers of certified smallholders in recent years, however this still represents only a few percent of all global smallholders.</a:t>
            </a:r>
          </a:p>
          <a:p>
            <a:endParaRPr lang="en-GB" dirty="0"/>
          </a:p>
          <a:p>
            <a:r>
              <a:rPr lang="en-GB" dirty="0"/>
              <a:t>We are currently seeing three key developments that make the topic of smallholder inclusivity particularly relevant: 1. increasing vulnerability to climate change-related extreme weather events 2. increasing price volatility 3. increasing sustainability requirements</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ECCBBC-4017-5345-80D2-9C8E720DBD43}"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12461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4.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with image)">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F759DD16-F627-ED25-C0C9-0D6D34AEFCC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Text Placeholder 11">
            <a:extLst>
              <a:ext uri="{FF2B5EF4-FFF2-40B4-BE49-F238E27FC236}">
                <a16:creationId xmlns:a16="http://schemas.microsoft.com/office/drawing/2014/main" id="{140D1306-286B-D86B-C6B5-BC2A0E54B29C}"/>
              </a:ext>
            </a:extLst>
          </p:cNvPr>
          <p:cNvSpPr>
            <a:spLocks noGrp="1"/>
          </p:cNvSpPr>
          <p:nvPr>
            <p:ph type="body" sz="quarter" idx="16" hasCustomPrompt="1"/>
          </p:nvPr>
        </p:nvSpPr>
        <p:spPr>
          <a:xfrm>
            <a:off x="658812" y="551732"/>
            <a:ext cx="5113338" cy="3169664"/>
          </a:xfrm>
        </p:spPr>
        <p:txBody>
          <a:bodyPr anchor="b">
            <a:normAutofit/>
          </a:bodyPr>
          <a:lstStyle>
            <a:lvl1pPr marL="0" indent="0">
              <a:lnSpc>
                <a:spcPct val="90000"/>
              </a:lnSpc>
              <a:spcBef>
                <a:spcPts val="0"/>
              </a:spcBef>
              <a:spcAft>
                <a:spcPts val="0"/>
              </a:spcAft>
              <a:buNone/>
              <a:defRPr sz="6500" b="1">
                <a:solidFill>
                  <a:schemeClr val="bg1"/>
                </a:solidFill>
                <a:latin typeface="+mj-lt"/>
              </a:defRPr>
            </a:lvl1pPr>
          </a:lstStyle>
          <a:p>
            <a:pPr lvl="0"/>
            <a:r>
              <a:rPr lang="en-GB" dirty="0"/>
              <a:t>Presentation title goes here</a:t>
            </a:r>
          </a:p>
        </p:txBody>
      </p:sp>
      <p:sp>
        <p:nvSpPr>
          <p:cNvPr id="16" name="Text Placeholder 11">
            <a:extLst>
              <a:ext uri="{FF2B5EF4-FFF2-40B4-BE49-F238E27FC236}">
                <a16:creationId xmlns:a16="http://schemas.microsoft.com/office/drawing/2014/main" id="{74A8F2DB-B148-88A1-2854-99FF5E6E5E58}"/>
              </a:ext>
            </a:extLst>
          </p:cNvPr>
          <p:cNvSpPr>
            <a:spLocks noGrp="1"/>
          </p:cNvSpPr>
          <p:nvPr>
            <p:ph type="body" sz="quarter" idx="17" hasCustomPrompt="1"/>
          </p:nvPr>
        </p:nvSpPr>
        <p:spPr>
          <a:xfrm>
            <a:off x="658812" y="3880453"/>
            <a:ext cx="5113338" cy="626878"/>
          </a:xfrm>
        </p:spPr>
        <p:txBody>
          <a:bodyPr>
            <a:normAutofit/>
          </a:bodyPr>
          <a:lstStyle>
            <a:lvl1pPr marL="0" indent="0">
              <a:buNone/>
              <a:defRPr sz="2800" b="0">
                <a:solidFill>
                  <a:srgbClr val="47D985"/>
                </a:solidFill>
              </a:defRPr>
            </a:lvl1pPr>
          </a:lstStyle>
          <a:p>
            <a:pPr lvl="0"/>
            <a:r>
              <a:rPr lang="en-GB" dirty="0"/>
              <a:t>25.08.2022</a:t>
            </a:r>
          </a:p>
        </p:txBody>
      </p:sp>
      <p:sp>
        <p:nvSpPr>
          <p:cNvPr id="7" name="Picture Placeholder 6">
            <a:extLst>
              <a:ext uri="{FF2B5EF4-FFF2-40B4-BE49-F238E27FC236}">
                <a16:creationId xmlns:a16="http://schemas.microsoft.com/office/drawing/2014/main" id="{BAB5E7E1-25E5-E81B-80F1-16B46ADD72C4}"/>
              </a:ext>
            </a:extLst>
          </p:cNvPr>
          <p:cNvSpPr>
            <a:spLocks noGrp="1"/>
          </p:cNvSpPr>
          <p:nvPr>
            <p:ph type="pic" sz="quarter" idx="18"/>
          </p:nvPr>
        </p:nvSpPr>
        <p:spPr>
          <a:xfrm>
            <a:off x="6510879" y="0"/>
            <a:ext cx="5681121" cy="6860682"/>
          </a:xfrm>
          <a:custGeom>
            <a:avLst/>
            <a:gdLst>
              <a:gd name="connsiteX0" fmla="*/ 1792436 w 5681121"/>
              <a:gd name="connsiteY0" fmla="*/ 0 h 6860682"/>
              <a:gd name="connsiteX1" fmla="*/ 2607541 w 5681121"/>
              <a:gd name="connsiteY1" fmla="*/ 0 h 6860682"/>
              <a:gd name="connsiteX2" fmla="*/ 2321681 w 5681121"/>
              <a:gd name="connsiteY2" fmla="*/ 154750 h 6860682"/>
              <a:gd name="connsiteX3" fmla="*/ 425552 w 5681121"/>
              <a:gd name="connsiteY3" fmla="*/ 3013901 h 6860682"/>
              <a:gd name="connsiteX4" fmla="*/ 2076495 w 5681121"/>
              <a:gd name="connsiteY4" fmla="*/ 6858000 h 6860682"/>
              <a:gd name="connsiteX5" fmla="*/ 2432852 w 5681121"/>
              <a:gd name="connsiteY5" fmla="*/ 6858000 h 6860682"/>
              <a:gd name="connsiteX6" fmla="*/ 1106412 w 5681121"/>
              <a:gd name="connsiteY6" fmla="*/ 5293106 h 6860682"/>
              <a:gd name="connsiteX7" fmla="*/ 1023986 w 5681121"/>
              <a:gd name="connsiteY7" fmla="*/ 2390775 h 6860682"/>
              <a:gd name="connsiteX8" fmla="*/ 2893654 w 5681121"/>
              <a:gd name="connsiteY8" fmla="*/ 180594 h 6860682"/>
              <a:gd name="connsiteX9" fmla="*/ 3293858 w 5681121"/>
              <a:gd name="connsiteY9" fmla="*/ 0 h 6860682"/>
              <a:gd name="connsiteX10" fmla="*/ 5681121 w 5681121"/>
              <a:gd name="connsiteY10" fmla="*/ 0 h 6860682"/>
              <a:gd name="connsiteX11" fmla="*/ 5681121 w 5681121"/>
              <a:gd name="connsiteY11" fmla="*/ 6860682 h 6860682"/>
              <a:gd name="connsiteX12" fmla="*/ 1585041 w 5681121"/>
              <a:gd name="connsiteY12" fmla="*/ 6860682 h 6860682"/>
              <a:gd name="connsiteX13" fmla="*/ 243389 w 5681121"/>
              <a:gd name="connsiteY13" fmla="*/ 5161393 h 6860682"/>
              <a:gd name="connsiteX14" fmla="*/ 1792436 w 5681121"/>
              <a:gd name="connsiteY14" fmla="*/ 0 h 686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81121" h="6860682">
                <a:moveTo>
                  <a:pt x="1792436" y="0"/>
                </a:moveTo>
                <a:lnTo>
                  <a:pt x="2607541" y="0"/>
                </a:lnTo>
                <a:cubicBezTo>
                  <a:pt x="2510774" y="47498"/>
                  <a:pt x="2415402" y="99124"/>
                  <a:pt x="2321681" y="154750"/>
                </a:cubicBezTo>
                <a:cubicBezTo>
                  <a:pt x="1288842" y="768668"/>
                  <a:pt x="597702" y="1810830"/>
                  <a:pt x="425552" y="3013901"/>
                </a:cubicBezTo>
                <a:cubicBezTo>
                  <a:pt x="204732" y="4511612"/>
                  <a:pt x="884704" y="6005132"/>
                  <a:pt x="2076495" y="6858000"/>
                </a:cubicBezTo>
                <a:lnTo>
                  <a:pt x="2432852" y="6858000"/>
                </a:lnTo>
                <a:cubicBezTo>
                  <a:pt x="1849901" y="6480620"/>
                  <a:pt x="1391257" y="5943664"/>
                  <a:pt x="1106412" y="5293106"/>
                </a:cubicBezTo>
                <a:cubicBezTo>
                  <a:pt x="712427" y="4393375"/>
                  <a:pt x="683175" y="3362643"/>
                  <a:pt x="1023986" y="2390775"/>
                </a:cubicBezTo>
                <a:cubicBezTo>
                  <a:pt x="1363971" y="1420940"/>
                  <a:pt x="2027382" y="635699"/>
                  <a:pt x="2893654" y="180594"/>
                </a:cubicBezTo>
                <a:cubicBezTo>
                  <a:pt x="3024433" y="111760"/>
                  <a:pt x="3158003" y="51562"/>
                  <a:pt x="3293858" y="0"/>
                </a:cubicBezTo>
                <a:lnTo>
                  <a:pt x="5681121" y="0"/>
                </a:lnTo>
                <a:lnTo>
                  <a:pt x="5681121" y="6860682"/>
                </a:lnTo>
                <a:lnTo>
                  <a:pt x="1585041" y="6860682"/>
                </a:lnTo>
                <a:cubicBezTo>
                  <a:pt x="976954" y="6494907"/>
                  <a:pt x="492377" y="5932458"/>
                  <a:pt x="243389" y="5161393"/>
                </a:cubicBezTo>
                <a:cubicBezTo>
                  <a:pt x="-352570" y="3349919"/>
                  <a:pt x="139246" y="1030182"/>
                  <a:pt x="1792436" y="0"/>
                </a:cubicBezTo>
                <a:close/>
              </a:path>
            </a:pathLst>
          </a:custGeom>
        </p:spPr>
        <p:txBody>
          <a:bodyPr wrap="square" anchor="ctr">
            <a:noAutofit/>
          </a:bodyPr>
          <a:lstStyle>
            <a:lvl1pPr marL="0" indent="0" algn="ctr">
              <a:buNone/>
              <a:defRPr/>
            </a:lvl1pPr>
          </a:lstStyle>
          <a:p>
            <a:r>
              <a:rPr lang="en-GB" dirty="0"/>
              <a:t>Click icon to add picture</a:t>
            </a:r>
          </a:p>
        </p:txBody>
      </p:sp>
      <p:grpSp>
        <p:nvGrpSpPr>
          <p:cNvPr id="3" name="Graphic 77">
            <a:extLst>
              <a:ext uri="{FF2B5EF4-FFF2-40B4-BE49-F238E27FC236}">
                <a16:creationId xmlns:a16="http://schemas.microsoft.com/office/drawing/2014/main" id="{9F893BB0-7DF6-1882-0B79-6A8826A2134C}"/>
              </a:ext>
            </a:extLst>
          </p:cNvPr>
          <p:cNvGrpSpPr>
            <a:grpSpLocks noChangeAspect="1"/>
          </p:cNvGrpSpPr>
          <p:nvPr userDrawn="1"/>
        </p:nvGrpSpPr>
        <p:grpSpPr>
          <a:xfrm>
            <a:off x="658812" y="4884015"/>
            <a:ext cx="2549217" cy="933156"/>
            <a:chOff x="4489439" y="2838428"/>
            <a:chExt cx="3217768" cy="1177883"/>
          </a:xfrm>
          <a:solidFill>
            <a:schemeClr val="bg1"/>
          </a:solidFill>
        </p:grpSpPr>
        <p:sp>
          <p:nvSpPr>
            <p:cNvPr id="6" name="Freeform 5">
              <a:extLst>
                <a:ext uri="{FF2B5EF4-FFF2-40B4-BE49-F238E27FC236}">
                  <a16:creationId xmlns:a16="http://schemas.microsoft.com/office/drawing/2014/main" id="{6E151A0C-A34C-2591-5887-5019D4E2FB9A}"/>
                </a:ext>
              </a:extLst>
            </p:cNvPr>
            <p:cNvSpPr/>
            <p:nvPr/>
          </p:nvSpPr>
          <p:spPr>
            <a:xfrm>
              <a:off x="4489439" y="2838428"/>
              <a:ext cx="3217388" cy="1177883"/>
            </a:xfrm>
            <a:custGeom>
              <a:avLst/>
              <a:gdLst>
                <a:gd name="connsiteX0" fmla="*/ 1527089 w 3217388"/>
                <a:gd name="connsiteY0" fmla="*/ 295107 h 1177883"/>
                <a:gd name="connsiteX1" fmla="*/ 1705520 w 3217388"/>
                <a:gd name="connsiteY1" fmla="*/ 295107 h 1177883"/>
                <a:gd name="connsiteX2" fmla="*/ 1705520 w 3217388"/>
                <a:gd name="connsiteY2" fmla="*/ 947283 h 1177883"/>
                <a:gd name="connsiteX3" fmla="*/ 1527089 w 3217388"/>
                <a:gd name="connsiteY3" fmla="*/ 947283 h 1177883"/>
                <a:gd name="connsiteX4" fmla="*/ 1527089 w 3217388"/>
                <a:gd name="connsiteY4" fmla="*/ 295107 h 1177883"/>
                <a:gd name="connsiteX5" fmla="*/ 2318481 w 3217388"/>
                <a:gd name="connsiteY5" fmla="*/ 4403 h 1177883"/>
                <a:gd name="connsiteX6" fmla="*/ 2318481 w 3217388"/>
                <a:gd name="connsiteY6" fmla="*/ 386070 h 1177883"/>
                <a:gd name="connsiteX7" fmla="*/ 2100884 w 3217388"/>
                <a:gd name="connsiteY7" fmla="*/ 274533 h 1177883"/>
                <a:gd name="connsiteX8" fmla="*/ 1939848 w 3217388"/>
                <a:gd name="connsiteY8" fmla="*/ 318919 h 1177883"/>
                <a:gd name="connsiteX9" fmla="*/ 1819785 w 3217388"/>
                <a:gd name="connsiteY9" fmla="*/ 441792 h 1177883"/>
                <a:gd name="connsiteX10" fmla="*/ 1776817 w 3217388"/>
                <a:gd name="connsiteY10" fmla="*/ 620576 h 1177883"/>
                <a:gd name="connsiteX11" fmla="*/ 1819785 w 3217388"/>
                <a:gd name="connsiteY11" fmla="*/ 800027 h 1177883"/>
                <a:gd name="connsiteX12" fmla="*/ 1940419 w 3217388"/>
                <a:gd name="connsiteY12" fmla="*/ 922899 h 1177883"/>
                <a:gd name="connsiteX13" fmla="*/ 2111816 w 3217388"/>
                <a:gd name="connsiteY13" fmla="*/ 966619 h 1177883"/>
                <a:gd name="connsiteX14" fmla="*/ 2318481 w 3217388"/>
                <a:gd name="connsiteY14" fmla="*/ 864606 h 1177883"/>
                <a:gd name="connsiteX15" fmla="*/ 2318481 w 3217388"/>
                <a:gd name="connsiteY15" fmla="*/ 947283 h 1177883"/>
                <a:gd name="connsiteX16" fmla="*/ 2496913 w 3217388"/>
                <a:gd name="connsiteY16" fmla="*/ 947283 h 1177883"/>
                <a:gd name="connsiteX17" fmla="*/ 2496913 w 3217388"/>
                <a:gd name="connsiteY17" fmla="*/ 4403 h 1177883"/>
                <a:gd name="connsiteX18" fmla="*/ 2318481 w 3217388"/>
                <a:gd name="connsiteY18" fmla="*/ 4403 h 1177883"/>
                <a:gd name="connsiteX19" fmla="*/ 2146323 w 3217388"/>
                <a:gd name="connsiteY19" fmla="*/ 813648 h 1177883"/>
                <a:gd name="connsiteX20" fmla="*/ 1957815 w 3217388"/>
                <a:gd name="connsiteY20" fmla="*/ 620576 h 1177883"/>
                <a:gd name="connsiteX21" fmla="*/ 2146323 w 3217388"/>
                <a:gd name="connsiteY21" fmla="*/ 427504 h 1177883"/>
                <a:gd name="connsiteX22" fmla="*/ 2334832 w 3217388"/>
                <a:gd name="connsiteY22" fmla="*/ 620576 h 1177883"/>
                <a:gd name="connsiteX23" fmla="*/ 2146323 w 3217388"/>
                <a:gd name="connsiteY23" fmla="*/ 813648 h 1177883"/>
                <a:gd name="connsiteX24" fmla="*/ 3186113 w 3217388"/>
                <a:gd name="connsiteY24" fmla="*/ 403787 h 1177883"/>
                <a:gd name="connsiteX25" fmla="*/ 3097515 w 3217388"/>
                <a:gd name="connsiteY25" fmla="*/ 307298 h 1177883"/>
                <a:gd name="connsiteX26" fmla="*/ 2959485 w 3217388"/>
                <a:gd name="connsiteY26" fmla="*/ 274533 h 1177883"/>
                <a:gd name="connsiteX27" fmla="*/ 2759189 w 3217388"/>
                <a:gd name="connsiteY27" fmla="*/ 385975 h 1177883"/>
                <a:gd name="connsiteX28" fmla="*/ 2759189 w 3217388"/>
                <a:gd name="connsiteY28" fmla="*/ 4403 h 1177883"/>
                <a:gd name="connsiteX29" fmla="*/ 2580567 w 3217388"/>
                <a:gd name="connsiteY29" fmla="*/ 4403 h 1177883"/>
                <a:gd name="connsiteX30" fmla="*/ 2580567 w 3217388"/>
                <a:gd name="connsiteY30" fmla="*/ 947283 h 1177883"/>
                <a:gd name="connsiteX31" fmla="*/ 2759094 w 3217388"/>
                <a:gd name="connsiteY31" fmla="*/ 947283 h 1177883"/>
                <a:gd name="connsiteX32" fmla="*/ 2759094 w 3217388"/>
                <a:gd name="connsiteY32" fmla="*/ 598097 h 1177883"/>
                <a:gd name="connsiteX33" fmla="*/ 2902162 w 3217388"/>
                <a:gd name="connsiteY33" fmla="*/ 429219 h 1177883"/>
                <a:gd name="connsiteX34" fmla="*/ 3038957 w 3217388"/>
                <a:gd name="connsiteY34" fmla="*/ 598097 h 1177883"/>
                <a:gd name="connsiteX35" fmla="*/ 3038957 w 3217388"/>
                <a:gd name="connsiteY35" fmla="*/ 947283 h 1177883"/>
                <a:gd name="connsiteX36" fmla="*/ 3217388 w 3217388"/>
                <a:gd name="connsiteY36" fmla="*/ 947283 h 1177883"/>
                <a:gd name="connsiteX37" fmla="*/ 3217388 w 3217388"/>
                <a:gd name="connsiteY37" fmla="*/ 560092 h 1177883"/>
                <a:gd name="connsiteX38" fmla="*/ 3185923 w 3217388"/>
                <a:gd name="connsiteY38" fmla="*/ 403787 h 1177883"/>
                <a:gd name="connsiteX39" fmla="*/ 1731282 w 3217388"/>
                <a:gd name="connsiteY39" fmla="*/ 100701 h 1177883"/>
                <a:gd name="connsiteX40" fmla="*/ 1615972 w 3217388"/>
                <a:gd name="connsiteY40" fmla="*/ 216906 h 1177883"/>
                <a:gd name="connsiteX41" fmla="*/ 1507221 w 3217388"/>
                <a:gd name="connsiteY41" fmla="*/ 156803 h 1177883"/>
                <a:gd name="connsiteX42" fmla="*/ 1560836 w 3217388"/>
                <a:gd name="connsiteY42" fmla="*/ 8499 h 1177883"/>
                <a:gd name="connsiteX43" fmla="*/ 1731187 w 3217388"/>
                <a:gd name="connsiteY43" fmla="*/ 100606 h 1177883"/>
                <a:gd name="connsiteX44" fmla="*/ 1731187 w 3217388"/>
                <a:gd name="connsiteY44" fmla="*/ 100606 h 1177883"/>
                <a:gd name="connsiteX45" fmla="*/ 243274 w 3217388"/>
                <a:gd name="connsiteY45" fmla="*/ 1020912 h 1177883"/>
                <a:gd name="connsiteX46" fmla="*/ 250974 w 3217388"/>
                <a:gd name="connsiteY46" fmla="*/ 1046439 h 1177883"/>
                <a:gd name="connsiteX47" fmla="*/ 217798 w 3217388"/>
                <a:gd name="connsiteY47" fmla="*/ 1047010 h 1177883"/>
                <a:gd name="connsiteX48" fmla="*/ 198975 w 3217388"/>
                <a:gd name="connsiteY48" fmla="*/ 1012625 h 1177883"/>
                <a:gd name="connsiteX49" fmla="*/ 243274 w 3217388"/>
                <a:gd name="connsiteY49" fmla="*/ 1020912 h 1177883"/>
                <a:gd name="connsiteX50" fmla="*/ 848820 w 3217388"/>
                <a:gd name="connsiteY50" fmla="*/ 564283 h 1177883"/>
                <a:gd name="connsiteX51" fmla="*/ 826290 w 3217388"/>
                <a:gd name="connsiteY51" fmla="*/ 650103 h 1177883"/>
                <a:gd name="connsiteX52" fmla="*/ 712121 w 3217388"/>
                <a:gd name="connsiteY52" fmla="*/ 716302 h 1177883"/>
                <a:gd name="connsiteX53" fmla="*/ 683507 w 3217388"/>
                <a:gd name="connsiteY53" fmla="*/ 719255 h 1177883"/>
                <a:gd name="connsiteX54" fmla="*/ 564489 w 3217388"/>
                <a:gd name="connsiteY54" fmla="*/ 646103 h 1177883"/>
                <a:gd name="connsiteX55" fmla="*/ 631223 w 3217388"/>
                <a:gd name="connsiteY55" fmla="*/ 446173 h 1177883"/>
                <a:gd name="connsiteX56" fmla="*/ 765451 w 3217388"/>
                <a:gd name="connsiteY56" fmla="*/ 454841 h 1177883"/>
                <a:gd name="connsiteX57" fmla="*/ 848915 w 3217388"/>
                <a:gd name="connsiteY57" fmla="*/ 563997 h 1177883"/>
                <a:gd name="connsiteX58" fmla="*/ 848915 w 3217388"/>
                <a:gd name="connsiteY58" fmla="*/ 564188 h 1177883"/>
                <a:gd name="connsiteX59" fmla="*/ 808039 w 3217388"/>
                <a:gd name="connsiteY59" fmla="*/ 570760 h 1177883"/>
                <a:gd name="connsiteX60" fmla="*/ 718680 w 3217388"/>
                <a:gd name="connsiteY60" fmla="*/ 484749 h 1177883"/>
                <a:gd name="connsiteX61" fmla="*/ 692158 w 3217388"/>
                <a:gd name="connsiteY61" fmla="*/ 481511 h 1177883"/>
                <a:gd name="connsiteX62" fmla="*/ 624759 w 3217388"/>
                <a:gd name="connsiteY62" fmla="*/ 514182 h 1177883"/>
                <a:gd name="connsiteX63" fmla="*/ 612211 w 3217388"/>
                <a:gd name="connsiteY63" fmla="*/ 626291 h 1177883"/>
                <a:gd name="connsiteX64" fmla="*/ 684933 w 3217388"/>
                <a:gd name="connsiteY64" fmla="*/ 671058 h 1177883"/>
                <a:gd name="connsiteX65" fmla="*/ 788076 w 3217388"/>
                <a:gd name="connsiteY65" fmla="*/ 630006 h 1177883"/>
                <a:gd name="connsiteX66" fmla="*/ 807943 w 3217388"/>
                <a:gd name="connsiteY66" fmla="*/ 570665 h 1177883"/>
                <a:gd name="connsiteX67" fmla="*/ 893024 w 3217388"/>
                <a:gd name="connsiteY67" fmla="*/ 502656 h 1177883"/>
                <a:gd name="connsiteX68" fmla="*/ 838173 w 3217388"/>
                <a:gd name="connsiteY68" fmla="*/ 782977 h 1177883"/>
                <a:gd name="connsiteX69" fmla="*/ 677043 w 3217388"/>
                <a:gd name="connsiteY69" fmla="*/ 846414 h 1177883"/>
                <a:gd name="connsiteX70" fmla="*/ 622097 w 3217388"/>
                <a:gd name="connsiteY70" fmla="*/ 840508 h 1177883"/>
                <a:gd name="connsiteX71" fmla="*/ 418569 w 3217388"/>
                <a:gd name="connsiteY71" fmla="*/ 675059 h 1177883"/>
                <a:gd name="connsiteX72" fmla="*/ 419710 w 3217388"/>
                <a:gd name="connsiteY72" fmla="*/ 475224 h 1177883"/>
                <a:gd name="connsiteX73" fmla="*/ 569147 w 3217388"/>
                <a:gd name="connsiteY73" fmla="*/ 334254 h 1177883"/>
                <a:gd name="connsiteX74" fmla="*/ 753663 w 3217388"/>
                <a:gd name="connsiteY74" fmla="*/ 342922 h 1177883"/>
                <a:gd name="connsiteX75" fmla="*/ 893024 w 3217388"/>
                <a:gd name="connsiteY75" fmla="*/ 502561 h 1177883"/>
                <a:gd name="connsiteX76" fmla="*/ 880381 w 3217388"/>
                <a:gd name="connsiteY76" fmla="*/ 507323 h 1177883"/>
                <a:gd name="connsiteX77" fmla="*/ 880381 w 3217388"/>
                <a:gd name="connsiteY77" fmla="*/ 507323 h 1177883"/>
                <a:gd name="connsiteX78" fmla="*/ 670198 w 3217388"/>
                <a:gd name="connsiteY78" fmla="*/ 370449 h 1177883"/>
                <a:gd name="connsiteX79" fmla="*/ 669153 w 3217388"/>
                <a:gd name="connsiteY79" fmla="*/ 370449 h 1177883"/>
                <a:gd name="connsiteX80" fmla="*/ 485588 w 3217388"/>
                <a:gd name="connsiteY80" fmla="*/ 460746 h 1177883"/>
                <a:gd name="connsiteX81" fmla="*/ 448704 w 3217388"/>
                <a:gd name="connsiteY81" fmla="*/ 664391 h 1177883"/>
                <a:gd name="connsiteX82" fmla="*/ 557170 w 3217388"/>
                <a:gd name="connsiteY82" fmla="*/ 793264 h 1177883"/>
                <a:gd name="connsiteX83" fmla="*/ 734270 w 3217388"/>
                <a:gd name="connsiteY83" fmla="*/ 794121 h 1177883"/>
                <a:gd name="connsiteX84" fmla="*/ 880381 w 3217388"/>
                <a:gd name="connsiteY84" fmla="*/ 507419 h 1177883"/>
                <a:gd name="connsiteX85" fmla="*/ 634645 w 3217388"/>
                <a:gd name="connsiteY85" fmla="*/ 996051 h 1177883"/>
                <a:gd name="connsiteX86" fmla="*/ 488535 w 3217388"/>
                <a:gd name="connsiteY86" fmla="*/ 966524 h 1177883"/>
                <a:gd name="connsiteX87" fmla="*/ 255062 w 3217388"/>
                <a:gd name="connsiteY87" fmla="*/ 426742 h 1177883"/>
                <a:gd name="connsiteX88" fmla="*/ 580460 w 3217388"/>
                <a:gd name="connsiteY88" fmla="*/ 157280 h 1177883"/>
                <a:gd name="connsiteX89" fmla="*/ 969359 w 3217388"/>
                <a:gd name="connsiteY89" fmla="*/ 317490 h 1177883"/>
                <a:gd name="connsiteX90" fmla="*/ 1014704 w 3217388"/>
                <a:gd name="connsiteY90" fmla="*/ 721255 h 1177883"/>
                <a:gd name="connsiteX91" fmla="*/ 785129 w 3217388"/>
                <a:gd name="connsiteY91" fmla="*/ 964714 h 1177883"/>
                <a:gd name="connsiteX92" fmla="*/ 634645 w 3217388"/>
                <a:gd name="connsiteY92" fmla="*/ 996051 h 1177883"/>
                <a:gd name="connsiteX93" fmla="*/ 1002631 w 3217388"/>
                <a:gd name="connsiteY93" fmla="*/ 716493 h 1177883"/>
                <a:gd name="connsiteX94" fmla="*/ 945593 w 3217388"/>
                <a:gd name="connsiteY94" fmla="*/ 359496 h 1177883"/>
                <a:gd name="connsiteX95" fmla="*/ 637212 w 3217388"/>
                <a:gd name="connsiteY95" fmla="*/ 204333 h 1177883"/>
                <a:gd name="connsiteX96" fmla="*/ 590156 w 3217388"/>
                <a:gd name="connsiteY96" fmla="*/ 207191 h 1177883"/>
                <a:gd name="connsiteX97" fmla="*/ 284151 w 3217388"/>
                <a:gd name="connsiteY97" fmla="*/ 438077 h 1177883"/>
                <a:gd name="connsiteX98" fmla="*/ 376456 w 3217388"/>
                <a:gd name="connsiteY98" fmla="*/ 851748 h 1177883"/>
                <a:gd name="connsiteX99" fmla="*/ 744632 w 3217388"/>
                <a:gd name="connsiteY99" fmla="*/ 937568 h 1177883"/>
                <a:gd name="connsiteX100" fmla="*/ 1002536 w 3217388"/>
                <a:gd name="connsiteY100" fmla="*/ 716493 h 1177883"/>
                <a:gd name="connsiteX101" fmla="*/ 1002536 w 3217388"/>
                <a:gd name="connsiteY101" fmla="*/ 716493 h 1177883"/>
                <a:gd name="connsiteX102" fmla="*/ 43834 w 3217388"/>
                <a:gd name="connsiteY102" fmla="*/ 569617 h 1177883"/>
                <a:gd name="connsiteX103" fmla="*/ 240328 w 3217388"/>
                <a:gd name="connsiteY103" fmla="*/ 192998 h 1177883"/>
                <a:gd name="connsiteX104" fmla="*/ 636451 w 3217388"/>
                <a:gd name="connsiteY104" fmla="*/ 44408 h 1177883"/>
                <a:gd name="connsiteX105" fmla="*/ 1012897 w 3217388"/>
                <a:gd name="connsiteY105" fmla="*/ 220240 h 1177883"/>
                <a:gd name="connsiteX106" fmla="*/ 1019742 w 3217388"/>
                <a:gd name="connsiteY106" fmla="*/ 223955 h 1177883"/>
                <a:gd name="connsiteX107" fmla="*/ 1027537 w 3217388"/>
                <a:gd name="connsiteY107" fmla="*/ 221288 h 1177883"/>
                <a:gd name="connsiteX108" fmla="*/ 1030674 w 3217388"/>
                <a:gd name="connsiteY108" fmla="*/ 213668 h 1177883"/>
                <a:gd name="connsiteX109" fmla="*/ 1027822 w 3217388"/>
                <a:gd name="connsiteY109" fmla="*/ 206905 h 1177883"/>
                <a:gd name="connsiteX110" fmla="*/ 565345 w 3217388"/>
                <a:gd name="connsiteY110" fmla="*/ 212 h 1177883"/>
                <a:gd name="connsiteX111" fmla="*/ 119504 w 3217388"/>
                <a:gd name="connsiteY111" fmla="*/ 229765 h 1177883"/>
                <a:gd name="connsiteX112" fmla="*/ 148402 w 3217388"/>
                <a:gd name="connsiteY112" fmla="*/ 978049 h 1177883"/>
                <a:gd name="connsiteX113" fmla="*/ 152775 w 3217388"/>
                <a:gd name="connsiteY113" fmla="*/ 982907 h 1177883"/>
                <a:gd name="connsiteX114" fmla="*/ 155057 w 3217388"/>
                <a:gd name="connsiteY114" fmla="*/ 985383 h 1177883"/>
                <a:gd name="connsiteX115" fmla="*/ 156198 w 3217388"/>
                <a:gd name="connsiteY115" fmla="*/ 986050 h 1177883"/>
                <a:gd name="connsiteX116" fmla="*/ 162852 w 3217388"/>
                <a:gd name="connsiteY116" fmla="*/ 987860 h 1177883"/>
                <a:gd name="connsiteX117" fmla="*/ 166464 w 3217388"/>
                <a:gd name="connsiteY117" fmla="*/ 987384 h 1177883"/>
                <a:gd name="connsiteX118" fmla="*/ 173974 w 3217388"/>
                <a:gd name="connsiteY118" fmla="*/ 981383 h 1177883"/>
                <a:gd name="connsiteX119" fmla="*/ 172168 w 3217388"/>
                <a:gd name="connsiteY119" fmla="*/ 967191 h 1177883"/>
                <a:gd name="connsiteX120" fmla="*/ 43929 w 3217388"/>
                <a:gd name="connsiteY120" fmla="*/ 569712 h 1177883"/>
                <a:gd name="connsiteX121" fmla="*/ 1172032 w 3217388"/>
                <a:gd name="connsiteY121" fmla="*/ 561997 h 1177883"/>
                <a:gd name="connsiteX122" fmla="*/ 1171651 w 3217388"/>
                <a:gd name="connsiteY122" fmla="*/ 559902 h 1177883"/>
                <a:gd name="connsiteX123" fmla="*/ 1159578 w 3217388"/>
                <a:gd name="connsiteY123" fmla="*/ 550853 h 1177883"/>
                <a:gd name="connsiteX124" fmla="*/ 1150738 w 3217388"/>
                <a:gd name="connsiteY124" fmla="*/ 555520 h 1177883"/>
                <a:gd name="connsiteX125" fmla="*/ 1148076 w 3217388"/>
                <a:gd name="connsiteY125" fmla="*/ 565521 h 1177883"/>
                <a:gd name="connsiteX126" fmla="*/ 1074403 w 3217388"/>
                <a:gd name="connsiteY126" fmla="*/ 861939 h 1177883"/>
                <a:gd name="connsiteX127" fmla="*/ 621241 w 3217388"/>
                <a:gd name="connsiteY127" fmla="*/ 1150642 h 1177883"/>
                <a:gd name="connsiteX128" fmla="*/ 609169 w 3217388"/>
                <a:gd name="connsiteY128" fmla="*/ 1165692 h 1177883"/>
                <a:gd name="connsiteX129" fmla="*/ 620481 w 3217388"/>
                <a:gd name="connsiteY129" fmla="*/ 1177693 h 1177883"/>
                <a:gd name="connsiteX130" fmla="*/ 621432 w 3217388"/>
                <a:gd name="connsiteY130" fmla="*/ 1177884 h 1177883"/>
                <a:gd name="connsiteX131" fmla="*/ 622382 w 3217388"/>
                <a:gd name="connsiteY131" fmla="*/ 1177884 h 1177883"/>
                <a:gd name="connsiteX132" fmla="*/ 664685 w 3217388"/>
                <a:gd name="connsiteY132" fmla="*/ 1174264 h 1177883"/>
                <a:gd name="connsiteX133" fmla="*/ 1045599 w 3217388"/>
                <a:gd name="connsiteY133" fmla="*/ 963285 h 1177883"/>
                <a:gd name="connsiteX134" fmla="*/ 1172032 w 3217388"/>
                <a:gd name="connsiteY134" fmla="*/ 561997 h 1177883"/>
                <a:gd name="connsiteX135" fmla="*/ 1170130 w 3217388"/>
                <a:gd name="connsiteY135" fmla="*/ 489226 h 1177883"/>
                <a:gd name="connsiteX136" fmla="*/ 1142657 w 3217388"/>
                <a:gd name="connsiteY136" fmla="*/ 363591 h 1177883"/>
                <a:gd name="connsiteX137" fmla="*/ 1115565 w 3217388"/>
                <a:gd name="connsiteY137" fmla="*/ 352923 h 1177883"/>
                <a:gd name="connsiteX138" fmla="*/ 1114804 w 3217388"/>
                <a:gd name="connsiteY138" fmla="*/ 389975 h 1177883"/>
                <a:gd name="connsiteX139" fmla="*/ 1145414 w 3217388"/>
                <a:gd name="connsiteY139" fmla="*/ 486559 h 1177883"/>
                <a:gd name="connsiteX140" fmla="*/ 1158913 w 3217388"/>
                <a:gd name="connsiteY140" fmla="*/ 501418 h 1177883"/>
                <a:gd name="connsiteX141" fmla="*/ 1170130 w 3217388"/>
                <a:gd name="connsiteY141" fmla="*/ 489321 h 117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217388" h="1177883">
                  <a:moveTo>
                    <a:pt x="1527089" y="295107"/>
                  </a:moveTo>
                  <a:lnTo>
                    <a:pt x="1705520" y="295107"/>
                  </a:lnTo>
                  <a:lnTo>
                    <a:pt x="1705520" y="947283"/>
                  </a:lnTo>
                  <a:lnTo>
                    <a:pt x="1527089" y="947283"/>
                  </a:lnTo>
                  <a:lnTo>
                    <a:pt x="1527089" y="295107"/>
                  </a:lnTo>
                  <a:close/>
                  <a:moveTo>
                    <a:pt x="2318481" y="4403"/>
                  </a:moveTo>
                  <a:lnTo>
                    <a:pt x="2318481" y="386070"/>
                  </a:lnTo>
                  <a:cubicBezTo>
                    <a:pt x="2295095" y="345779"/>
                    <a:pt x="2216669" y="274533"/>
                    <a:pt x="2100884" y="274533"/>
                  </a:cubicBezTo>
                  <a:cubicBezTo>
                    <a:pt x="2046888" y="274533"/>
                    <a:pt x="1991182" y="289296"/>
                    <a:pt x="1939848" y="318919"/>
                  </a:cubicBezTo>
                  <a:cubicBezTo>
                    <a:pt x="1888515" y="348542"/>
                    <a:pt x="1848494" y="389499"/>
                    <a:pt x="1819785" y="441792"/>
                  </a:cubicBezTo>
                  <a:cubicBezTo>
                    <a:pt x="1791076" y="494084"/>
                    <a:pt x="1776817" y="553710"/>
                    <a:pt x="1776817" y="620576"/>
                  </a:cubicBezTo>
                  <a:cubicBezTo>
                    <a:pt x="1776817" y="687441"/>
                    <a:pt x="1791171" y="747258"/>
                    <a:pt x="1819785" y="800027"/>
                  </a:cubicBezTo>
                  <a:cubicBezTo>
                    <a:pt x="1848399" y="852795"/>
                    <a:pt x="1888705" y="893753"/>
                    <a:pt x="1940419" y="922899"/>
                  </a:cubicBezTo>
                  <a:cubicBezTo>
                    <a:pt x="1992228" y="952046"/>
                    <a:pt x="2048409" y="966619"/>
                    <a:pt x="2111816" y="966619"/>
                  </a:cubicBezTo>
                  <a:cubicBezTo>
                    <a:pt x="2223704" y="966619"/>
                    <a:pt x="2302605" y="899182"/>
                    <a:pt x="2318481" y="864606"/>
                  </a:cubicBezTo>
                  <a:lnTo>
                    <a:pt x="2318481" y="947283"/>
                  </a:lnTo>
                  <a:cubicBezTo>
                    <a:pt x="2318481" y="947283"/>
                    <a:pt x="2496913" y="947283"/>
                    <a:pt x="2496913" y="947283"/>
                  </a:cubicBezTo>
                  <a:lnTo>
                    <a:pt x="2496913" y="4403"/>
                  </a:lnTo>
                  <a:lnTo>
                    <a:pt x="2318481" y="4403"/>
                  </a:lnTo>
                  <a:close/>
                  <a:moveTo>
                    <a:pt x="2146323" y="813648"/>
                  </a:moveTo>
                  <a:cubicBezTo>
                    <a:pt x="2030633" y="813648"/>
                    <a:pt x="1957815" y="728304"/>
                    <a:pt x="1957815" y="620576"/>
                  </a:cubicBezTo>
                  <a:cubicBezTo>
                    <a:pt x="1957815" y="512848"/>
                    <a:pt x="2030252" y="427504"/>
                    <a:pt x="2146323" y="427504"/>
                  </a:cubicBezTo>
                  <a:cubicBezTo>
                    <a:pt x="2262394" y="427504"/>
                    <a:pt x="2334832" y="512848"/>
                    <a:pt x="2334832" y="620576"/>
                  </a:cubicBezTo>
                  <a:cubicBezTo>
                    <a:pt x="2334832" y="728304"/>
                    <a:pt x="2260398" y="813648"/>
                    <a:pt x="2146323" y="813648"/>
                  </a:cubicBezTo>
                  <a:close/>
                  <a:moveTo>
                    <a:pt x="3186113" y="403787"/>
                  </a:moveTo>
                  <a:cubicBezTo>
                    <a:pt x="3165104" y="361305"/>
                    <a:pt x="3135635" y="329206"/>
                    <a:pt x="3097515" y="307298"/>
                  </a:cubicBezTo>
                  <a:cubicBezTo>
                    <a:pt x="3059395" y="285391"/>
                    <a:pt x="3013480" y="274533"/>
                    <a:pt x="2959485" y="274533"/>
                  </a:cubicBezTo>
                  <a:cubicBezTo>
                    <a:pt x="2848832" y="274533"/>
                    <a:pt x="2777441" y="350351"/>
                    <a:pt x="2759189" y="385975"/>
                  </a:cubicBezTo>
                  <a:lnTo>
                    <a:pt x="2759189" y="4403"/>
                  </a:lnTo>
                  <a:lnTo>
                    <a:pt x="2580567" y="4403"/>
                  </a:lnTo>
                  <a:lnTo>
                    <a:pt x="2580567" y="947283"/>
                  </a:lnTo>
                  <a:lnTo>
                    <a:pt x="2759094" y="947283"/>
                  </a:lnTo>
                  <a:lnTo>
                    <a:pt x="2759094" y="598097"/>
                  </a:lnTo>
                  <a:cubicBezTo>
                    <a:pt x="2759094" y="495227"/>
                    <a:pt x="2816987" y="429219"/>
                    <a:pt x="2902162" y="429219"/>
                  </a:cubicBezTo>
                  <a:cubicBezTo>
                    <a:pt x="2947792" y="429219"/>
                    <a:pt x="3038957" y="462175"/>
                    <a:pt x="3038957" y="598097"/>
                  </a:cubicBezTo>
                  <a:lnTo>
                    <a:pt x="3038957" y="947283"/>
                  </a:lnTo>
                  <a:lnTo>
                    <a:pt x="3217388" y="947283"/>
                  </a:lnTo>
                  <a:lnTo>
                    <a:pt x="3217388" y="560092"/>
                  </a:lnTo>
                  <a:cubicBezTo>
                    <a:pt x="3217388" y="498370"/>
                    <a:pt x="3206932" y="446268"/>
                    <a:pt x="3185923" y="403787"/>
                  </a:cubicBezTo>
                  <a:close/>
                  <a:moveTo>
                    <a:pt x="1731282" y="100701"/>
                  </a:moveTo>
                  <a:cubicBezTo>
                    <a:pt x="1740503" y="166900"/>
                    <a:pt x="1673104" y="211667"/>
                    <a:pt x="1615972" y="216906"/>
                  </a:cubicBezTo>
                  <a:cubicBezTo>
                    <a:pt x="1570342" y="223193"/>
                    <a:pt x="1522621" y="204333"/>
                    <a:pt x="1507221" y="156803"/>
                  </a:cubicBezTo>
                  <a:cubicBezTo>
                    <a:pt x="1489539" y="102987"/>
                    <a:pt x="1506555" y="32978"/>
                    <a:pt x="1560836" y="8499"/>
                  </a:cubicBezTo>
                  <a:cubicBezTo>
                    <a:pt x="1627474" y="-20266"/>
                    <a:pt x="1718163" y="27359"/>
                    <a:pt x="1731187" y="100606"/>
                  </a:cubicBezTo>
                  <a:lnTo>
                    <a:pt x="1731187" y="100606"/>
                  </a:lnTo>
                  <a:close/>
                  <a:moveTo>
                    <a:pt x="243274" y="1020912"/>
                  </a:moveTo>
                  <a:cubicBezTo>
                    <a:pt x="251735" y="1025864"/>
                    <a:pt x="257819" y="1034437"/>
                    <a:pt x="250974" y="1046439"/>
                  </a:cubicBezTo>
                  <a:cubicBezTo>
                    <a:pt x="244130" y="1058440"/>
                    <a:pt x="225213" y="1053297"/>
                    <a:pt x="217798" y="1047010"/>
                  </a:cubicBezTo>
                  <a:cubicBezTo>
                    <a:pt x="206961" y="1037771"/>
                    <a:pt x="194793" y="1016816"/>
                    <a:pt x="198975" y="1012625"/>
                  </a:cubicBezTo>
                  <a:cubicBezTo>
                    <a:pt x="203158" y="1008434"/>
                    <a:pt x="234814" y="1015959"/>
                    <a:pt x="243274" y="1020912"/>
                  </a:cubicBezTo>
                  <a:close/>
                  <a:moveTo>
                    <a:pt x="848820" y="564283"/>
                  </a:moveTo>
                  <a:cubicBezTo>
                    <a:pt x="853383" y="594382"/>
                    <a:pt x="845588" y="624100"/>
                    <a:pt x="826290" y="650103"/>
                  </a:cubicBezTo>
                  <a:cubicBezTo>
                    <a:pt x="800814" y="684489"/>
                    <a:pt x="757085" y="709825"/>
                    <a:pt x="712121" y="716302"/>
                  </a:cubicBezTo>
                  <a:cubicBezTo>
                    <a:pt x="702900" y="718302"/>
                    <a:pt x="693299" y="719255"/>
                    <a:pt x="683507" y="719255"/>
                  </a:cubicBezTo>
                  <a:cubicBezTo>
                    <a:pt x="635406" y="719255"/>
                    <a:pt x="583692" y="695157"/>
                    <a:pt x="564489" y="646103"/>
                  </a:cubicBezTo>
                  <a:cubicBezTo>
                    <a:pt x="536161" y="577332"/>
                    <a:pt x="556219" y="480558"/>
                    <a:pt x="631223" y="446173"/>
                  </a:cubicBezTo>
                  <a:cubicBezTo>
                    <a:pt x="672955" y="428361"/>
                    <a:pt x="721912" y="431504"/>
                    <a:pt x="765451" y="454841"/>
                  </a:cubicBezTo>
                  <a:cubicBezTo>
                    <a:pt x="809750" y="478558"/>
                    <a:pt x="840170" y="518372"/>
                    <a:pt x="848915" y="563997"/>
                  </a:cubicBezTo>
                  <a:lnTo>
                    <a:pt x="848915" y="564188"/>
                  </a:lnTo>
                  <a:close/>
                  <a:moveTo>
                    <a:pt x="808039" y="570760"/>
                  </a:moveTo>
                  <a:cubicBezTo>
                    <a:pt x="801004" y="531041"/>
                    <a:pt x="764215" y="495703"/>
                    <a:pt x="718680" y="484749"/>
                  </a:cubicBezTo>
                  <a:cubicBezTo>
                    <a:pt x="709554" y="482559"/>
                    <a:pt x="700713" y="481511"/>
                    <a:pt x="692158" y="481511"/>
                  </a:cubicBezTo>
                  <a:cubicBezTo>
                    <a:pt x="664590" y="481511"/>
                    <a:pt x="640824" y="492846"/>
                    <a:pt x="624759" y="514182"/>
                  </a:cubicBezTo>
                  <a:cubicBezTo>
                    <a:pt x="603180" y="543423"/>
                    <a:pt x="598046" y="589620"/>
                    <a:pt x="612211" y="626291"/>
                  </a:cubicBezTo>
                  <a:cubicBezTo>
                    <a:pt x="622477" y="652961"/>
                    <a:pt x="650996" y="670487"/>
                    <a:pt x="684933" y="671058"/>
                  </a:cubicBezTo>
                  <a:cubicBezTo>
                    <a:pt x="723243" y="672201"/>
                    <a:pt x="764785" y="655628"/>
                    <a:pt x="788076" y="630006"/>
                  </a:cubicBezTo>
                  <a:cubicBezTo>
                    <a:pt x="803666" y="612956"/>
                    <a:pt x="810510" y="592382"/>
                    <a:pt x="807943" y="570665"/>
                  </a:cubicBezTo>
                  <a:close/>
                  <a:moveTo>
                    <a:pt x="893024" y="502656"/>
                  </a:moveTo>
                  <a:cubicBezTo>
                    <a:pt x="924014" y="587715"/>
                    <a:pt x="919166" y="707444"/>
                    <a:pt x="838173" y="782977"/>
                  </a:cubicBezTo>
                  <a:cubicBezTo>
                    <a:pt x="794730" y="824411"/>
                    <a:pt x="737883" y="846414"/>
                    <a:pt x="677043" y="846414"/>
                  </a:cubicBezTo>
                  <a:cubicBezTo>
                    <a:pt x="658981" y="846414"/>
                    <a:pt x="640634" y="844509"/>
                    <a:pt x="622097" y="840508"/>
                  </a:cubicBezTo>
                  <a:cubicBezTo>
                    <a:pt x="530742" y="821172"/>
                    <a:pt x="452791" y="757736"/>
                    <a:pt x="418569" y="675059"/>
                  </a:cubicBezTo>
                  <a:cubicBezTo>
                    <a:pt x="391096" y="613241"/>
                    <a:pt x="391476" y="540375"/>
                    <a:pt x="419710" y="475224"/>
                  </a:cubicBezTo>
                  <a:cubicBezTo>
                    <a:pt x="448609" y="408454"/>
                    <a:pt x="503079" y="357019"/>
                    <a:pt x="569147" y="334254"/>
                  </a:cubicBezTo>
                  <a:cubicBezTo>
                    <a:pt x="631413" y="311966"/>
                    <a:pt x="695200" y="315014"/>
                    <a:pt x="753663" y="342922"/>
                  </a:cubicBezTo>
                  <a:cubicBezTo>
                    <a:pt x="817165" y="373307"/>
                    <a:pt x="867928" y="431409"/>
                    <a:pt x="893024" y="502561"/>
                  </a:cubicBezTo>
                  <a:close/>
                  <a:moveTo>
                    <a:pt x="880381" y="507323"/>
                  </a:moveTo>
                  <a:lnTo>
                    <a:pt x="880381" y="507323"/>
                  </a:lnTo>
                  <a:cubicBezTo>
                    <a:pt x="851957" y="425885"/>
                    <a:pt x="765356" y="369497"/>
                    <a:pt x="670198" y="370449"/>
                  </a:cubicBezTo>
                  <a:cubicBezTo>
                    <a:pt x="669818" y="370449"/>
                    <a:pt x="669533" y="370449"/>
                    <a:pt x="669153" y="370449"/>
                  </a:cubicBezTo>
                  <a:cubicBezTo>
                    <a:pt x="595765" y="370449"/>
                    <a:pt x="528936" y="403311"/>
                    <a:pt x="485588" y="460746"/>
                  </a:cubicBezTo>
                  <a:cubicBezTo>
                    <a:pt x="441859" y="518658"/>
                    <a:pt x="428360" y="592858"/>
                    <a:pt x="448704" y="664391"/>
                  </a:cubicBezTo>
                  <a:cubicBezTo>
                    <a:pt x="465720" y="722493"/>
                    <a:pt x="504220" y="768309"/>
                    <a:pt x="557170" y="793264"/>
                  </a:cubicBezTo>
                  <a:cubicBezTo>
                    <a:pt x="611735" y="818982"/>
                    <a:pt x="676378" y="819267"/>
                    <a:pt x="734270" y="794121"/>
                  </a:cubicBezTo>
                  <a:cubicBezTo>
                    <a:pt x="839029" y="752307"/>
                    <a:pt x="924680" y="624291"/>
                    <a:pt x="880381" y="507419"/>
                  </a:cubicBezTo>
                  <a:close/>
                  <a:moveTo>
                    <a:pt x="634645" y="996051"/>
                  </a:moveTo>
                  <a:cubicBezTo>
                    <a:pt x="585118" y="996051"/>
                    <a:pt x="535686" y="986241"/>
                    <a:pt x="488535" y="966524"/>
                  </a:cubicBezTo>
                  <a:cubicBezTo>
                    <a:pt x="287383" y="883371"/>
                    <a:pt x="180438" y="636197"/>
                    <a:pt x="255062" y="426742"/>
                  </a:cubicBezTo>
                  <a:cubicBezTo>
                    <a:pt x="305065" y="281391"/>
                    <a:pt x="426744" y="180616"/>
                    <a:pt x="580460" y="157280"/>
                  </a:cubicBezTo>
                  <a:cubicBezTo>
                    <a:pt x="733605" y="134039"/>
                    <a:pt x="878955" y="193856"/>
                    <a:pt x="969359" y="317490"/>
                  </a:cubicBezTo>
                  <a:cubicBezTo>
                    <a:pt x="1049972" y="427790"/>
                    <a:pt x="1067748" y="586286"/>
                    <a:pt x="1014704" y="721255"/>
                  </a:cubicBezTo>
                  <a:cubicBezTo>
                    <a:pt x="972876" y="831078"/>
                    <a:pt x="889127" y="919851"/>
                    <a:pt x="785129" y="964714"/>
                  </a:cubicBezTo>
                  <a:cubicBezTo>
                    <a:pt x="736647" y="985574"/>
                    <a:pt x="685599" y="996051"/>
                    <a:pt x="634645" y="996051"/>
                  </a:cubicBezTo>
                  <a:close/>
                  <a:moveTo>
                    <a:pt x="1002631" y="716493"/>
                  </a:moveTo>
                  <a:cubicBezTo>
                    <a:pt x="1047975" y="601907"/>
                    <a:pt x="1025541" y="461794"/>
                    <a:pt x="945593" y="359496"/>
                  </a:cubicBezTo>
                  <a:cubicBezTo>
                    <a:pt x="870019" y="260340"/>
                    <a:pt x="757180" y="204333"/>
                    <a:pt x="637212" y="204333"/>
                  </a:cubicBezTo>
                  <a:cubicBezTo>
                    <a:pt x="621622" y="204333"/>
                    <a:pt x="605937" y="205286"/>
                    <a:pt x="590156" y="207191"/>
                  </a:cubicBezTo>
                  <a:cubicBezTo>
                    <a:pt x="454407" y="223669"/>
                    <a:pt x="339953" y="309966"/>
                    <a:pt x="284151" y="438077"/>
                  </a:cubicBezTo>
                  <a:cubicBezTo>
                    <a:pt x="221410" y="578952"/>
                    <a:pt x="260196" y="752878"/>
                    <a:pt x="376456" y="851748"/>
                  </a:cubicBezTo>
                  <a:cubicBezTo>
                    <a:pt x="472089" y="937187"/>
                    <a:pt x="613066" y="970048"/>
                    <a:pt x="744632" y="937568"/>
                  </a:cubicBezTo>
                  <a:cubicBezTo>
                    <a:pt x="866882" y="907469"/>
                    <a:pt x="960898" y="826887"/>
                    <a:pt x="1002536" y="716493"/>
                  </a:cubicBezTo>
                  <a:lnTo>
                    <a:pt x="1002536" y="716493"/>
                  </a:lnTo>
                  <a:close/>
                  <a:moveTo>
                    <a:pt x="43834" y="569617"/>
                  </a:moveTo>
                  <a:cubicBezTo>
                    <a:pt x="57713" y="426551"/>
                    <a:pt x="127584" y="292725"/>
                    <a:pt x="240328" y="192998"/>
                  </a:cubicBezTo>
                  <a:cubicBezTo>
                    <a:pt x="352881" y="93462"/>
                    <a:pt x="493478" y="40598"/>
                    <a:pt x="636451" y="44408"/>
                  </a:cubicBezTo>
                  <a:cubicBezTo>
                    <a:pt x="781516" y="48218"/>
                    <a:pt x="915174" y="110607"/>
                    <a:pt x="1012897" y="220240"/>
                  </a:cubicBezTo>
                  <a:cubicBezTo>
                    <a:pt x="1014609" y="222335"/>
                    <a:pt x="1017080" y="223669"/>
                    <a:pt x="1019742" y="223955"/>
                  </a:cubicBezTo>
                  <a:cubicBezTo>
                    <a:pt x="1022594" y="224241"/>
                    <a:pt x="1025541" y="223288"/>
                    <a:pt x="1027537" y="221288"/>
                  </a:cubicBezTo>
                  <a:cubicBezTo>
                    <a:pt x="1029628" y="219383"/>
                    <a:pt x="1030769" y="216525"/>
                    <a:pt x="1030674" y="213668"/>
                  </a:cubicBezTo>
                  <a:cubicBezTo>
                    <a:pt x="1030674" y="211096"/>
                    <a:pt x="1029533" y="208715"/>
                    <a:pt x="1027822" y="206905"/>
                  </a:cubicBezTo>
                  <a:cubicBezTo>
                    <a:pt x="912512" y="70888"/>
                    <a:pt x="743967" y="-4264"/>
                    <a:pt x="565345" y="212"/>
                  </a:cubicBezTo>
                  <a:cubicBezTo>
                    <a:pt x="389765" y="4784"/>
                    <a:pt x="227304" y="88414"/>
                    <a:pt x="119504" y="229765"/>
                  </a:cubicBezTo>
                  <a:cubicBezTo>
                    <a:pt x="-50277" y="450459"/>
                    <a:pt x="-37824" y="772214"/>
                    <a:pt x="148402" y="978049"/>
                  </a:cubicBezTo>
                  <a:cubicBezTo>
                    <a:pt x="149828" y="979668"/>
                    <a:pt x="151349" y="981287"/>
                    <a:pt x="152775" y="982907"/>
                  </a:cubicBezTo>
                  <a:lnTo>
                    <a:pt x="155057" y="985383"/>
                  </a:lnTo>
                  <a:lnTo>
                    <a:pt x="156198" y="986050"/>
                  </a:lnTo>
                  <a:cubicBezTo>
                    <a:pt x="158194" y="987193"/>
                    <a:pt x="160570" y="987860"/>
                    <a:pt x="162852" y="987860"/>
                  </a:cubicBezTo>
                  <a:cubicBezTo>
                    <a:pt x="164088" y="987860"/>
                    <a:pt x="165228" y="987669"/>
                    <a:pt x="166464" y="987384"/>
                  </a:cubicBezTo>
                  <a:cubicBezTo>
                    <a:pt x="169696" y="986431"/>
                    <a:pt x="172453" y="984240"/>
                    <a:pt x="173974" y="981383"/>
                  </a:cubicBezTo>
                  <a:cubicBezTo>
                    <a:pt x="176351" y="976906"/>
                    <a:pt x="175685" y="971477"/>
                    <a:pt x="172168" y="967191"/>
                  </a:cubicBezTo>
                  <a:cubicBezTo>
                    <a:pt x="75300" y="856129"/>
                    <a:pt x="29765" y="714968"/>
                    <a:pt x="43929" y="569712"/>
                  </a:cubicBezTo>
                  <a:close/>
                  <a:moveTo>
                    <a:pt x="1172032" y="561997"/>
                  </a:moveTo>
                  <a:lnTo>
                    <a:pt x="1171651" y="559902"/>
                  </a:lnTo>
                  <a:cubicBezTo>
                    <a:pt x="1169940" y="554377"/>
                    <a:pt x="1164997" y="550567"/>
                    <a:pt x="1159578" y="550853"/>
                  </a:cubicBezTo>
                  <a:cubicBezTo>
                    <a:pt x="1156156" y="550948"/>
                    <a:pt x="1152924" y="552663"/>
                    <a:pt x="1150738" y="555520"/>
                  </a:cubicBezTo>
                  <a:cubicBezTo>
                    <a:pt x="1148551" y="558378"/>
                    <a:pt x="1147601" y="561902"/>
                    <a:pt x="1148076" y="565521"/>
                  </a:cubicBezTo>
                  <a:cubicBezTo>
                    <a:pt x="1151118" y="670677"/>
                    <a:pt x="1125641" y="773166"/>
                    <a:pt x="1074403" y="861939"/>
                  </a:cubicBezTo>
                  <a:cubicBezTo>
                    <a:pt x="980957" y="1028532"/>
                    <a:pt x="811746" y="1136450"/>
                    <a:pt x="621241" y="1150642"/>
                  </a:cubicBezTo>
                  <a:cubicBezTo>
                    <a:pt x="613827" y="1151595"/>
                    <a:pt x="608408" y="1158357"/>
                    <a:pt x="609169" y="1165692"/>
                  </a:cubicBezTo>
                  <a:cubicBezTo>
                    <a:pt x="609834" y="1171692"/>
                    <a:pt x="614397" y="1176550"/>
                    <a:pt x="620481" y="1177693"/>
                  </a:cubicBezTo>
                  <a:lnTo>
                    <a:pt x="621432" y="1177884"/>
                  </a:lnTo>
                  <a:lnTo>
                    <a:pt x="622382" y="1177884"/>
                  </a:lnTo>
                  <a:cubicBezTo>
                    <a:pt x="636642" y="1177217"/>
                    <a:pt x="650901" y="1175979"/>
                    <a:pt x="664685" y="1174264"/>
                  </a:cubicBezTo>
                  <a:cubicBezTo>
                    <a:pt x="816689" y="1155976"/>
                    <a:pt x="951963" y="1081014"/>
                    <a:pt x="1045599" y="963285"/>
                  </a:cubicBezTo>
                  <a:cubicBezTo>
                    <a:pt x="1135813" y="849843"/>
                    <a:pt x="1180682" y="707349"/>
                    <a:pt x="1172032" y="561997"/>
                  </a:cubicBezTo>
                  <a:close/>
                  <a:moveTo>
                    <a:pt x="1170130" y="489226"/>
                  </a:moveTo>
                  <a:cubicBezTo>
                    <a:pt x="1175073" y="468938"/>
                    <a:pt x="1167849" y="393595"/>
                    <a:pt x="1142657" y="363591"/>
                  </a:cubicBezTo>
                  <a:cubicBezTo>
                    <a:pt x="1134957" y="354352"/>
                    <a:pt x="1125831" y="346732"/>
                    <a:pt x="1115565" y="352923"/>
                  </a:cubicBezTo>
                  <a:cubicBezTo>
                    <a:pt x="1101876" y="361115"/>
                    <a:pt x="1104728" y="376069"/>
                    <a:pt x="1114804" y="389975"/>
                  </a:cubicBezTo>
                  <a:cubicBezTo>
                    <a:pt x="1131725" y="413407"/>
                    <a:pt x="1144559" y="466271"/>
                    <a:pt x="1145414" y="486559"/>
                  </a:cubicBezTo>
                  <a:cubicBezTo>
                    <a:pt x="1145794" y="495322"/>
                    <a:pt x="1151783" y="501227"/>
                    <a:pt x="1158913" y="501418"/>
                  </a:cubicBezTo>
                  <a:cubicBezTo>
                    <a:pt x="1166043" y="501513"/>
                    <a:pt x="1168039" y="497894"/>
                    <a:pt x="1170130" y="489321"/>
                  </a:cubicBezTo>
                  <a:close/>
                </a:path>
              </a:pathLst>
            </a:custGeom>
            <a:grpFill/>
            <a:ln w="9497" cap="flat">
              <a:noFill/>
              <a:prstDash val="solid"/>
              <a:miter/>
            </a:ln>
          </p:spPr>
          <p:txBody>
            <a:bodyPr rtlCol="0" anchor="ctr"/>
            <a:lstStyle/>
            <a:p>
              <a:endParaRPr lang="en-GB" dirty="0"/>
            </a:p>
          </p:txBody>
        </p:sp>
        <p:grpSp>
          <p:nvGrpSpPr>
            <p:cNvPr id="9" name="Graphic 77">
              <a:extLst>
                <a:ext uri="{FF2B5EF4-FFF2-40B4-BE49-F238E27FC236}">
                  <a16:creationId xmlns:a16="http://schemas.microsoft.com/office/drawing/2014/main" id="{7A9F2233-0580-4D9D-E555-79AF92641D6A}"/>
                </a:ext>
              </a:extLst>
            </p:cNvPr>
            <p:cNvGrpSpPr/>
            <p:nvPr/>
          </p:nvGrpSpPr>
          <p:grpSpPr>
            <a:xfrm>
              <a:off x="6016337" y="3871817"/>
              <a:ext cx="1690870" cy="144494"/>
              <a:chOff x="6016337" y="3871817"/>
              <a:chExt cx="1690870" cy="144494"/>
            </a:xfrm>
            <a:grpFill/>
          </p:grpSpPr>
          <p:sp>
            <p:nvSpPr>
              <p:cNvPr id="31" name="Freeform 30">
                <a:extLst>
                  <a:ext uri="{FF2B5EF4-FFF2-40B4-BE49-F238E27FC236}">
                    <a16:creationId xmlns:a16="http://schemas.microsoft.com/office/drawing/2014/main" id="{5C257215-CC9E-E6C0-722F-3B99CC7211D0}"/>
                  </a:ext>
                </a:extLst>
              </p:cNvPr>
              <p:cNvSpPr/>
              <p:nvPr/>
            </p:nvSpPr>
            <p:spPr>
              <a:xfrm>
                <a:off x="6016337"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2"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GB" dirty="0"/>
              </a:p>
            </p:txBody>
          </p:sp>
          <p:sp>
            <p:nvSpPr>
              <p:cNvPr id="32" name="Freeform 31">
                <a:extLst>
                  <a:ext uri="{FF2B5EF4-FFF2-40B4-BE49-F238E27FC236}">
                    <a16:creationId xmlns:a16="http://schemas.microsoft.com/office/drawing/2014/main" id="{BC932338-903D-554F-54B0-D77194E87927}"/>
                  </a:ext>
                </a:extLst>
              </p:cNvPr>
              <p:cNvSpPr/>
              <p:nvPr/>
            </p:nvSpPr>
            <p:spPr>
              <a:xfrm>
                <a:off x="6086303" y="3904773"/>
                <a:ext cx="70250" cy="78295"/>
              </a:xfrm>
              <a:custGeom>
                <a:avLst/>
                <a:gdLst>
                  <a:gd name="connsiteX0" fmla="*/ 0 w 70250"/>
                  <a:gd name="connsiteY0" fmla="*/ 1238 h 78295"/>
                  <a:gd name="connsiteX1" fmla="*/ 17492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1 w 70250"/>
                  <a:gd name="connsiteY8" fmla="*/ 34004 h 78295"/>
                  <a:gd name="connsiteX9" fmla="*/ 38976 w 70250"/>
                  <a:gd name="connsiteY9" fmla="*/ 14954 h 78295"/>
                  <a:gd name="connsiteX10" fmla="*/ 17492 w 70250"/>
                  <a:gd name="connsiteY10" fmla="*/ 44577 h 78295"/>
                  <a:gd name="connsiteX11" fmla="*/ 17492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2"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1" y="37624"/>
                      <a:pt x="54281" y="34004"/>
                    </a:cubicBezTo>
                    <a:cubicBezTo>
                      <a:pt x="54281" y="21050"/>
                      <a:pt x="49337" y="14954"/>
                      <a:pt x="38976" y="14954"/>
                    </a:cubicBezTo>
                    <a:cubicBezTo>
                      <a:pt x="25762" y="14954"/>
                      <a:pt x="17492" y="26194"/>
                      <a:pt x="17492" y="44577"/>
                    </a:cubicBezTo>
                    <a:lnTo>
                      <a:pt x="17492" y="78296"/>
                    </a:lnTo>
                    <a:lnTo>
                      <a:pt x="0" y="78296"/>
                    </a:lnTo>
                    <a:lnTo>
                      <a:pt x="0" y="1238"/>
                    </a:lnTo>
                    <a:close/>
                  </a:path>
                </a:pathLst>
              </a:custGeom>
              <a:grpFill/>
              <a:ln w="9497" cap="flat">
                <a:noFill/>
                <a:prstDash val="solid"/>
                <a:miter/>
              </a:ln>
            </p:spPr>
            <p:txBody>
              <a:bodyPr rtlCol="0" anchor="ctr"/>
              <a:lstStyle/>
              <a:p>
                <a:endParaRPr lang="en-GB" dirty="0"/>
              </a:p>
            </p:txBody>
          </p:sp>
          <p:sp>
            <p:nvSpPr>
              <p:cNvPr id="33" name="Freeform 32">
                <a:extLst>
                  <a:ext uri="{FF2B5EF4-FFF2-40B4-BE49-F238E27FC236}">
                    <a16:creationId xmlns:a16="http://schemas.microsoft.com/office/drawing/2014/main" id="{6E5B9C21-12EE-4D43-513B-B4B0B33CE9CF}"/>
                  </a:ext>
                </a:extLst>
              </p:cNvPr>
              <p:cNvSpPr/>
              <p:nvPr/>
            </p:nvSpPr>
            <p:spPr>
              <a:xfrm>
                <a:off x="6169197" y="3904773"/>
                <a:ext cx="74909" cy="79533"/>
              </a:xfrm>
              <a:custGeom>
                <a:avLst/>
                <a:gdLst>
                  <a:gd name="connsiteX0" fmla="*/ 95 w 74909"/>
                  <a:gd name="connsiteY0" fmla="*/ 56198 h 79533"/>
                  <a:gd name="connsiteX1" fmla="*/ 28899 w 74909"/>
                  <a:gd name="connsiteY1" fmla="*/ 35243 h 79533"/>
                  <a:gd name="connsiteX2" fmla="*/ 57418 w 74909"/>
                  <a:gd name="connsiteY2" fmla="*/ 35243 h 79533"/>
                  <a:gd name="connsiteX3" fmla="*/ 57418 w 74909"/>
                  <a:gd name="connsiteY3" fmla="*/ 29813 h 79533"/>
                  <a:gd name="connsiteX4" fmla="*/ 37169 w 74909"/>
                  <a:gd name="connsiteY4" fmla="*/ 13145 h 79533"/>
                  <a:gd name="connsiteX5" fmla="*/ 18632 w 74909"/>
                  <a:gd name="connsiteY5" fmla="*/ 26289 h 79533"/>
                  <a:gd name="connsiteX6" fmla="*/ 18822 w 74909"/>
                  <a:gd name="connsiteY6" fmla="*/ 29242 h 79533"/>
                  <a:gd name="connsiteX7" fmla="*/ 2757 w 74909"/>
                  <a:gd name="connsiteY7" fmla="*/ 29242 h 79533"/>
                  <a:gd name="connsiteX8" fmla="*/ 2472 w 74909"/>
                  <a:gd name="connsiteY8" fmla="*/ 24670 h 79533"/>
                  <a:gd name="connsiteX9" fmla="*/ 37835 w 74909"/>
                  <a:gd name="connsiteY9" fmla="*/ 0 h 79533"/>
                  <a:gd name="connsiteX10" fmla="*/ 74909 w 74909"/>
                  <a:gd name="connsiteY10" fmla="*/ 31337 h 79533"/>
                  <a:gd name="connsiteX11" fmla="*/ 74909 w 74909"/>
                  <a:gd name="connsiteY11" fmla="*/ 78296 h 79533"/>
                  <a:gd name="connsiteX12" fmla="*/ 57418 w 74909"/>
                  <a:gd name="connsiteY12" fmla="*/ 78296 h 79533"/>
                  <a:gd name="connsiteX13" fmla="*/ 58178 w 74909"/>
                  <a:gd name="connsiteY13" fmla="*/ 61246 h 79533"/>
                  <a:gd name="connsiteX14" fmla="*/ 57988 w 74909"/>
                  <a:gd name="connsiteY14" fmla="*/ 61246 h 79533"/>
                  <a:gd name="connsiteX15" fmla="*/ 29279 w 74909"/>
                  <a:gd name="connsiteY15" fmla="*/ 79534 h 79533"/>
                  <a:gd name="connsiteX16" fmla="*/ 0 w 74909"/>
                  <a:gd name="connsiteY16" fmla="*/ 56102 h 79533"/>
                  <a:gd name="connsiteX17" fmla="*/ 57418 w 74909"/>
                  <a:gd name="connsiteY17" fmla="*/ 47339 h 79533"/>
                  <a:gd name="connsiteX18" fmla="*/ 57418 w 74909"/>
                  <a:gd name="connsiteY18" fmla="*/ 45910 h 79533"/>
                  <a:gd name="connsiteX19" fmla="*/ 30515 w 74909"/>
                  <a:gd name="connsiteY19" fmla="*/ 45910 h 79533"/>
                  <a:gd name="connsiteX20" fmla="*/ 16161 w 74909"/>
                  <a:gd name="connsiteY20" fmla="*/ 55435 h 79533"/>
                  <a:gd name="connsiteX21" fmla="*/ 32987 w 74909"/>
                  <a:gd name="connsiteY21" fmla="*/ 66485 h 79533"/>
                  <a:gd name="connsiteX22" fmla="*/ 57418 w 74909"/>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09" h="79533">
                    <a:moveTo>
                      <a:pt x="95" y="56198"/>
                    </a:moveTo>
                    <a:cubicBezTo>
                      <a:pt x="95" y="44482"/>
                      <a:pt x="8366" y="35243"/>
                      <a:pt x="28899" y="35243"/>
                    </a:cubicBezTo>
                    <a:lnTo>
                      <a:pt x="57418" y="35243"/>
                    </a:lnTo>
                    <a:lnTo>
                      <a:pt x="57418" y="29813"/>
                    </a:lnTo>
                    <a:cubicBezTo>
                      <a:pt x="57418" y="18288"/>
                      <a:pt x="50763" y="13145"/>
                      <a:pt x="37169" y="13145"/>
                    </a:cubicBezTo>
                    <a:cubicBezTo>
                      <a:pt x="25287" y="13145"/>
                      <a:pt x="18632" y="17717"/>
                      <a:pt x="18632" y="26289"/>
                    </a:cubicBezTo>
                    <a:cubicBezTo>
                      <a:pt x="18632" y="26765"/>
                      <a:pt x="18632" y="28004"/>
                      <a:pt x="18822" y="29242"/>
                    </a:cubicBezTo>
                    <a:lnTo>
                      <a:pt x="2757" y="29242"/>
                    </a:lnTo>
                    <a:cubicBezTo>
                      <a:pt x="2567" y="28099"/>
                      <a:pt x="2472" y="26099"/>
                      <a:pt x="2472" y="24670"/>
                    </a:cubicBezTo>
                    <a:cubicBezTo>
                      <a:pt x="2472" y="9239"/>
                      <a:pt x="15875" y="0"/>
                      <a:pt x="37835" y="0"/>
                    </a:cubicBezTo>
                    <a:cubicBezTo>
                      <a:pt x="61220" y="0"/>
                      <a:pt x="74909" y="11049"/>
                      <a:pt x="74909" y="31337"/>
                    </a:cubicBezTo>
                    <a:lnTo>
                      <a:pt x="74909" y="78296"/>
                    </a:lnTo>
                    <a:lnTo>
                      <a:pt x="57418" y="78296"/>
                    </a:lnTo>
                    <a:cubicBezTo>
                      <a:pt x="57703" y="74581"/>
                      <a:pt x="58178" y="67532"/>
                      <a:pt x="58178" y="61246"/>
                    </a:cubicBezTo>
                    <a:lnTo>
                      <a:pt x="57988" y="61246"/>
                    </a:lnTo>
                    <a:cubicBezTo>
                      <a:pt x="55516" y="72676"/>
                      <a:pt x="46295" y="79534"/>
                      <a:pt x="29279" y="79534"/>
                    </a:cubicBezTo>
                    <a:cubicBezTo>
                      <a:pt x="12263" y="79534"/>
                      <a:pt x="0" y="71152"/>
                      <a:pt x="0" y="56102"/>
                    </a:cubicBezTo>
                    <a:close/>
                    <a:moveTo>
                      <a:pt x="57418" y="47339"/>
                    </a:moveTo>
                    <a:lnTo>
                      <a:pt x="57418" y="45910"/>
                    </a:lnTo>
                    <a:lnTo>
                      <a:pt x="30515" y="45910"/>
                    </a:lnTo>
                    <a:cubicBezTo>
                      <a:pt x="20533" y="45910"/>
                      <a:pt x="16161" y="49340"/>
                      <a:pt x="16161" y="55435"/>
                    </a:cubicBezTo>
                    <a:cubicBezTo>
                      <a:pt x="16161" y="62484"/>
                      <a:pt x="22435" y="66485"/>
                      <a:pt x="32987" y="66485"/>
                    </a:cubicBezTo>
                    <a:cubicBezTo>
                      <a:pt x="48101" y="66485"/>
                      <a:pt x="57418" y="59150"/>
                      <a:pt x="57418" y="47244"/>
                    </a:cubicBezTo>
                    <a:close/>
                  </a:path>
                </a:pathLst>
              </a:custGeom>
              <a:grpFill/>
              <a:ln w="9497" cap="flat">
                <a:noFill/>
                <a:prstDash val="solid"/>
                <a:miter/>
              </a:ln>
            </p:spPr>
            <p:txBody>
              <a:bodyPr rtlCol="0" anchor="ctr"/>
              <a:lstStyle/>
              <a:p>
                <a:endParaRPr lang="en-GB" dirty="0"/>
              </a:p>
            </p:txBody>
          </p:sp>
          <p:sp>
            <p:nvSpPr>
              <p:cNvPr id="34" name="Freeform 33">
                <a:extLst>
                  <a:ext uri="{FF2B5EF4-FFF2-40B4-BE49-F238E27FC236}">
                    <a16:creationId xmlns:a16="http://schemas.microsoft.com/office/drawing/2014/main" id="{838FAE42-E3A6-9BD2-CBEC-824E5AD13011}"/>
                  </a:ext>
                </a:extLst>
              </p:cNvPr>
              <p:cNvSpPr/>
              <p:nvPr/>
            </p:nvSpPr>
            <p:spPr>
              <a:xfrm>
                <a:off x="6260742" y="3904773"/>
                <a:ext cx="80612" cy="78390"/>
              </a:xfrm>
              <a:custGeom>
                <a:avLst/>
                <a:gdLst>
                  <a:gd name="connsiteX0" fmla="*/ 0 w 80612"/>
                  <a:gd name="connsiteY0" fmla="*/ 1238 h 78390"/>
                  <a:gd name="connsiteX1" fmla="*/ 17491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1 w 80612"/>
                  <a:gd name="connsiteY10" fmla="*/ 41053 h 78390"/>
                  <a:gd name="connsiteX11" fmla="*/ 17491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1"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1" y="24194"/>
                      <a:pt x="17491" y="41053"/>
                    </a:cubicBezTo>
                    <a:lnTo>
                      <a:pt x="17491" y="78391"/>
                    </a:lnTo>
                    <a:lnTo>
                      <a:pt x="0" y="78391"/>
                    </a:lnTo>
                    <a:lnTo>
                      <a:pt x="0" y="1333"/>
                    </a:lnTo>
                    <a:close/>
                  </a:path>
                </a:pathLst>
              </a:custGeom>
              <a:grpFill/>
              <a:ln w="9497" cap="flat">
                <a:noFill/>
                <a:prstDash val="solid"/>
                <a:miter/>
              </a:ln>
            </p:spPr>
            <p:txBody>
              <a:bodyPr rtlCol="0" anchor="ctr"/>
              <a:lstStyle/>
              <a:p>
                <a:endParaRPr lang="en-GB" dirty="0"/>
              </a:p>
            </p:txBody>
          </p:sp>
          <p:sp>
            <p:nvSpPr>
              <p:cNvPr id="35" name="Freeform 34">
                <a:extLst>
                  <a:ext uri="{FF2B5EF4-FFF2-40B4-BE49-F238E27FC236}">
                    <a16:creationId xmlns:a16="http://schemas.microsoft.com/office/drawing/2014/main" id="{532EEC5B-B374-B120-51AC-9E2C8BD23978}"/>
                  </a:ext>
                </a:extLst>
              </p:cNvPr>
              <p:cNvSpPr/>
              <p:nvPr/>
            </p:nvSpPr>
            <p:spPr>
              <a:xfrm>
                <a:off x="635561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4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3"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1"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4" y="79629"/>
                    </a:cubicBezTo>
                    <a:cubicBezTo>
                      <a:pt x="9601" y="79629"/>
                      <a:pt x="95" y="67723"/>
                      <a:pt x="95" y="52673"/>
                    </a:cubicBezTo>
                    <a:close/>
                  </a:path>
                </a:pathLst>
              </a:custGeom>
              <a:grpFill/>
              <a:ln w="9497" cap="flat">
                <a:noFill/>
                <a:prstDash val="solid"/>
                <a:miter/>
              </a:ln>
            </p:spPr>
            <p:txBody>
              <a:bodyPr rtlCol="0" anchor="ctr"/>
              <a:lstStyle/>
              <a:p>
                <a:endParaRPr lang="en-GB" dirty="0"/>
              </a:p>
            </p:txBody>
          </p:sp>
          <p:sp>
            <p:nvSpPr>
              <p:cNvPr id="36" name="Freeform 35">
                <a:extLst>
                  <a:ext uri="{FF2B5EF4-FFF2-40B4-BE49-F238E27FC236}">
                    <a16:creationId xmlns:a16="http://schemas.microsoft.com/office/drawing/2014/main" id="{098793D3-75C7-DD4D-E5B5-6B658C51246B}"/>
                  </a:ext>
                </a:extLst>
              </p:cNvPr>
              <p:cNvSpPr/>
              <p:nvPr/>
            </p:nvSpPr>
            <p:spPr>
              <a:xfrm>
                <a:off x="6436797" y="3871817"/>
                <a:ext cx="56466" cy="111252"/>
              </a:xfrm>
              <a:custGeom>
                <a:avLst/>
                <a:gdLst>
                  <a:gd name="connsiteX0" fmla="*/ 12263 w 56466"/>
                  <a:gd name="connsiteY0" fmla="*/ 48387 h 111252"/>
                  <a:gd name="connsiteX1" fmla="*/ 0 w 56466"/>
                  <a:gd name="connsiteY1" fmla="*/ 48387 h 111252"/>
                  <a:gd name="connsiteX2" fmla="*/ 0 w 56466"/>
                  <a:gd name="connsiteY2" fmla="*/ 34195 h 111252"/>
                  <a:gd name="connsiteX3" fmla="*/ 12263 w 56466"/>
                  <a:gd name="connsiteY3" fmla="*/ 34195 h 111252"/>
                  <a:gd name="connsiteX4" fmla="*/ 12263 w 56466"/>
                  <a:gd name="connsiteY4" fmla="*/ 26575 h 111252"/>
                  <a:gd name="connsiteX5" fmla="*/ 40306 w 56466"/>
                  <a:gd name="connsiteY5" fmla="*/ 0 h 111252"/>
                  <a:gd name="connsiteX6" fmla="*/ 55231 w 56466"/>
                  <a:gd name="connsiteY6" fmla="*/ 2191 h 111252"/>
                  <a:gd name="connsiteX7" fmla="*/ 55231 w 56466"/>
                  <a:gd name="connsiteY7" fmla="*/ 16097 h 111252"/>
                  <a:gd name="connsiteX8" fmla="*/ 43348 w 56466"/>
                  <a:gd name="connsiteY8" fmla="*/ 14192 h 111252"/>
                  <a:gd name="connsiteX9" fmla="*/ 29659 w 56466"/>
                  <a:gd name="connsiteY9" fmla="*/ 27337 h 111252"/>
                  <a:gd name="connsiteX10" fmla="*/ 29659 w 56466"/>
                  <a:gd name="connsiteY10" fmla="*/ 34195 h 111252"/>
                  <a:gd name="connsiteX11" fmla="*/ 56467 w 56466"/>
                  <a:gd name="connsiteY11" fmla="*/ 34195 h 111252"/>
                  <a:gd name="connsiteX12" fmla="*/ 56467 w 56466"/>
                  <a:gd name="connsiteY12" fmla="*/ 48387 h 111252"/>
                  <a:gd name="connsiteX13" fmla="*/ 29659 w 56466"/>
                  <a:gd name="connsiteY13" fmla="*/ 48387 h 111252"/>
                  <a:gd name="connsiteX14" fmla="*/ 29659 w 56466"/>
                  <a:gd name="connsiteY14" fmla="*/ 111252 h 111252"/>
                  <a:gd name="connsiteX15" fmla="*/ 12168 w 56466"/>
                  <a:gd name="connsiteY15" fmla="*/ 111252 h 111252"/>
                  <a:gd name="connsiteX16" fmla="*/ 12168 w 56466"/>
                  <a:gd name="connsiteY16" fmla="*/ 48387 h 11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466" h="111252">
                    <a:moveTo>
                      <a:pt x="12263" y="48387"/>
                    </a:moveTo>
                    <a:lnTo>
                      <a:pt x="0" y="48387"/>
                    </a:lnTo>
                    <a:lnTo>
                      <a:pt x="0" y="34195"/>
                    </a:lnTo>
                    <a:lnTo>
                      <a:pt x="12263" y="34195"/>
                    </a:lnTo>
                    <a:lnTo>
                      <a:pt x="12263" y="26575"/>
                    </a:lnTo>
                    <a:cubicBezTo>
                      <a:pt x="12263" y="9430"/>
                      <a:pt x="23670" y="0"/>
                      <a:pt x="40306" y="0"/>
                    </a:cubicBezTo>
                    <a:cubicBezTo>
                      <a:pt x="47151" y="0"/>
                      <a:pt x="52759" y="1238"/>
                      <a:pt x="55231" y="2191"/>
                    </a:cubicBezTo>
                    <a:lnTo>
                      <a:pt x="55231" y="16097"/>
                    </a:lnTo>
                    <a:cubicBezTo>
                      <a:pt x="52759" y="15335"/>
                      <a:pt x="48672" y="14192"/>
                      <a:pt x="43348" y="14192"/>
                    </a:cubicBezTo>
                    <a:cubicBezTo>
                      <a:pt x="34507" y="14192"/>
                      <a:pt x="29659" y="18860"/>
                      <a:pt x="29659" y="27337"/>
                    </a:cubicBezTo>
                    <a:lnTo>
                      <a:pt x="29659" y="34195"/>
                    </a:lnTo>
                    <a:lnTo>
                      <a:pt x="56467" y="34195"/>
                    </a:lnTo>
                    <a:lnTo>
                      <a:pt x="56467" y="48387"/>
                    </a:lnTo>
                    <a:lnTo>
                      <a:pt x="29659" y="48387"/>
                    </a:lnTo>
                    <a:lnTo>
                      <a:pt x="29659" y="111252"/>
                    </a:lnTo>
                    <a:lnTo>
                      <a:pt x="12168" y="111252"/>
                    </a:lnTo>
                    <a:lnTo>
                      <a:pt x="12168" y="48387"/>
                    </a:lnTo>
                    <a:close/>
                  </a:path>
                </a:pathLst>
              </a:custGeom>
              <a:grpFill/>
              <a:ln w="9497" cap="flat">
                <a:noFill/>
                <a:prstDash val="solid"/>
                <a:miter/>
              </a:ln>
            </p:spPr>
            <p:txBody>
              <a:bodyPr rtlCol="0" anchor="ctr"/>
              <a:lstStyle/>
              <a:p>
                <a:endParaRPr lang="en-GB" dirty="0"/>
              </a:p>
            </p:txBody>
          </p:sp>
          <p:sp>
            <p:nvSpPr>
              <p:cNvPr id="37" name="Freeform 36">
                <a:extLst>
                  <a:ext uri="{FF2B5EF4-FFF2-40B4-BE49-F238E27FC236}">
                    <a16:creationId xmlns:a16="http://schemas.microsoft.com/office/drawing/2014/main" id="{DEC6EDDD-901C-0F5B-C9AE-5E9A7EEC1BCB}"/>
                  </a:ext>
                </a:extLst>
              </p:cNvPr>
              <p:cNvSpPr/>
              <p:nvPr/>
            </p:nvSpPr>
            <p:spPr>
              <a:xfrm>
                <a:off x="6497732" y="3904773"/>
                <a:ext cx="80517" cy="79533"/>
              </a:xfrm>
              <a:custGeom>
                <a:avLst/>
                <a:gdLst>
                  <a:gd name="connsiteX0" fmla="*/ 0 w 80517"/>
                  <a:gd name="connsiteY0" fmla="*/ 39910 h 79533"/>
                  <a:gd name="connsiteX1" fmla="*/ 40211 w 80517"/>
                  <a:gd name="connsiteY1" fmla="*/ 0 h 79533"/>
                  <a:gd name="connsiteX2" fmla="*/ 80518 w 80517"/>
                  <a:gd name="connsiteY2" fmla="*/ 39910 h 79533"/>
                  <a:gd name="connsiteX3" fmla="*/ 40211 w 80517"/>
                  <a:gd name="connsiteY3" fmla="*/ 79534 h 79533"/>
                  <a:gd name="connsiteX4" fmla="*/ 0 w 80517"/>
                  <a:gd name="connsiteY4" fmla="*/ 39910 h 79533"/>
                  <a:gd name="connsiteX5" fmla="*/ 63121 w 80517"/>
                  <a:gd name="connsiteY5" fmla="*/ 39910 h 79533"/>
                  <a:gd name="connsiteX6" fmla="*/ 40211 w 80517"/>
                  <a:gd name="connsiteY6" fmla="*/ 14288 h 79533"/>
                  <a:gd name="connsiteX7" fmla="*/ 17492 w 80517"/>
                  <a:gd name="connsiteY7" fmla="*/ 39910 h 79533"/>
                  <a:gd name="connsiteX8" fmla="*/ 40211 w 80517"/>
                  <a:gd name="connsiteY8" fmla="*/ 65151 h 79533"/>
                  <a:gd name="connsiteX9" fmla="*/ 63121 w 80517"/>
                  <a:gd name="connsiteY9" fmla="*/ 39910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17" h="79533">
                    <a:moveTo>
                      <a:pt x="0" y="39910"/>
                    </a:moveTo>
                    <a:cubicBezTo>
                      <a:pt x="0" y="15240"/>
                      <a:pt x="15780" y="0"/>
                      <a:pt x="40211" y="0"/>
                    </a:cubicBezTo>
                    <a:cubicBezTo>
                      <a:pt x="64642" y="0"/>
                      <a:pt x="80518" y="15335"/>
                      <a:pt x="80518" y="39910"/>
                    </a:cubicBezTo>
                    <a:cubicBezTo>
                      <a:pt x="80518" y="64484"/>
                      <a:pt x="64737" y="79534"/>
                      <a:pt x="40211" y="79534"/>
                    </a:cubicBezTo>
                    <a:cubicBezTo>
                      <a:pt x="15685" y="79534"/>
                      <a:pt x="0" y="64389"/>
                      <a:pt x="0" y="39910"/>
                    </a:cubicBezTo>
                    <a:close/>
                    <a:moveTo>
                      <a:pt x="63121" y="39910"/>
                    </a:moveTo>
                    <a:cubicBezTo>
                      <a:pt x="63121" y="24098"/>
                      <a:pt x="54376" y="14288"/>
                      <a:pt x="40211" y="14288"/>
                    </a:cubicBezTo>
                    <a:cubicBezTo>
                      <a:pt x="26047" y="14288"/>
                      <a:pt x="17492" y="24098"/>
                      <a:pt x="17492" y="39910"/>
                    </a:cubicBezTo>
                    <a:cubicBezTo>
                      <a:pt x="17492" y="55721"/>
                      <a:pt x="26047" y="65151"/>
                      <a:pt x="40211" y="65151"/>
                    </a:cubicBezTo>
                    <a:cubicBezTo>
                      <a:pt x="54376" y="65151"/>
                      <a:pt x="63121" y="55435"/>
                      <a:pt x="63121" y="39910"/>
                    </a:cubicBezTo>
                    <a:close/>
                  </a:path>
                </a:pathLst>
              </a:custGeom>
              <a:grpFill/>
              <a:ln w="9497" cap="flat">
                <a:noFill/>
                <a:prstDash val="solid"/>
                <a:miter/>
              </a:ln>
            </p:spPr>
            <p:txBody>
              <a:bodyPr rtlCol="0" anchor="ctr"/>
              <a:lstStyle/>
              <a:p>
                <a:endParaRPr lang="en-GB" dirty="0"/>
              </a:p>
            </p:txBody>
          </p:sp>
          <p:sp>
            <p:nvSpPr>
              <p:cNvPr id="38" name="Freeform 37">
                <a:extLst>
                  <a:ext uri="{FF2B5EF4-FFF2-40B4-BE49-F238E27FC236}">
                    <a16:creationId xmlns:a16="http://schemas.microsoft.com/office/drawing/2014/main" id="{30BADD50-4056-F104-1C12-673BE324C267}"/>
                  </a:ext>
                </a:extLst>
              </p:cNvPr>
              <p:cNvSpPr/>
              <p:nvPr/>
            </p:nvSpPr>
            <p:spPr>
              <a:xfrm>
                <a:off x="6593174" y="3904773"/>
                <a:ext cx="70250" cy="78295"/>
              </a:xfrm>
              <a:custGeom>
                <a:avLst/>
                <a:gdLst>
                  <a:gd name="connsiteX0" fmla="*/ 0 w 70250"/>
                  <a:gd name="connsiteY0" fmla="*/ 1238 h 78295"/>
                  <a:gd name="connsiteX1" fmla="*/ 17491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0 w 70250"/>
                  <a:gd name="connsiteY8" fmla="*/ 34004 h 78295"/>
                  <a:gd name="connsiteX9" fmla="*/ 38975 w 70250"/>
                  <a:gd name="connsiteY9" fmla="*/ 14954 h 78295"/>
                  <a:gd name="connsiteX10" fmla="*/ 17491 w 70250"/>
                  <a:gd name="connsiteY10" fmla="*/ 44577 h 78295"/>
                  <a:gd name="connsiteX11" fmla="*/ 17491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1"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8975" y="14954"/>
                    </a:cubicBezTo>
                    <a:cubicBezTo>
                      <a:pt x="25762" y="14954"/>
                      <a:pt x="17491" y="26194"/>
                      <a:pt x="17491" y="44577"/>
                    </a:cubicBezTo>
                    <a:lnTo>
                      <a:pt x="17491" y="78296"/>
                    </a:lnTo>
                    <a:lnTo>
                      <a:pt x="0" y="78296"/>
                    </a:lnTo>
                    <a:lnTo>
                      <a:pt x="0" y="1238"/>
                    </a:lnTo>
                    <a:close/>
                  </a:path>
                </a:pathLst>
              </a:custGeom>
              <a:grpFill/>
              <a:ln w="9497" cap="flat">
                <a:noFill/>
                <a:prstDash val="solid"/>
                <a:miter/>
              </a:ln>
            </p:spPr>
            <p:txBody>
              <a:bodyPr rtlCol="0" anchor="ctr"/>
              <a:lstStyle/>
              <a:p>
                <a:endParaRPr lang="en-GB" dirty="0"/>
              </a:p>
            </p:txBody>
          </p:sp>
          <p:sp>
            <p:nvSpPr>
              <p:cNvPr id="39" name="Freeform 38">
                <a:extLst>
                  <a:ext uri="{FF2B5EF4-FFF2-40B4-BE49-F238E27FC236}">
                    <a16:creationId xmlns:a16="http://schemas.microsoft.com/office/drawing/2014/main" id="{D3472F8A-847F-E5FE-AA51-027CF785CFE4}"/>
                  </a:ext>
                </a:extLst>
              </p:cNvPr>
              <p:cNvSpPr/>
              <p:nvPr/>
            </p:nvSpPr>
            <p:spPr>
              <a:xfrm>
                <a:off x="6678445"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293"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2"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GB" dirty="0"/>
              </a:p>
            </p:txBody>
          </p:sp>
          <p:sp>
            <p:nvSpPr>
              <p:cNvPr id="40" name="Freeform 39">
                <a:extLst>
                  <a:ext uri="{FF2B5EF4-FFF2-40B4-BE49-F238E27FC236}">
                    <a16:creationId xmlns:a16="http://schemas.microsoft.com/office/drawing/2014/main" id="{B182A506-4997-AC1D-1793-C8EBAB0B7F39}"/>
                  </a:ext>
                </a:extLst>
              </p:cNvPr>
              <p:cNvSpPr/>
              <p:nvPr/>
            </p:nvSpPr>
            <p:spPr>
              <a:xfrm>
                <a:off x="6819708" y="3879818"/>
                <a:ext cx="17871" cy="103250"/>
              </a:xfrm>
              <a:custGeom>
                <a:avLst/>
                <a:gdLst>
                  <a:gd name="connsiteX0" fmla="*/ 0 w 17871"/>
                  <a:gd name="connsiteY0" fmla="*/ 0 h 103250"/>
                  <a:gd name="connsiteX1" fmla="*/ 17872 w 17871"/>
                  <a:gd name="connsiteY1" fmla="*/ 0 h 103250"/>
                  <a:gd name="connsiteX2" fmla="*/ 17872 w 17871"/>
                  <a:gd name="connsiteY2" fmla="*/ 17145 h 103250"/>
                  <a:gd name="connsiteX3" fmla="*/ 0 w 17871"/>
                  <a:gd name="connsiteY3" fmla="*/ 17145 h 103250"/>
                  <a:gd name="connsiteX4" fmla="*/ 0 w 17871"/>
                  <a:gd name="connsiteY4" fmla="*/ 0 h 103250"/>
                  <a:gd name="connsiteX5" fmla="*/ 190 w 17871"/>
                  <a:gd name="connsiteY5" fmla="*/ 26194 h 103250"/>
                  <a:gd name="connsiteX6" fmla="*/ 17682 w 17871"/>
                  <a:gd name="connsiteY6" fmla="*/ 26194 h 103250"/>
                  <a:gd name="connsiteX7" fmla="*/ 17682 w 17871"/>
                  <a:gd name="connsiteY7" fmla="*/ 103251 h 103250"/>
                  <a:gd name="connsiteX8" fmla="*/ 190 w 17871"/>
                  <a:gd name="connsiteY8" fmla="*/ 103251 h 103250"/>
                  <a:gd name="connsiteX9" fmla="*/ 190 w 17871"/>
                  <a:gd name="connsiteY9" fmla="*/ 26194 h 10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71" h="103250">
                    <a:moveTo>
                      <a:pt x="0" y="0"/>
                    </a:moveTo>
                    <a:lnTo>
                      <a:pt x="17872" y="0"/>
                    </a:lnTo>
                    <a:lnTo>
                      <a:pt x="17872" y="17145"/>
                    </a:lnTo>
                    <a:lnTo>
                      <a:pt x="0" y="17145"/>
                    </a:lnTo>
                    <a:lnTo>
                      <a:pt x="0" y="0"/>
                    </a:lnTo>
                    <a:close/>
                    <a:moveTo>
                      <a:pt x="190" y="26194"/>
                    </a:moveTo>
                    <a:lnTo>
                      <a:pt x="17682" y="26194"/>
                    </a:lnTo>
                    <a:lnTo>
                      <a:pt x="17682" y="103251"/>
                    </a:lnTo>
                    <a:lnTo>
                      <a:pt x="190" y="103251"/>
                    </a:lnTo>
                    <a:lnTo>
                      <a:pt x="190" y="26194"/>
                    </a:lnTo>
                    <a:close/>
                  </a:path>
                </a:pathLst>
              </a:custGeom>
              <a:grpFill/>
              <a:ln w="9497" cap="flat">
                <a:noFill/>
                <a:prstDash val="solid"/>
                <a:miter/>
              </a:ln>
            </p:spPr>
            <p:txBody>
              <a:bodyPr rtlCol="0" anchor="ctr"/>
              <a:lstStyle/>
              <a:p>
                <a:endParaRPr lang="en-GB" dirty="0"/>
              </a:p>
            </p:txBody>
          </p:sp>
          <p:sp>
            <p:nvSpPr>
              <p:cNvPr id="41" name="Freeform 40">
                <a:extLst>
                  <a:ext uri="{FF2B5EF4-FFF2-40B4-BE49-F238E27FC236}">
                    <a16:creationId xmlns:a16="http://schemas.microsoft.com/office/drawing/2014/main" id="{F98AF2A8-9CA4-1E7A-6C12-1C43C9E6280B}"/>
                  </a:ext>
                </a:extLst>
              </p:cNvPr>
              <p:cNvSpPr/>
              <p:nvPr/>
            </p:nvSpPr>
            <p:spPr>
              <a:xfrm>
                <a:off x="6855546" y="3904773"/>
                <a:ext cx="80612" cy="78390"/>
              </a:xfrm>
              <a:custGeom>
                <a:avLst/>
                <a:gdLst>
                  <a:gd name="connsiteX0" fmla="*/ 0 w 80612"/>
                  <a:gd name="connsiteY0" fmla="*/ 1238 h 78390"/>
                  <a:gd name="connsiteX1" fmla="*/ 17492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2 w 80612"/>
                  <a:gd name="connsiteY10" fmla="*/ 41053 h 78390"/>
                  <a:gd name="connsiteX11" fmla="*/ 17492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2"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2" y="24194"/>
                      <a:pt x="17492" y="41053"/>
                    </a:cubicBezTo>
                    <a:lnTo>
                      <a:pt x="17492" y="78391"/>
                    </a:lnTo>
                    <a:lnTo>
                      <a:pt x="0" y="78391"/>
                    </a:lnTo>
                    <a:lnTo>
                      <a:pt x="0" y="1333"/>
                    </a:lnTo>
                    <a:close/>
                  </a:path>
                </a:pathLst>
              </a:custGeom>
              <a:grpFill/>
              <a:ln w="9497" cap="flat">
                <a:noFill/>
                <a:prstDash val="solid"/>
                <a:miter/>
              </a:ln>
            </p:spPr>
            <p:txBody>
              <a:bodyPr rtlCol="0" anchor="ctr"/>
              <a:lstStyle/>
              <a:p>
                <a:endParaRPr lang="en-GB" dirty="0"/>
              </a:p>
            </p:txBody>
          </p:sp>
          <p:sp>
            <p:nvSpPr>
              <p:cNvPr id="42" name="Freeform 41">
                <a:extLst>
                  <a:ext uri="{FF2B5EF4-FFF2-40B4-BE49-F238E27FC236}">
                    <a16:creationId xmlns:a16="http://schemas.microsoft.com/office/drawing/2014/main" id="{E120418C-91A6-D9CC-FFE2-3B2C7F960F72}"/>
                  </a:ext>
                </a:extLst>
              </p:cNvPr>
              <p:cNvSpPr/>
              <p:nvPr/>
            </p:nvSpPr>
            <p:spPr>
              <a:xfrm>
                <a:off x="6950133" y="3890581"/>
                <a:ext cx="82133" cy="125730"/>
              </a:xfrm>
              <a:custGeom>
                <a:avLst/>
                <a:gdLst>
                  <a:gd name="connsiteX0" fmla="*/ 82039 w 82133"/>
                  <a:gd name="connsiteY0" fmla="*/ 99822 h 125730"/>
                  <a:gd name="connsiteX1" fmla="*/ 41542 w 82133"/>
                  <a:gd name="connsiteY1" fmla="*/ 125730 h 125730"/>
                  <a:gd name="connsiteX2" fmla="*/ 0 w 82133"/>
                  <a:gd name="connsiteY2" fmla="*/ 103918 h 125730"/>
                  <a:gd name="connsiteX3" fmla="*/ 14925 w 82133"/>
                  <a:gd name="connsiteY3" fmla="*/ 89916 h 125730"/>
                  <a:gd name="connsiteX4" fmla="*/ 14925 w 82133"/>
                  <a:gd name="connsiteY4" fmla="*/ 89725 h 125730"/>
                  <a:gd name="connsiteX5" fmla="*/ 8175 w 82133"/>
                  <a:gd name="connsiteY5" fmla="*/ 77057 h 125730"/>
                  <a:gd name="connsiteX6" fmla="*/ 15305 w 82133"/>
                  <a:gd name="connsiteY6" fmla="*/ 63913 h 125730"/>
                  <a:gd name="connsiteX7" fmla="*/ 15305 w 82133"/>
                  <a:gd name="connsiteY7" fmla="*/ 63627 h 125730"/>
                  <a:gd name="connsiteX8" fmla="*/ 3422 w 82133"/>
                  <a:gd name="connsiteY8" fmla="*/ 41624 h 125730"/>
                  <a:gd name="connsiteX9" fmla="*/ 37740 w 82133"/>
                  <a:gd name="connsiteY9" fmla="*/ 14192 h 125730"/>
                  <a:gd name="connsiteX10" fmla="*/ 59224 w 82133"/>
                  <a:gd name="connsiteY10" fmla="*/ 19145 h 125730"/>
                  <a:gd name="connsiteX11" fmla="*/ 59414 w 82133"/>
                  <a:gd name="connsiteY11" fmla="*/ 18955 h 125730"/>
                  <a:gd name="connsiteX12" fmla="*/ 55706 w 82133"/>
                  <a:gd name="connsiteY12" fmla="*/ 10192 h 125730"/>
                  <a:gd name="connsiteX13" fmla="*/ 70821 w 82133"/>
                  <a:gd name="connsiteY13" fmla="*/ 0 h 125730"/>
                  <a:gd name="connsiteX14" fmla="*/ 78616 w 82133"/>
                  <a:gd name="connsiteY14" fmla="*/ 762 h 125730"/>
                  <a:gd name="connsiteX15" fmla="*/ 78616 w 82133"/>
                  <a:gd name="connsiteY15" fmla="*/ 13049 h 125730"/>
                  <a:gd name="connsiteX16" fmla="*/ 73483 w 82133"/>
                  <a:gd name="connsiteY16" fmla="*/ 12287 h 125730"/>
                  <a:gd name="connsiteX17" fmla="*/ 65878 w 82133"/>
                  <a:gd name="connsiteY17" fmla="*/ 18669 h 125730"/>
                  <a:gd name="connsiteX18" fmla="*/ 67589 w 82133"/>
                  <a:gd name="connsiteY18" fmla="*/ 26479 h 125730"/>
                  <a:gd name="connsiteX19" fmla="*/ 72152 w 82133"/>
                  <a:gd name="connsiteY19" fmla="*/ 41434 h 125730"/>
                  <a:gd name="connsiteX20" fmla="*/ 37930 w 82133"/>
                  <a:gd name="connsiteY20" fmla="*/ 68866 h 125730"/>
                  <a:gd name="connsiteX21" fmla="*/ 24336 w 82133"/>
                  <a:gd name="connsiteY21" fmla="*/ 67151 h 125730"/>
                  <a:gd name="connsiteX22" fmla="*/ 22435 w 82133"/>
                  <a:gd name="connsiteY22" fmla="*/ 73057 h 125730"/>
                  <a:gd name="connsiteX23" fmla="*/ 31180 w 82133"/>
                  <a:gd name="connsiteY23" fmla="*/ 80105 h 125730"/>
                  <a:gd name="connsiteX24" fmla="*/ 56087 w 82133"/>
                  <a:gd name="connsiteY24" fmla="*/ 80105 h 125730"/>
                  <a:gd name="connsiteX25" fmla="*/ 82134 w 82133"/>
                  <a:gd name="connsiteY25" fmla="*/ 99631 h 125730"/>
                  <a:gd name="connsiteX26" fmla="*/ 64547 w 82133"/>
                  <a:gd name="connsiteY26" fmla="*/ 101822 h 125730"/>
                  <a:gd name="connsiteX27" fmla="*/ 52379 w 82133"/>
                  <a:gd name="connsiteY27" fmla="*/ 93821 h 125730"/>
                  <a:gd name="connsiteX28" fmla="*/ 31466 w 82133"/>
                  <a:gd name="connsiteY28" fmla="*/ 93821 h 125730"/>
                  <a:gd name="connsiteX29" fmla="*/ 17111 w 82133"/>
                  <a:gd name="connsiteY29" fmla="*/ 102394 h 125730"/>
                  <a:gd name="connsiteX30" fmla="*/ 41257 w 82133"/>
                  <a:gd name="connsiteY30" fmla="*/ 113348 h 125730"/>
                  <a:gd name="connsiteX31" fmla="*/ 64452 w 82133"/>
                  <a:gd name="connsiteY31" fmla="*/ 101822 h 125730"/>
                  <a:gd name="connsiteX32" fmla="*/ 20153 w 82133"/>
                  <a:gd name="connsiteY32" fmla="*/ 41624 h 125730"/>
                  <a:gd name="connsiteX33" fmla="*/ 37740 w 82133"/>
                  <a:gd name="connsiteY33" fmla="*/ 56579 h 125730"/>
                  <a:gd name="connsiteX34" fmla="*/ 55326 w 82133"/>
                  <a:gd name="connsiteY34" fmla="*/ 41624 h 125730"/>
                  <a:gd name="connsiteX35" fmla="*/ 37740 w 82133"/>
                  <a:gd name="connsiteY35" fmla="*/ 26670 h 125730"/>
                  <a:gd name="connsiteX36" fmla="*/ 20153 w 82133"/>
                  <a:gd name="connsiteY36" fmla="*/ 41624 h 12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133" h="125730">
                    <a:moveTo>
                      <a:pt x="82039" y="99822"/>
                    </a:moveTo>
                    <a:cubicBezTo>
                      <a:pt x="82039" y="116015"/>
                      <a:pt x="66924" y="125730"/>
                      <a:pt x="41542" y="125730"/>
                    </a:cubicBezTo>
                    <a:cubicBezTo>
                      <a:pt x="16160" y="125730"/>
                      <a:pt x="0" y="117729"/>
                      <a:pt x="0" y="103918"/>
                    </a:cubicBezTo>
                    <a:cubicBezTo>
                      <a:pt x="0" y="96107"/>
                      <a:pt x="5799" y="90297"/>
                      <a:pt x="14925" y="89916"/>
                    </a:cubicBezTo>
                    <a:lnTo>
                      <a:pt x="14925" y="89725"/>
                    </a:lnTo>
                    <a:cubicBezTo>
                      <a:pt x="10552" y="86773"/>
                      <a:pt x="8175" y="82582"/>
                      <a:pt x="8175" y="77057"/>
                    </a:cubicBezTo>
                    <a:cubicBezTo>
                      <a:pt x="8175" y="70485"/>
                      <a:pt x="11122" y="66008"/>
                      <a:pt x="15305" y="63913"/>
                    </a:cubicBezTo>
                    <a:lnTo>
                      <a:pt x="15305" y="63627"/>
                    </a:lnTo>
                    <a:cubicBezTo>
                      <a:pt x="7700" y="58960"/>
                      <a:pt x="3422" y="51340"/>
                      <a:pt x="3422" y="41624"/>
                    </a:cubicBezTo>
                    <a:cubicBezTo>
                      <a:pt x="3422" y="24765"/>
                      <a:pt x="16541" y="14192"/>
                      <a:pt x="37740" y="14192"/>
                    </a:cubicBezTo>
                    <a:cubicBezTo>
                      <a:pt x="46485" y="14192"/>
                      <a:pt x="53615" y="15907"/>
                      <a:pt x="59224" y="19145"/>
                    </a:cubicBezTo>
                    <a:lnTo>
                      <a:pt x="59414" y="18955"/>
                    </a:lnTo>
                    <a:cubicBezTo>
                      <a:pt x="57037" y="16478"/>
                      <a:pt x="55706" y="13525"/>
                      <a:pt x="55706" y="10192"/>
                    </a:cubicBezTo>
                    <a:cubicBezTo>
                      <a:pt x="55706" y="3905"/>
                      <a:pt x="61600" y="0"/>
                      <a:pt x="70821" y="0"/>
                    </a:cubicBezTo>
                    <a:cubicBezTo>
                      <a:pt x="74529" y="0"/>
                      <a:pt x="76715" y="286"/>
                      <a:pt x="78616" y="762"/>
                    </a:cubicBezTo>
                    <a:lnTo>
                      <a:pt x="78616" y="13049"/>
                    </a:lnTo>
                    <a:cubicBezTo>
                      <a:pt x="77380" y="12573"/>
                      <a:pt x="75669" y="12287"/>
                      <a:pt x="73483" y="12287"/>
                    </a:cubicBezTo>
                    <a:cubicBezTo>
                      <a:pt x="68350" y="12287"/>
                      <a:pt x="65878" y="14478"/>
                      <a:pt x="65878" y="18669"/>
                    </a:cubicBezTo>
                    <a:cubicBezTo>
                      <a:pt x="65878" y="20860"/>
                      <a:pt x="66638" y="23527"/>
                      <a:pt x="67589" y="26479"/>
                    </a:cubicBezTo>
                    <a:cubicBezTo>
                      <a:pt x="70536" y="30575"/>
                      <a:pt x="72152" y="35719"/>
                      <a:pt x="72152" y="41434"/>
                    </a:cubicBezTo>
                    <a:cubicBezTo>
                      <a:pt x="72152" y="58483"/>
                      <a:pt x="59034" y="68866"/>
                      <a:pt x="37930" y="68866"/>
                    </a:cubicBezTo>
                    <a:cubicBezTo>
                      <a:pt x="32987" y="68866"/>
                      <a:pt x="28423" y="68199"/>
                      <a:pt x="24336" y="67151"/>
                    </a:cubicBezTo>
                    <a:cubicBezTo>
                      <a:pt x="23385" y="68199"/>
                      <a:pt x="22435" y="70390"/>
                      <a:pt x="22435" y="73057"/>
                    </a:cubicBezTo>
                    <a:cubicBezTo>
                      <a:pt x="22435" y="77438"/>
                      <a:pt x="25572" y="80105"/>
                      <a:pt x="31180" y="80105"/>
                    </a:cubicBezTo>
                    <a:lnTo>
                      <a:pt x="56087" y="80105"/>
                    </a:lnTo>
                    <a:cubicBezTo>
                      <a:pt x="72627" y="80105"/>
                      <a:pt x="82134" y="87249"/>
                      <a:pt x="82134" y="99631"/>
                    </a:cubicBezTo>
                    <a:close/>
                    <a:moveTo>
                      <a:pt x="64547" y="101822"/>
                    </a:moveTo>
                    <a:cubicBezTo>
                      <a:pt x="64547" y="96679"/>
                      <a:pt x="60650" y="93821"/>
                      <a:pt x="52379" y="93821"/>
                    </a:cubicBezTo>
                    <a:lnTo>
                      <a:pt x="31466" y="93821"/>
                    </a:lnTo>
                    <a:cubicBezTo>
                      <a:pt x="22720" y="93821"/>
                      <a:pt x="17111" y="96488"/>
                      <a:pt x="17111" y="102394"/>
                    </a:cubicBezTo>
                    <a:cubicBezTo>
                      <a:pt x="17111" y="109728"/>
                      <a:pt x="26427" y="113348"/>
                      <a:pt x="41257" y="113348"/>
                    </a:cubicBezTo>
                    <a:cubicBezTo>
                      <a:pt x="57608" y="113348"/>
                      <a:pt x="64452" y="108680"/>
                      <a:pt x="64452" y="101822"/>
                    </a:cubicBezTo>
                    <a:close/>
                    <a:moveTo>
                      <a:pt x="20153" y="41624"/>
                    </a:moveTo>
                    <a:cubicBezTo>
                      <a:pt x="20153" y="50864"/>
                      <a:pt x="26902" y="56579"/>
                      <a:pt x="37740" y="56579"/>
                    </a:cubicBezTo>
                    <a:cubicBezTo>
                      <a:pt x="48577" y="56579"/>
                      <a:pt x="55326" y="50768"/>
                      <a:pt x="55326" y="41624"/>
                    </a:cubicBezTo>
                    <a:cubicBezTo>
                      <a:pt x="55326" y="32480"/>
                      <a:pt x="48672" y="26670"/>
                      <a:pt x="37740" y="26670"/>
                    </a:cubicBezTo>
                    <a:cubicBezTo>
                      <a:pt x="26808" y="26670"/>
                      <a:pt x="20153" y="32480"/>
                      <a:pt x="20153" y="41624"/>
                    </a:cubicBezTo>
                    <a:close/>
                  </a:path>
                </a:pathLst>
              </a:custGeom>
              <a:grpFill/>
              <a:ln w="9497" cap="flat">
                <a:noFill/>
                <a:prstDash val="solid"/>
                <a:miter/>
              </a:ln>
            </p:spPr>
            <p:txBody>
              <a:bodyPr rtlCol="0" anchor="ctr"/>
              <a:lstStyle/>
              <a:p>
                <a:endParaRPr lang="en-GB" dirty="0"/>
              </a:p>
            </p:txBody>
          </p:sp>
          <p:sp>
            <p:nvSpPr>
              <p:cNvPr id="43" name="Freeform 42">
                <a:extLst>
                  <a:ext uri="{FF2B5EF4-FFF2-40B4-BE49-F238E27FC236}">
                    <a16:creationId xmlns:a16="http://schemas.microsoft.com/office/drawing/2014/main" id="{4DBE09BF-87A3-C5DC-AFB9-244CE800E1B5}"/>
                  </a:ext>
                </a:extLst>
              </p:cNvPr>
              <p:cNvSpPr/>
              <p:nvPr/>
            </p:nvSpPr>
            <p:spPr>
              <a:xfrm>
                <a:off x="7081699"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388"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1"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GB" dirty="0"/>
              </a:p>
            </p:txBody>
          </p:sp>
          <p:sp>
            <p:nvSpPr>
              <p:cNvPr id="44" name="Freeform 43">
                <a:extLst>
                  <a:ext uri="{FF2B5EF4-FFF2-40B4-BE49-F238E27FC236}">
                    <a16:creationId xmlns:a16="http://schemas.microsoft.com/office/drawing/2014/main" id="{010C0541-F54D-AE4C-B14A-3D05FFE9E056}"/>
                  </a:ext>
                </a:extLst>
              </p:cNvPr>
              <p:cNvSpPr/>
              <p:nvPr/>
            </p:nvSpPr>
            <p:spPr>
              <a:xfrm>
                <a:off x="7220394" y="3904773"/>
                <a:ext cx="74813" cy="79533"/>
              </a:xfrm>
              <a:custGeom>
                <a:avLst/>
                <a:gdLst>
                  <a:gd name="connsiteX0" fmla="*/ 0 w 74813"/>
                  <a:gd name="connsiteY0" fmla="*/ 56198 h 79533"/>
                  <a:gd name="connsiteX1" fmla="*/ 28804 w 74813"/>
                  <a:gd name="connsiteY1" fmla="*/ 35243 h 79533"/>
                  <a:gd name="connsiteX2" fmla="*/ 57322 w 74813"/>
                  <a:gd name="connsiteY2" fmla="*/ 35243 h 79533"/>
                  <a:gd name="connsiteX3" fmla="*/ 57322 w 74813"/>
                  <a:gd name="connsiteY3" fmla="*/ 29813 h 79533"/>
                  <a:gd name="connsiteX4" fmla="*/ 37074 w 74813"/>
                  <a:gd name="connsiteY4" fmla="*/ 13145 h 79533"/>
                  <a:gd name="connsiteX5" fmla="*/ 18537 w 74813"/>
                  <a:gd name="connsiteY5" fmla="*/ 26289 h 79533"/>
                  <a:gd name="connsiteX6" fmla="*/ 18727 w 74813"/>
                  <a:gd name="connsiteY6" fmla="*/ 29242 h 79533"/>
                  <a:gd name="connsiteX7" fmla="*/ 2662 w 74813"/>
                  <a:gd name="connsiteY7" fmla="*/ 29242 h 79533"/>
                  <a:gd name="connsiteX8" fmla="*/ 2377 w 74813"/>
                  <a:gd name="connsiteY8" fmla="*/ 24670 h 79533"/>
                  <a:gd name="connsiteX9" fmla="*/ 37740 w 74813"/>
                  <a:gd name="connsiteY9" fmla="*/ 0 h 79533"/>
                  <a:gd name="connsiteX10" fmla="*/ 74814 w 74813"/>
                  <a:gd name="connsiteY10" fmla="*/ 31337 h 79533"/>
                  <a:gd name="connsiteX11" fmla="*/ 74814 w 74813"/>
                  <a:gd name="connsiteY11" fmla="*/ 78296 h 79533"/>
                  <a:gd name="connsiteX12" fmla="*/ 57322 w 74813"/>
                  <a:gd name="connsiteY12" fmla="*/ 78296 h 79533"/>
                  <a:gd name="connsiteX13" fmla="*/ 58083 w 74813"/>
                  <a:gd name="connsiteY13" fmla="*/ 61246 h 79533"/>
                  <a:gd name="connsiteX14" fmla="*/ 57893 w 74813"/>
                  <a:gd name="connsiteY14" fmla="*/ 61246 h 79533"/>
                  <a:gd name="connsiteX15" fmla="*/ 29279 w 74813"/>
                  <a:gd name="connsiteY15" fmla="*/ 79534 h 79533"/>
                  <a:gd name="connsiteX16" fmla="*/ 0 w 74813"/>
                  <a:gd name="connsiteY16" fmla="*/ 56102 h 79533"/>
                  <a:gd name="connsiteX17" fmla="*/ 57322 w 74813"/>
                  <a:gd name="connsiteY17" fmla="*/ 47339 h 79533"/>
                  <a:gd name="connsiteX18" fmla="*/ 57322 w 74813"/>
                  <a:gd name="connsiteY18" fmla="*/ 45910 h 79533"/>
                  <a:gd name="connsiteX19" fmla="*/ 30420 w 74813"/>
                  <a:gd name="connsiteY19" fmla="*/ 45910 h 79533"/>
                  <a:gd name="connsiteX20" fmla="*/ 16066 w 74813"/>
                  <a:gd name="connsiteY20" fmla="*/ 55435 h 79533"/>
                  <a:gd name="connsiteX21" fmla="*/ 32891 w 74813"/>
                  <a:gd name="connsiteY21" fmla="*/ 66485 h 79533"/>
                  <a:gd name="connsiteX22" fmla="*/ 57322 w 74813"/>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813" h="79533">
                    <a:moveTo>
                      <a:pt x="0" y="56198"/>
                    </a:moveTo>
                    <a:cubicBezTo>
                      <a:pt x="0" y="44482"/>
                      <a:pt x="8270" y="35243"/>
                      <a:pt x="28804" y="35243"/>
                    </a:cubicBezTo>
                    <a:lnTo>
                      <a:pt x="57322" y="35243"/>
                    </a:lnTo>
                    <a:lnTo>
                      <a:pt x="57322" y="29813"/>
                    </a:lnTo>
                    <a:cubicBezTo>
                      <a:pt x="57322" y="18288"/>
                      <a:pt x="50668" y="13145"/>
                      <a:pt x="37074" y="13145"/>
                    </a:cubicBezTo>
                    <a:cubicBezTo>
                      <a:pt x="25287" y="13145"/>
                      <a:pt x="18537" y="17717"/>
                      <a:pt x="18537" y="26289"/>
                    </a:cubicBezTo>
                    <a:cubicBezTo>
                      <a:pt x="18537" y="26765"/>
                      <a:pt x="18537" y="28004"/>
                      <a:pt x="18727" y="29242"/>
                    </a:cubicBezTo>
                    <a:lnTo>
                      <a:pt x="2662" y="29242"/>
                    </a:lnTo>
                    <a:cubicBezTo>
                      <a:pt x="2472" y="28099"/>
                      <a:pt x="2377" y="26099"/>
                      <a:pt x="2377" y="24670"/>
                    </a:cubicBezTo>
                    <a:cubicBezTo>
                      <a:pt x="2377" y="9239"/>
                      <a:pt x="15780" y="0"/>
                      <a:pt x="37740" y="0"/>
                    </a:cubicBezTo>
                    <a:cubicBezTo>
                      <a:pt x="61125" y="0"/>
                      <a:pt x="74814" y="11049"/>
                      <a:pt x="74814" y="31337"/>
                    </a:cubicBezTo>
                    <a:lnTo>
                      <a:pt x="74814" y="78296"/>
                    </a:lnTo>
                    <a:lnTo>
                      <a:pt x="57322" y="78296"/>
                    </a:lnTo>
                    <a:cubicBezTo>
                      <a:pt x="57608" y="74581"/>
                      <a:pt x="58083" y="67532"/>
                      <a:pt x="58083" y="61246"/>
                    </a:cubicBezTo>
                    <a:lnTo>
                      <a:pt x="57893" y="61246"/>
                    </a:lnTo>
                    <a:cubicBezTo>
                      <a:pt x="55421" y="72676"/>
                      <a:pt x="46200" y="79534"/>
                      <a:pt x="29279" y="79534"/>
                    </a:cubicBezTo>
                    <a:cubicBezTo>
                      <a:pt x="12358" y="79534"/>
                      <a:pt x="0" y="71152"/>
                      <a:pt x="0" y="56102"/>
                    </a:cubicBezTo>
                    <a:close/>
                    <a:moveTo>
                      <a:pt x="57322" y="47339"/>
                    </a:moveTo>
                    <a:lnTo>
                      <a:pt x="57322" y="45910"/>
                    </a:lnTo>
                    <a:lnTo>
                      <a:pt x="30420" y="45910"/>
                    </a:lnTo>
                    <a:cubicBezTo>
                      <a:pt x="20438" y="45910"/>
                      <a:pt x="16066" y="49340"/>
                      <a:pt x="16066" y="55435"/>
                    </a:cubicBezTo>
                    <a:cubicBezTo>
                      <a:pt x="16066" y="62484"/>
                      <a:pt x="22340" y="66485"/>
                      <a:pt x="32891" y="66485"/>
                    </a:cubicBezTo>
                    <a:cubicBezTo>
                      <a:pt x="48006" y="66485"/>
                      <a:pt x="57322" y="59150"/>
                      <a:pt x="57322" y="47244"/>
                    </a:cubicBezTo>
                    <a:close/>
                  </a:path>
                </a:pathLst>
              </a:custGeom>
              <a:grpFill/>
              <a:ln w="9497" cap="flat">
                <a:noFill/>
                <a:prstDash val="solid"/>
                <a:miter/>
              </a:ln>
            </p:spPr>
            <p:txBody>
              <a:bodyPr rtlCol="0" anchor="ctr"/>
              <a:lstStyle/>
              <a:p>
                <a:endParaRPr lang="en-GB" dirty="0"/>
              </a:p>
            </p:txBody>
          </p:sp>
          <p:sp>
            <p:nvSpPr>
              <p:cNvPr id="45" name="Freeform 44">
                <a:extLst>
                  <a:ext uri="{FF2B5EF4-FFF2-40B4-BE49-F238E27FC236}">
                    <a16:creationId xmlns:a16="http://schemas.microsoft.com/office/drawing/2014/main" id="{0E76778D-4F77-CD33-9E6B-C82EF5B03585}"/>
                  </a:ext>
                </a:extLst>
              </p:cNvPr>
              <p:cNvSpPr/>
              <p:nvPr/>
            </p:nvSpPr>
            <p:spPr>
              <a:xfrm>
                <a:off x="7311844" y="3904773"/>
                <a:ext cx="70251" cy="78295"/>
              </a:xfrm>
              <a:custGeom>
                <a:avLst/>
                <a:gdLst>
                  <a:gd name="connsiteX0" fmla="*/ 0 w 70251"/>
                  <a:gd name="connsiteY0" fmla="*/ 1238 h 78295"/>
                  <a:gd name="connsiteX1" fmla="*/ 17491 w 70251"/>
                  <a:gd name="connsiteY1" fmla="*/ 1238 h 78295"/>
                  <a:gd name="connsiteX2" fmla="*/ 16826 w 70251"/>
                  <a:gd name="connsiteY2" fmla="*/ 23432 h 78295"/>
                  <a:gd name="connsiteX3" fmla="*/ 17016 w 70251"/>
                  <a:gd name="connsiteY3" fmla="*/ 23432 h 78295"/>
                  <a:gd name="connsiteX4" fmla="*/ 44394 w 70251"/>
                  <a:gd name="connsiteY4" fmla="*/ 0 h 78295"/>
                  <a:gd name="connsiteX5" fmla="*/ 70251 w 70251"/>
                  <a:gd name="connsiteY5" fmla="*/ 30099 h 78295"/>
                  <a:gd name="connsiteX6" fmla="*/ 69490 w 70251"/>
                  <a:gd name="connsiteY6" fmla="*/ 44482 h 78295"/>
                  <a:gd name="connsiteX7" fmla="*/ 53615 w 70251"/>
                  <a:gd name="connsiteY7" fmla="*/ 44482 h 78295"/>
                  <a:gd name="connsiteX8" fmla="*/ 54280 w 70251"/>
                  <a:gd name="connsiteY8" fmla="*/ 34004 h 78295"/>
                  <a:gd name="connsiteX9" fmla="*/ 39071 w 70251"/>
                  <a:gd name="connsiteY9" fmla="*/ 14954 h 78295"/>
                  <a:gd name="connsiteX10" fmla="*/ 17587 w 70251"/>
                  <a:gd name="connsiteY10" fmla="*/ 44577 h 78295"/>
                  <a:gd name="connsiteX11" fmla="*/ 17587 w 70251"/>
                  <a:gd name="connsiteY11" fmla="*/ 78296 h 78295"/>
                  <a:gd name="connsiteX12" fmla="*/ 95 w 70251"/>
                  <a:gd name="connsiteY12" fmla="*/ 78296 h 78295"/>
                  <a:gd name="connsiteX13" fmla="*/ 95 w 70251"/>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1" h="78295">
                    <a:moveTo>
                      <a:pt x="0" y="1238"/>
                    </a:moveTo>
                    <a:lnTo>
                      <a:pt x="17491" y="1238"/>
                    </a:lnTo>
                    <a:lnTo>
                      <a:pt x="16826" y="23432"/>
                    </a:lnTo>
                    <a:lnTo>
                      <a:pt x="17016" y="23432"/>
                    </a:lnTo>
                    <a:cubicBezTo>
                      <a:pt x="20629"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9071" y="14954"/>
                    </a:cubicBezTo>
                    <a:cubicBezTo>
                      <a:pt x="25857" y="14954"/>
                      <a:pt x="17587" y="26194"/>
                      <a:pt x="17587" y="44577"/>
                    </a:cubicBezTo>
                    <a:lnTo>
                      <a:pt x="17587" y="78296"/>
                    </a:lnTo>
                    <a:lnTo>
                      <a:pt x="95" y="78296"/>
                    </a:lnTo>
                    <a:lnTo>
                      <a:pt x="95" y="1238"/>
                    </a:lnTo>
                    <a:close/>
                  </a:path>
                </a:pathLst>
              </a:custGeom>
              <a:grpFill/>
              <a:ln w="9497" cap="flat">
                <a:noFill/>
                <a:prstDash val="solid"/>
                <a:miter/>
              </a:ln>
            </p:spPr>
            <p:txBody>
              <a:bodyPr rtlCol="0" anchor="ctr"/>
              <a:lstStyle/>
              <a:p>
                <a:endParaRPr lang="en-GB" dirty="0"/>
              </a:p>
            </p:txBody>
          </p:sp>
          <p:sp>
            <p:nvSpPr>
              <p:cNvPr id="46" name="Freeform 45">
                <a:extLst>
                  <a:ext uri="{FF2B5EF4-FFF2-40B4-BE49-F238E27FC236}">
                    <a16:creationId xmlns:a16="http://schemas.microsoft.com/office/drawing/2014/main" id="{B132FE3C-6126-9368-DA5D-1BB1D286FEA4}"/>
                  </a:ext>
                </a:extLst>
              </p:cNvPr>
              <p:cNvSpPr/>
              <p:nvPr/>
            </p:nvSpPr>
            <p:spPr>
              <a:xfrm>
                <a:off x="7397495" y="3874865"/>
                <a:ext cx="83749" cy="108204"/>
              </a:xfrm>
              <a:custGeom>
                <a:avLst/>
                <a:gdLst>
                  <a:gd name="connsiteX0" fmla="*/ 0 w 83749"/>
                  <a:gd name="connsiteY0" fmla="*/ 95 h 108204"/>
                  <a:gd name="connsiteX1" fmla="*/ 17491 w 83749"/>
                  <a:gd name="connsiteY1" fmla="*/ 95 h 108204"/>
                  <a:gd name="connsiteX2" fmla="*/ 17491 w 83749"/>
                  <a:gd name="connsiteY2" fmla="*/ 71533 h 108204"/>
                  <a:gd name="connsiteX3" fmla="*/ 17681 w 83749"/>
                  <a:gd name="connsiteY3" fmla="*/ 71533 h 108204"/>
                  <a:gd name="connsiteX4" fmla="*/ 59129 w 83749"/>
                  <a:gd name="connsiteY4" fmla="*/ 31147 h 108204"/>
                  <a:gd name="connsiteX5" fmla="*/ 81753 w 83749"/>
                  <a:gd name="connsiteY5" fmla="*/ 31147 h 108204"/>
                  <a:gd name="connsiteX6" fmla="*/ 45725 w 83749"/>
                  <a:gd name="connsiteY6" fmla="*/ 64675 h 108204"/>
                  <a:gd name="connsiteX7" fmla="*/ 83750 w 83749"/>
                  <a:gd name="connsiteY7" fmla="*/ 108204 h 108204"/>
                  <a:gd name="connsiteX8" fmla="*/ 60079 w 83749"/>
                  <a:gd name="connsiteY8" fmla="*/ 108204 h 108204"/>
                  <a:gd name="connsiteX9" fmla="*/ 32987 w 83749"/>
                  <a:gd name="connsiteY9" fmla="*/ 75724 h 108204"/>
                  <a:gd name="connsiteX10" fmla="*/ 17587 w 83749"/>
                  <a:gd name="connsiteY10" fmla="*/ 89916 h 108204"/>
                  <a:gd name="connsiteX11" fmla="*/ 17587 w 83749"/>
                  <a:gd name="connsiteY11" fmla="*/ 108204 h 108204"/>
                  <a:gd name="connsiteX12" fmla="*/ 95 w 83749"/>
                  <a:gd name="connsiteY12" fmla="*/ 108204 h 108204"/>
                  <a:gd name="connsiteX13" fmla="*/ 95 w 83749"/>
                  <a:gd name="connsiteY13" fmla="*/ 0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49" h="108204">
                    <a:moveTo>
                      <a:pt x="0" y="95"/>
                    </a:moveTo>
                    <a:lnTo>
                      <a:pt x="17491" y="95"/>
                    </a:lnTo>
                    <a:lnTo>
                      <a:pt x="17491" y="71533"/>
                    </a:lnTo>
                    <a:lnTo>
                      <a:pt x="17681" y="71533"/>
                    </a:lnTo>
                    <a:lnTo>
                      <a:pt x="59129" y="31147"/>
                    </a:lnTo>
                    <a:lnTo>
                      <a:pt x="81753" y="31147"/>
                    </a:lnTo>
                    <a:lnTo>
                      <a:pt x="45725" y="64675"/>
                    </a:lnTo>
                    <a:lnTo>
                      <a:pt x="83750" y="108204"/>
                    </a:lnTo>
                    <a:lnTo>
                      <a:pt x="60079" y="108204"/>
                    </a:lnTo>
                    <a:lnTo>
                      <a:pt x="32987" y="75724"/>
                    </a:lnTo>
                    <a:lnTo>
                      <a:pt x="17587" y="89916"/>
                    </a:lnTo>
                    <a:lnTo>
                      <a:pt x="17587" y="108204"/>
                    </a:lnTo>
                    <a:lnTo>
                      <a:pt x="95" y="108204"/>
                    </a:lnTo>
                    <a:lnTo>
                      <a:pt x="95" y="0"/>
                    </a:lnTo>
                    <a:close/>
                  </a:path>
                </a:pathLst>
              </a:custGeom>
              <a:grpFill/>
              <a:ln w="9497" cap="flat">
                <a:noFill/>
                <a:prstDash val="solid"/>
                <a:miter/>
              </a:ln>
            </p:spPr>
            <p:txBody>
              <a:bodyPr rtlCol="0" anchor="ctr"/>
              <a:lstStyle/>
              <a:p>
                <a:endParaRPr lang="en-GB" dirty="0"/>
              </a:p>
            </p:txBody>
          </p:sp>
          <p:sp>
            <p:nvSpPr>
              <p:cNvPr id="47" name="Freeform 46">
                <a:extLst>
                  <a:ext uri="{FF2B5EF4-FFF2-40B4-BE49-F238E27FC236}">
                    <a16:creationId xmlns:a16="http://schemas.microsoft.com/office/drawing/2014/main" id="{2C0B5C92-16E9-B775-81DA-091B46B8917E}"/>
                  </a:ext>
                </a:extLst>
              </p:cNvPr>
              <p:cNvSpPr/>
              <p:nvPr/>
            </p:nvSpPr>
            <p:spPr>
              <a:xfrm>
                <a:off x="7484762" y="3904868"/>
                <a:ext cx="75194" cy="79533"/>
              </a:xfrm>
              <a:custGeom>
                <a:avLst/>
                <a:gdLst>
                  <a:gd name="connsiteX0" fmla="*/ 75099 w 75194"/>
                  <a:gd name="connsiteY0" fmla="*/ 43148 h 79533"/>
                  <a:gd name="connsiteX1" fmla="*/ 17491 w 75194"/>
                  <a:gd name="connsiteY1" fmla="*/ 43148 h 79533"/>
                  <a:gd name="connsiteX2" fmla="*/ 39736 w 75194"/>
                  <a:gd name="connsiteY2" fmla="*/ 65913 h 79533"/>
                  <a:gd name="connsiteX3" fmla="*/ 59414 w 75194"/>
                  <a:gd name="connsiteY3" fmla="*/ 51911 h 79533"/>
                  <a:gd name="connsiteX4" fmla="*/ 75194 w 75194"/>
                  <a:gd name="connsiteY4" fmla="*/ 51911 h 79533"/>
                  <a:gd name="connsiteX5" fmla="*/ 39546 w 75194"/>
                  <a:gd name="connsiteY5" fmla="*/ 79534 h 79533"/>
                  <a:gd name="connsiteX6" fmla="*/ 0 w 75194"/>
                  <a:gd name="connsiteY6" fmla="*/ 40386 h 79533"/>
                  <a:gd name="connsiteX7" fmla="*/ 39546 w 75194"/>
                  <a:gd name="connsiteY7" fmla="*/ 0 h 79533"/>
                  <a:gd name="connsiteX8" fmla="*/ 75194 w 75194"/>
                  <a:gd name="connsiteY8" fmla="*/ 36957 h 79533"/>
                  <a:gd name="connsiteX9" fmla="*/ 75194 w 75194"/>
                  <a:gd name="connsiteY9" fmla="*/ 43244 h 79533"/>
                  <a:gd name="connsiteX10" fmla="*/ 59319 w 75194"/>
                  <a:gd name="connsiteY10" fmla="*/ 31433 h 79533"/>
                  <a:gd name="connsiteX11" fmla="*/ 39546 w 75194"/>
                  <a:gd name="connsiteY11" fmla="*/ 13525 h 79533"/>
                  <a:gd name="connsiteX12" fmla="*/ 17872 w 75194"/>
                  <a:gd name="connsiteY12" fmla="*/ 32575 h 79533"/>
                  <a:gd name="connsiteX13" fmla="*/ 59319 w 75194"/>
                  <a:gd name="connsiteY13" fmla="*/ 32575 h 79533"/>
                  <a:gd name="connsiteX14" fmla="*/ 59319 w 75194"/>
                  <a:gd name="connsiteY14" fmla="*/ 31528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194" h="79533">
                    <a:moveTo>
                      <a:pt x="75099" y="43148"/>
                    </a:moveTo>
                    <a:lnTo>
                      <a:pt x="17491" y="43148"/>
                    </a:lnTo>
                    <a:cubicBezTo>
                      <a:pt x="18442" y="58007"/>
                      <a:pt x="26712" y="65913"/>
                      <a:pt x="39736" y="65913"/>
                    </a:cubicBezTo>
                    <a:cubicBezTo>
                      <a:pt x="50953" y="65913"/>
                      <a:pt x="58558" y="60960"/>
                      <a:pt x="59414" y="51911"/>
                    </a:cubicBezTo>
                    <a:lnTo>
                      <a:pt x="75194" y="51911"/>
                    </a:lnTo>
                    <a:cubicBezTo>
                      <a:pt x="74529" y="69056"/>
                      <a:pt x="60555" y="79534"/>
                      <a:pt x="39546" y="79534"/>
                    </a:cubicBezTo>
                    <a:cubicBezTo>
                      <a:pt x="15210" y="79534"/>
                      <a:pt x="0" y="64579"/>
                      <a:pt x="0" y="40386"/>
                    </a:cubicBezTo>
                    <a:cubicBezTo>
                      <a:pt x="0" y="16193"/>
                      <a:pt x="15305" y="0"/>
                      <a:pt x="39546" y="0"/>
                    </a:cubicBezTo>
                    <a:cubicBezTo>
                      <a:pt x="61315" y="0"/>
                      <a:pt x="75194" y="12954"/>
                      <a:pt x="75194" y="36957"/>
                    </a:cubicBezTo>
                    <a:lnTo>
                      <a:pt x="75194" y="43244"/>
                    </a:lnTo>
                    <a:close/>
                    <a:moveTo>
                      <a:pt x="59319" y="31433"/>
                    </a:moveTo>
                    <a:cubicBezTo>
                      <a:pt x="59319" y="19907"/>
                      <a:pt x="52189" y="13525"/>
                      <a:pt x="39546" y="13525"/>
                    </a:cubicBezTo>
                    <a:cubicBezTo>
                      <a:pt x="26903" y="13525"/>
                      <a:pt x="19963" y="19812"/>
                      <a:pt x="17872" y="32575"/>
                    </a:cubicBezTo>
                    <a:lnTo>
                      <a:pt x="59319" y="32575"/>
                    </a:lnTo>
                    <a:lnTo>
                      <a:pt x="59319" y="31528"/>
                    </a:lnTo>
                    <a:close/>
                  </a:path>
                </a:pathLst>
              </a:custGeom>
              <a:grpFill/>
              <a:ln w="9497" cap="flat">
                <a:noFill/>
                <a:prstDash val="solid"/>
                <a:miter/>
              </a:ln>
            </p:spPr>
            <p:txBody>
              <a:bodyPr rtlCol="0" anchor="ctr"/>
              <a:lstStyle/>
              <a:p>
                <a:endParaRPr lang="en-GB" dirty="0"/>
              </a:p>
            </p:txBody>
          </p:sp>
          <p:sp>
            <p:nvSpPr>
              <p:cNvPr id="48" name="Freeform 47">
                <a:extLst>
                  <a:ext uri="{FF2B5EF4-FFF2-40B4-BE49-F238E27FC236}">
                    <a16:creationId xmlns:a16="http://schemas.microsoft.com/office/drawing/2014/main" id="{836A7DFA-3099-DBCD-9C0F-8BCFF969D273}"/>
                  </a:ext>
                </a:extLst>
              </p:cNvPr>
              <p:cNvSpPr/>
              <p:nvPr/>
            </p:nvSpPr>
            <p:spPr>
              <a:xfrm>
                <a:off x="7567751"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1"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GB" dirty="0"/>
              </a:p>
            </p:txBody>
          </p:sp>
          <p:sp>
            <p:nvSpPr>
              <p:cNvPr id="49" name="Freeform 48">
                <a:extLst>
                  <a:ext uri="{FF2B5EF4-FFF2-40B4-BE49-F238E27FC236}">
                    <a16:creationId xmlns:a16="http://schemas.microsoft.com/office/drawing/2014/main" id="{302979C7-3D04-579F-F501-7A5B02C926B9}"/>
                  </a:ext>
                </a:extLst>
              </p:cNvPr>
              <p:cNvSpPr/>
              <p:nvPr/>
            </p:nvSpPr>
            <p:spPr>
              <a:xfrm>
                <a:off x="763334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3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2"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0"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3" y="79629"/>
                    </a:cubicBezTo>
                    <a:cubicBezTo>
                      <a:pt x="9601" y="79629"/>
                      <a:pt x="95" y="67723"/>
                      <a:pt x="95" y="52673"/>
                    </a:cubicBezTo>
                    <a:close/>
                  </a:path>
                </a:pathLst>
              </a:custGeom>
              <a:grpFill/>
              <a:ln w="9497" cap="flat">
                <a:noFill/>
                <a:prstDash val="solid"/>
                <a:miter/>
              </a:ln>
            </p:spPr>
            <p:txBody>
              <a:bodyPr rtlCol="0" anchor="ctr"/>
              <a:lstStyle/>
              <a:p>
                <a:endParaRPr lang="en-GB" dirty="0"/>
              </a:p>
            </p:txBody>
          </p:sp>
        </p:grpSp>
      </p:grpSp>
      <p:sp>
        <p:nvSpPr>
          <p:cNvPr id="8" name="Graphic 8">
            <a:extLst>
              <a:ext uri="{FF2B5EF4-FFF2-40B4-BE49-F238E27FC236}">
                <a16:creationId xmlns:a16="http://schemas.microsoft.com/office/drawing/2014/main" id="{A36D3B19-7533-C1F6-01CA-25CC48B61A1C}"/>
              </a:ext>
            </a:extLst>
          </p:cNvPr>
          <p:cNvSpPr>
            <a:spLocks noChangeAspect="1"/>
          </p:cNvSpPr>
          <p:nvPr userDrawn="1"/>
        </p:nvSpPr>
        <p:spPr>
          <a:xfrm>
            <a:off x="6895086"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GB" dirty="0"/>
          </a:p>
        </p:txBody>
      </p:sp>
    </p:spTree>
    <p:extLst>
      <p:ext uri="{BB962C8B-B14F-4D97-AF65-F5344CB8AC3E}">
        <p14:creationId xmlns:p14="http://schemas.microsoft.com/office/powerpoint/2010/main" val="187255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iterate type="lt">
                                    <p:tmPct val="10000"/>
                                  </p:iterate>
                                  <p:childTnLst>
                                    <p:set>
                                      <p:cBhvr>
                                        <p:cTn id="6" dur="1" fill="hold">
                                          <p:stCondLst>
                                            <p:cond delay="0"/>
                                          </p:stCondLst>
                                        </p:cTn>
                                        <p:tgtEl>
                                          <p:spTgt spid="15">
                                            <p:txEl>
                                              <p:pRg st="0" end="0"/>
                                            </p:txEl>
                                          </p:spTgt>
                                        </p:tgtEl>
                                        <p:attrNameLst>
                                          <p:attrName>style.visibility</p:attrName>
                                        </p:attrNameLst>
                                      </p:cBhvr>
                                      <p:to>
                                        <p:strVal val="visible"/>
                                      </p:to>
                                    </p:set>
                                    <p:anim calcmode="lin" valueType="num">
                                      <p:cBhvr>
                                        <p:cTn id="7" dur="400" fill="hold"/>
                                        <p:tgtEl>
                                          <p:spTgt spid="15">
                                            <p:txEl>
                                              <p:pRg st="0" end="0"/>
                                            </p:txEl>
                                          </p:spTgt>
                                        </p:tgtEl>
                                        <p:attrNameLst>
                                          <p:attrName>ppt_w</p:attrName>
                                        </p:attrNameLst>
                                      </p:cBhvr>
                                      <p:tavLst>
                                        <p:tav tm="0">
                                          <p:val>
                                            <p:strVal val="#ppt_w*0.70"/>
                                          </p:val>
                                        </p:tav>
                                        <p:tav tm="100000">
                                          <p:val>
                                            <p:strVal val="#ppt_w"/>
                                          </p:val>
                                        </p:tav>
                                      </p:tavLst>
                                    </p:anim>
                                    <p:anim calcmode="lin" valueType="num">
                                      <p:cBhvr>
                                        <p:cTn id="8" dur="400" fill="hold"/>
                                        <p:tgtEl>
                                          <p:spTgt spid="15">
                                            <p:txEl>
                                              <p:pRg st="0" end="0"/>
                                            </p:txEl>
                                          </p:spTgt>
                                        </p:tgtEl>
                                        <p:attrNameLst>
                                          <p:attrName>ppt_h</p:attrName>
                                        </p:attrNameLst>
                                      </p:cBhvr>
                                      <p:tavLst>
                                        <p:tav tm="0">
                                          <p:val>
                                            <p:strVal val="#ppt_h"/>
                                          </p:val>
                                        </p:tav>
                                        <p:tav tm="100000">
                                          <p:val>
                                            <p:strVal val="#ppt_h"/>
                                          </p:val>
                                        </p:tav>
                                      </p:tavLst>
                                    </p:anim>
                                    <p:animEffect transition="in" filter="fade">
                                      <p:cBhvr>
                                        <p:cTn id="9" dur="400"/>
                                        <p:tgtEl>
                                          <p:spTgt spid="15">
                                            <p:txEl>
                                              <p:pRg st="0" end="0"/>
                                            </p:txEl>
                                          </p:spTgt>
                                        </p:tgtEl>
                                      </p:cBhvr>
                                    </p:animEffect>
                                  </p:childTnLst>
                                </p:cTn>
                              </p:par>
                              <p:par>
                                <p:cTn id="10" presetID="10" presetClass="entr" presetSubtype="0" fill="hold" grpId="0" nodeType="withEffect">
                                  <p:stCondLst>
                                    <p:cond delay="1250"/>
                                  </p:stCondLst>
                                  <p:childTnLst>
                                    <p:set>
                                      <p:cBhvr>
                                        <p:cTn id="11" dur="1" fill="hold">
                                          <p:stCondLst>
                                            <p:cond delay="0"/>
                                          </p:stCondLst>
                                        </p:cTn>
                                        <p:tgtEl>
                                          <p:spTgt spid="16">
                                            <p:txEl>
                                              <p:pRg st="0" end="0"/>
                                            </p:txEl>
                                          </p:spTgt>
                                        </p:tgtEl>
                                        <p:attrNameLst>
                                          <p:attrName>style.visibility</p:attrName>
                                        </p:attrNameLst>
                                      </p:cBhvr>
                                      <p:to>
                                        <p:strVal val="visible"/>
                                      </p:to>
                                    </p:set>
                                    <p:animEffect transition="in" filter="fade">
                                      <p:cBhvr>
                                        <p:cTn id="12" dur="750"/>
                                        <p:tgtEl>
                                          <p:spTgt spid="16">
                                            <p:txEl>
                                              <p:pRg st="0" end="0"/>
                                            </p:txEl>
                                          </p:spTgt>
                                        </p:tgtEl>
                                      </p:cBhvr>
                                    </p:animEffect>
                                  </p:childTnLst>
                                </p:cTn>
                              </p:par>
                              <p:par>
                                <p:cTn id="13" presetID="2" presetClass="entr" presetSubtype="4" decel="100000" fill="hold" nodeType="withEffect">
                                  <p:stCondLst>
                                    <p:cond delay="15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par>
                                <p:cTn id="17" presetID="22" presetClass="entr" presetSubtype="1" fill="hold" grpId="0" nodeType="withEffect">
                                  <p:stCondLst>
                                    <p:cond delay="1500"/>
                                  </p:stCondLst>
                                  <p:childTnLst>
                                    <p:set>
                                      <p:cBhvr>
                                        <p:cTn id="18" dur="1" fill="hold">
                                          <p:stCondLst>
                                            <p:cond delay="0"/>
                                          </p:stCondLst>
                                        </p:cTn>
                                        <p:tgtEl>
                                          <p:spTgt spid="8"/>
                                        </p:tgtEl>
                                        <p:attrNameLst>
                                          <p:attrName>style.visibility</p:attrName>
                                        </p:attrNameLst>
                                      </p:cBhvr>
                                      <p:to>
                                        <p:strVal val="visible"/>
                                      </p:to>
                                    </p:set>
                                    <p:animEffect transition="in" filter="wipe(up)">
                                      <p:cBhvr>
                                        <p:cTn id="19" dur="1000"/>
                                        <p:tgtEl>
                                          <p:spTgt spid="8"/>
                                        </p:tgtEl>
                                      </p:cBhvr>
                                    </p:animEffect>
                                  </p:childTnLst>
                                </p:cTn>
                              </p:par>
                              <p:par>
                                <p:cTn id="20" presetID="10" presetClass="entr" presetSubtype="0" fill="hold" grpId="0" nodeType="withEffect">
                                  <p:stCondLst>
                                    <p:cond delay="22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tmplLst>
          <p:tmpl lvl="1">
            <p:tnLst>
              <p:par>
                <p:cTn presetID="55" presetClass="entr" presetSubtype="0" fill="hold" nodeType="withEffect">
                  <p:stCondLst>
                    <p:cond delay="0"/>
                  </p:stCondLst>
                  <p:iterate type="lt">
                    <p:tmPct val="10000"/>
                  </p:iterate>
                  <p:childTnLst>
                    <p:set>
                      <p:cBhvr>
                        <p:cTn dur="1" fill="hold">
                          <p:stCondLst>
                            <p:cond delay="0"/>
                          </p:stCondLst>
                        </p:cTn>
                        <p:tgtEl>
                          <p:spTgt spid="15"/>
                        </p:tgtEl>
                        <p:attrNameLst>
                          <p:attrName>style.visibility</p:attrName>
                        </p:attrNameLst>
                      </p:cBhvr>
                      <p:to>
                        <p:strVal val="visible"/>
                      </p:to>
                    </p:set>
                    <p:anim calcmode="lin" valueType="num">
                      <p:cBhvr>
                        <p:cTn dur="400" fill="hold"/>
                        <p:tgtEl>
                          <p:spTgt spid="15"/>
                        </p:tgtEl>
                        <p:attrNameLst>
                          <p:attrName>ppt_w</p:attrName>
                        </p:attrNameLst>
                      </p:cBhvr>
                      <p:tavLst>
                        <p:tav tm="0">
                          <p:val>
                            <p:strVal val="#ppt_w*0.70"/>
                          </p:val>
                        </p:tav>
                        <p:tav tm="100000">
                          <p:val>
                            <p:strVal val="#ppt_w"/>
                          </p:val>
                        </p:tav>
                      </p:tavLst>
                    </p:anim>
                    <p:anim calcmode="lin" valueType="num">
                      <p:cBhvr>
                        <p:cTn dur="400" fill="hold"/>
                        <p:tgtEl>
                          <p:spTgt spid="15"/>
                        </p:tgtEl>
                        <p:attrNameLst>
                          <p:attrName>ppt_h</p:attrName>
                        </p:attrNameLst>
                      </p:cBhvr>
                      <p:tavLst>
                        <p:tav tm="0">
                          <p:val>
                            <p:strVal val="#ppt_h"/>
                          </p:val>
                        </p:tav>
                        <p:tav tm="100000">
                          <p:val>
                            <p:strVal val="#ppt_h"/>
                          </p:val>
                        </p:tav>
                      </p:tavLst>
                    </p:anim>
                    <p:animEffect transition="in" filter="fade">
                      <p:cBhvr>
                        <p:cTn dur="400"/>
                        <p:tgtEl>
                          <p:spTgt spid="15"/>
                        </p:tgtEl>
                      </p:cBhvr>
                    </p:animEffect>
                  </p:childTnLst>
                </p:cTn>
              </p:par>
            </p:tnLst>
          </p:tmpl>
        </p:tmplLst>
      </p:bldP>
      <p:bldP spid="16" grpId="0" build="p">
        <p:tmplLst>
          <p:tmpl lvl="1">
            <p:tnLst>
              <p:par>
                <p:cTn presetID="10" presetClass="entr" presetSubtype="0" fill="hold" nodeType="withEffect">
                  <p:stCondLst>
                    <p:cond delay="1250"/>
                  </p:stCondLst>
                  <p:childTnLst>
                    <p:set>
                      <p:cBhvr>
                        <p:cTn dur="1" fill="hold">
                          <p:stCondLst>
                            <p:cond delay="0"/>
                          </p:stCondLst>
                        </p:cTn>
                        <p:tgtEl>
                          <p:spTgt spid="16"/>
                        </p:tgtEl>
                        <p:attrNameLst>
                          <p:attrName>style.visibility</p:attrName>
                        </p:attrNameLst>
                      </p:cBhvr>
                      <p:to>
                        <p:strVal val="visible"/>
                      </p:to>
                    </p:set>
                    <p:animEffect transition="in" filter="fade">
                      <p:cBhvr>
                        <p:cTn dur="750"/>
                        <p:tgtEl>
                          <p:spTgt spid="16"/>
                        </p:tgtEl>
                      </p:cBhvr>
                    </p:animEffect>
                  </p:childTnLst>
                </p:cTn>
              </p:par>
            </p:tnLst>
          </p:tmpl>
        </p:tmplLst>
      </p:bldP>
      <p:bldP spid="7" grpId="0"/>
      <p:bldP spid="8" grpId="0" animBg="1"/>
    </p:bldLst>
  </p:timing>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List">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3" y="3755424"/>
            <a:ext cx="3187973" cy="520092"/>
          </a:xfrm>
        </p:spPr>
        <p:txBody>
          <a:bodyPr>
            <a:noAutofit/>
          </a:bodyPr>
          <a:lstStyle>
            <a:lvl1pPr marL="0" indent="0" algn="ctr">
              <a:spcBef>
                <a:spcPts val="0"/>
              </a:spcBef>
              <a:buNone/>
              <a:defRPr sz="2400" b="1">
                <a:solidFill>
                  <a:srgbClr val="47DA86"/>
                </a:solidFill>
                <a:latin typeface="+mj-lt"/>
              </a:defRPr>
            </a:lvl1pPr>
          </a:lstStyle>
          <a:p>
            <a:pPr lvl="0"/>
            <a:r>
              <a:rPr lang="en-GB" dirty="0"/>
              <a:t>Header 1</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3" y="4275517"/>
            <a:ext cx="3187973" cy="1529972"/>
          </a:xfrm>
        </p:spPr>
        <p:txBody>
          <a:bodyPr>
            <a:noAutofit/>
          </a:bodyPr>
          <a:lstStyle>
            <a:lvl1pPr marL="0" indent="0" algn="ctr">
              <a:buNone/>
              <a:defRPr sz="1200" b="0"/>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p:txBody>
      </p:sp>
      <p:sp>
        <p:nvSpPr>
          <p:cNvPr id="12" name="Picture Placeholder 11">
            <a:extLst>
              <a:ext uri="{FF2B5EF4-FFF2-40B4-BE49-F238E27FC236}">
                <a16:creationId xmlns:a16="http://schemas.microsoft.com/office/drawing/2014/main" id="{CC37CBB0-B119-C056-ACE1-050494F161BC}"/>
              </a:ext>
            </a:extLst>
          </p:cNvPr>
          <p:cNvSpPr>
            <a:spLocks noGrp="1"/>
          </p:cNvSpPr>
          <p:nvPr>
            <p:ph type="pic" sz="quarter" idx="18"/>
          </p:nvPr>
        </p:nvSpPr>
        <p:spPr>
          <a:xfrm>
            <a:off x="4619918"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GB" dirty="0"/>
              <a:t>Click icon to add picture</a:t>
            </a:r>
          </a:p>
        </p:txBody>
      </p:sp>
      <p:sp>
        <p:nvSpPr>
          <p:cNvPr id="13" name="Text Placeholder 11">
            <a:extLst>
              <a:ext uri="{FF2B5EF4-FFF2-40B4-BE49-F238E27FC236}">
                <a16:creationId xmlns:a16="http://schemas.microsoft.com/office/drawing/2014/main" id="{1C0119C8-1D9A-0DFA-77E1-D96E4EC70820}"/>
              </a:ext>
            </a:extLst>
          </p:cNvPr>
          <p:cNvSpPr>
            <a:spLocks noGrp="1"/>
          </p:cNvSpPr>
          <p:nvPr>
            <p:ph type="body" sz="quarter" idx="19" hasCustomPrompt="1"/>
          </p:nvPr>
        </p:nvSpPr>
        <p:spPr>
          <a:xfrm>
            <a:off x="4500345" y="4275517"/>
            <a:ext cx="3187973" cy="1529972"/>
          </a:xfrm>
        </p:spPr>
        <p:txBody>
          <a:bodyPr>
            <a:noAutofit/>
          </a:bodyPr>
          <a:lstStyle>
            <a:lvl1pPr marL="0" indent="0" algn="ctr">
              <a:buNone/>
              <a:defRPr sz="1200" b="0"/>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p:txBody>
      </p:sp>
      <p:sp>
        <p:nvSpPr>
          <p:cNvPr id="14" name="Text Placeholder 11">
            <a:extLst>
              <a:ext uri="{FF2B5EF4-FFF2-40B4-BE49-F238E27FC236}">
                <a16:creationId xmlns:a16="http://schemas.microsoft.com/office/drawing/2014/main" id="{D2914D5C-66D1-2DD5-239D-D767E5AD9FB1}"/>
              </a:ext>
            </a:extLst>
          </p:cNvPr>
          <p:cNvSpPr>
            <a:spLocks noGrp="1"/>
          </p:cNvSpPr>
          <p:nvPr>
            <p:ph type="body" sz="quarter" idx="20" hasCustomPrompt="1"/>
          </p:nvPr>
        </p:nvSpPr>
        <p:spPr>
          <a:xfrm>
            <a:off x="8343546" y="4275517"/>
            <a:ext cx="3187973" cy="1529972"/>
          </a:xfrm>
        </p:spPr>
        <p:txBody>
          <a:bodyPr>
            <a:noAutofit/>
          </a:bodyPr>
          <a:lstStyle>
            <a:lvl1pPr marL="0" indent="0" algn="ctr">
              <a:buNone/>
              <a:defRPr sz="1200" b="0"/>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p:txBody>
      </p:sp>
      <p:sp>
        <p:nvSpPr>
          <p:cNvPr id="17" name="Picture Placeholder 16">
            <a:extLst>
              <a:ext uri="{FF2B5EF4-FFF2-40B4-BE49-F238E27FC236}">
                <a16:creationId xmlns:a16="http://schemas.microsoft.com/office/drawing/2014/main" id="{95EAB911-B33D-DF2F-9631-A9EE94552AD8}"/>
              </a:ext>
            </a:extLst>
          </p:cNvPr>
          <p:cNvSpPr>
            <a:spLocks noGrp="1"/>
          </p:cNvSpPr>
          <p:nvPr>
            <p:ph type="pic" sz="quarter" idx="21"/>
          </p:nvPr>
        </p:nvSpPr>
        <p:spPr>
          <a:xfrm>
            <a:off x="8463119"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GB" dirty="0"/>
              <a:t>Click icon to add picture</a:t>
            </a:r>
          </a:p>
        </p:txBody>
      </p:sp>
      <p:sp>
        <p:nvSpPr>
          <p:cNvPr id="18" name="Picture Placeholder 17">
            <a:extLst>
              <a:ext uri="{FF2B5EF4-FFF2-40B4-BE49-F238E27FC236}">
                <a16:creationId xmlns:a16="http://schemas.microsoft.com/office/drawing/2014/main" id="{680FA60A-84B6-E342-F780-1771576770FF}"/>
              </a:ext>
            </a:extLst>
          </p:cNvPr>
          <p:cNvSpPr>
            <a:spLocks noGrp="1"/>
          </p:cNvSpPr>
          <p:nvPr>
            <p:ph type="pic" sz="quarter" idx="22"/>
          </p:nvPr>
        </p:nvSpPr>
        <p:spPr>
          <a:xfrm>
            <a:off x="778386"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GB" dirty="0"/>
              <a:t>Click icon to add picture</a:t>
            </a:r>
          </a:p>
        </p:txBody>
      </p:sp>
      <p:sp>
        <p:nvSpPr>
          <p:cNvPr id="19" name="Text Placeholder 11">
            <a:extLst>
              <a:ext uri="{FF2B5EF4-FFF2-40B4-BE49-F238E27FC236}">
                <a16:creationId xmlns:a16="http://schemas.microsoft.com/office/drawing/2014/main" id="{4CDAB5D0-7F86-EA91-AB9B-1A439E9373FC}"/>
              </a:ext>
            </a:extLst>
          </p:cNvPr>
          <p:cNvSpPr>
            <a:spLocks noGrp="1"/>
          </p:cNvSpPr>
          <p:nvPr>
            <p:ph type="body" sz="quarter" idx="23" hasCustomPrompt="1"/>
          </p:nvPr>
        </p:nvSpPr>
        <p:spPr>
          <a:xfrm>
            <a:off x="4500345" y="3755424"/>
            <a:ext cx="3187973" cy="520092"/>
          </a:xfrm>
        </p:spPr>
        <p:txBody>
          <a:bodyPr>
            <a:noAutofit/>
          </a:bodyPr>
          <a:lstStyle>
            <a:lvl1pPr marL="0" indent="0" algn="ctr">
              <a:spcBef>
                <a:spcPts val="0"/>
              </a:spcBef>
              <a:buNone/>
              <a:defRPr sz="2400" b="1">
                <a:solidFill>
                  <a:srgbClr val="47DA86"/>
                </a:solidFill>
                <a:latin typeface="+mj-lt"/>
              </a:defRPr>
            </a:lvl1pPr>
          </a:lstStyle>
          <a:p>
            <a:pPr lvl="0"/>
            <a:r>
              <a:rPr lang="en-GB" dirty="0"/>
              <a:t>Header 2</a:t>
            </a:r>
          </a:p>
        </p:txBody>
      </p:sp>
      <p:sp>
        <p:nvSpPr>
          <p:cNvPr id="20" name="Text Placeholder 11">
            <a:extLst>
              <a:ext uri="{FF2B5EF4-FFF2-40B4-BE49-F238E27FC236}">
                <a16:creationId xmlns:a16="http://schemas.microsoft.com/office/drawing/2014/main" id="{7FC37118-FC7D-57FD-16B1-A498B8326CE2}"/>
              </a:ext>
            </a:extLst>
          </p:cNvPr>
          <p:cNvSpPr>
            <a:spLocks noGrp="1"/>
          </p:cNvSpPr>
          <p:nvPr>
            <p:ph type="body" sz="quarter" idx="24" hasCustomPrompt="1"/>
          </p:nvPr>
        </p:nvSpPr>
        <p:spPr>
          <a:xfrm>
            <a:off x="8343546" y="3755424"/>
            <a:ext cx="3187973" cy="520092"/>
          </a:xfrm>
        </p:spPr>
        <p:txBody>
          <a:bodyPr>
            <a:noAutofit/>
          </a:bodyPr>
          <a:lstStyle>
            <a:lvl1pPr marL="0" indent="0" algn="ctr">
              <a:spcBef>
                <a:spcPts val="0"/>
              </a:spcBef>
              <a:buNone/>
              <a:defRPr sz="2400" b="1">
                <a:solidFill>
                  <a:srgbClr val="47DA86"/>
                </a:solidFill>
                <a:latin typeface="+mj-lt"/>
              </a:defRPr>
            </a:lvl1pPr>
          </a:lstStyle>
          <a:p>
            <a:pPr lvl="0"/>
            <a:r>
              <a:rPr lang="en-GB" dirty="0"/>
              <a:t>Header 3</a:t>
            </a:r>
          </a:p>
        </p:txBody>
      </p:sp>
      <p:sp>
        <p:nvSpPr>
          <p:cNvPr id="4" name="Slide Number Placeholder 3">
            <a:extLst>
              <a:ext uri="{FF2B5EF4-FFF2-40B4-BE49-F238E27FC236}">
                <a16:creationId xmlns:a16="http://schemas.microsoft.com/office/drawing/2014/main" id="{B1720F34-EE38-1EB6-D2BC-389D6E7C2435}"/>
              </a:ext>
            </a:extLst>
          </p:cNvPr>
          <p:cNvSpPr>
            <a:spLocks noGrp="1"/>
          </p:cNvSpPr>
          <p:nvPr>
            <p:ph type="sldNum" sz="quarter" idx="25"/>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3209216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Pebbles (White)">
    <p:spTree>
      <p:nvGrpSpPr>
        <p:cNvPr id="1" name=""/>
        <p:cNvGrpSpPr/>
        <p:nvPr/>
      </p:nvGrpSpPr>
      <p:grpSpPr>
        <a:xfrm>
          <a:off x="0" y="0"/>
          <a:ext cx="0" cy="0"/>
          <a:chOff x="0" y="0"/>
          <a:chExt cx="0" cy="0"/>
        </a:xfrm>
      </p:grpSpPr>
      <p:sp>
        <p:nvSpPr>
          <p:cNvPr id="66" name="Picture Placeholder 65">
            <a:extLst>
              <a:ext uri="{FF2B5EF4-FFF2-40B4-BE49-F238E27FC236}">
                <a16:creationId xmlns:a16="http://schemas.microsoft.com/office/drawing/2014/main" id="{F2661CE8-4FDA-2506-7DD0-FB3A695D8106}"/>
              </a:ext>
            </a:extLst>
          </p:cNvPr>
          <p:cNvSpPr>
            <a:spLocks noGrp="1"/>
          </p:cNvSpPr>
          <p:nvPr>
            <p:ph type="pic" sz="quarter" idx="15"/>
          </p:nvPr>
        </p:nvSpPr>
        <p:spPr>
          <a:xfrm>
            <a:off x="6508923" y="3620604"/>
            <a:ext cx="1154057" cy="1164548"/>
          </a:xfrm>
          <a:custGeom>
            <a:avLst/>
            <a:gdLst>
              <a:gd name="connsiteX0" fmla="*/ 620546 w 1154057"/>
              <a:gd name="connsiteY0" fmla="*/ 1074 h 1164548"/>
              <a:gd name="connsiteX1" fmla="*/ 740037 w 1154057"/>
              <a:gd name="connsiteY1" fmla="*/ 30926 h 1164548"/>
              <a:gd name="connsiteX2" fmla="*/ 1149079 w 1154057"/>
              <a:gd name="connsiteY2" fmla="*/ 544452 h 1164548"/>
              <a:gd name="connsiteX3" fmla="*/ 1006132 w 1154057"/>
              <a:gd name="connsiteY3" fmla="*/ 957097 h 1164548"/>
              <a:gd name="connsiteX4" fmla="*/ 883647 w 1154057"/>
              <a:gd name="connsiteY4" fmla="*/ 1053039 h 1164548"/>
              <a:gd name="connsiteX5" fmla="*/ 162661 w 1154057"/>
              <a:gd name="connsiteY5" fmla="*/ 1067667 h 1164548"/>
              <a:gd name="connsiteX6" fmla="*/ 579 w 1154057"/>
              <a:gd name="connsiteY6" fmla="*/ 741180 h 1164548"/>
              <a:gd name="connsiteX7" fmla="*/ 256727 w 1154057"/>
              <a:gd name="connsiteY7" fmla="*/ 146531 h 1164548"/>
              <a:gd name="connsiteX8" fmla="*/ 620546 w 1154057"/>
              <a:gd name="connsiteY8" fmla="*/ 1074 h 116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4057" h="1164548">
                <a:moveTo>
                  <a:pt x="620546" y="1074"/>
                </a:moveTo>
                <a:cubicBezTo>
                  <a:pt x="661868" y="4174"/>
                  <a:pt x="702145" y="14018"/>
                  <a:pt x="740037" y="30926"/>
                </a:cubicBezTo>
                <a:cubicBezTo>
                  <a:pt x="949389" y="123543"/>
                  <a:pt x="1117629" y="334710"/>
                  <a:pt x="1149079" y="544452"/>
                </a:cubicBezTo>
                <a:cubicBezTo>
                  <a:pt x="1171057" y="698529"/>
                  <a:pt x="1119713" y="843201"/>
                  <a:pt x="1006132" y="957097"/>
                </a:cubicBezTo>
                <a:cubicBezTo>
                  <a:pt x="971083" y="992244"/>
                  <a:pt x="930159" y="1024446"/>
                  <a:pt x="883647" y="1053039"/>
                </a:cubicBezTo>
                <a:cubicBezTo>
                  <a:pt x="651181" y="1196096"/>
                  <a:pt x="354772" y="1202081"/>
                  <a:pt x="162661" y="1067667"/>
                </a:cubicBezTo>
                <a:cubicBezTo>
                  <a:pt x="62721" y="988634"/>
                  <a:pt x="6736" y="875689"/>
                  <a:pt x="579" y="741180"/>
                </a:cubicBezTo>
                <a:cubicBezTo>
                  <a:pt x="-8705" y="539607"/>
                  <a:pt x="94456" y="299943"/>
                  <a:pt x="256727" y="146531"/>
                </a:cubicBezTo>
                <a:cubicBezTo>
                  <a:pt x="363227" y="43156"/>
                  <a:pt x="496583" y="-8228"/>
                  <a:pt x="620546" y="1074"/>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67" name="Picture Placeholder 66">
            <a:extLst>
              <a:ext uri="{FF2B5EF4-FFF2-40B4-BE49-F238E27FC236}">
                <a16:creationId xmlns:a16="http://schemas.microsoft.com/office/drawing/2014/main" id="{3B71B6AE-BEDB-94B9-6987-0DDAA2DCD384}"/>
              </a:ext>
            </a:extLst>
          </p:cNvPr>
          <p:cNvSpPr>
            <a:spLocks noGrp="1"/>
          </p:cNvSpPr>
          <p:nvPr>
            <p:ph type="pic" sz="quarter" idx="16"/>
          </p:nvPr>
        </p:nvSpPr>
        <p:spPr>
          <a:xfrm>
            <a:off x="7810410" y="3608348"/>
            <a:ext cx="1107883" cy="1189060"/>
          </a:xfrm>
          <a:custGeom>
            <a:avLst/>
            <a:gdLst>
              <a:gd name="connsiteX0" fmla="*/ 518352 w 1107883"/>
              <a:gd name="connsiteY0" fmla="*/ 3 h 1189060"/>
              <a:gd name="connsiteX1" fmla="*/ 916906 w 1107883"/>
              <a:gd name="connsiteY1" fmla="*/ 119284 h 1189060"/>
              <a:gd name="connsiteX2" fmla="*/ 1107883 w 1107883"/>
              <a:gd name="connsiteY2" fmla="*/ 511437 h 1189060"/>
              <a:gd name="connsiteX3" fmla="*/ 1088833 w 1107883"/>
              <a:gd name="connsiteY3" fmla="*/ 665779 h 1189060"/>
              <a:gd name="connsiteX4" fmla="*/ 586579 w 1107883"/>
              <a:gd name="connsiteY4" fmla="*/ 1186029 h 1189060"/>
              <a:gd name="connsiteX5" fmla="*/ 239869 w 1107883"/>
              <a:gd name="connsiteY5" fmla="*/ 1070344 h 1189060"/>
              <a:gd name="connsiteX6" fmla="*/ 316 w 1107883"/>
              <a:gd name="connsiteY6" fmla="*/ 469749 h 1189060"/>
              <a:gd name="connsiteX7" fmla="*/ 261967 w 1107883"/>
              <a:gd name="connsiteY7" fmla="*/ 46424 h 1189060"/>
              <a:gd name="connsiteX8" fmla="*/ 518352 w 1107883"/>
              <a:gd name="connsiteY8" fmla="*/ 3 h 118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883" h="1189060">
                <a:moveTo>
                  <a:pt x="518352" y="3"/>
                </a:moveTo>
                <a:cubicBezTo>
                  <a:pt x="664673" y="-378"/>
                  <a:pt x="809989" y="40763"/>
                  <a:pt x="916906" y="119284"/>
                </a:cubicBezTo>
                <a:cubicBezTo>
                  <a:pt x="1041779" y="212419"/>
                  <a:pt x="1107883" y="350748"/>
                  <a:pt x="1107883" y="511437"/>
                </a:cubicBezTo>
                <a:cubicBezTo>
                  <a:pt x="1107883" y="560990"/>
                  <a:pt x="1101596" y="612626"/>
                  <a:pt x="1088833" y="665779"/>
                </a:cubicBezTo>
                <a:cubicBezTo>
                  <a:pt x="1025015" y="931068"/>
                  <a:pt x="818513" y="1144909"/>
                  <a:pt x="586579" y="1186029"/>
                </a:cubicBezTo>
                <a:cubicBezTo>
                  <a:pt x="459516" y="1200904"/>
                  <a:pt x="339596" y="1160827"/>
                  <a:pt x="239869" y="1070344"/>
                </a:cubicBezTo>
                <a:cubicBezTo>
                  <a:pt x="90327" y="934668"/>
                  <a:pt x="-6257" y="692781"/>
                  <a:pt x="316" y="469749"/>
                </a:cubicBezTo>
                <a:cubicBezTo>
                  <a:pt x="3554" y="272109"/>
                  <a:pt x="106234" y="105924"/>
                  <a:pt x="261967" y="46424"/>
                </a:cubicBezTo>
                <a:cubicBezTo>
                  <a:pt x="342406" y="15407"/>
                  <a:pt x="430560" y="231"/>
                  <a:pt x="518352" y="3"/>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68" name="Picture Placeholder 67">
            <a:extLst>
              <a:ext uri="{FF2B5EF4-FFF2-40B4-BE49-F238E27FC236}">
                <a16:creationId xmlns:a16="http://schemas.microsoft.com/office/drawing/2014/main" id="{906C151D-F8D9-E488-C77D-9C9B042AEA15}"/>
              </a:ext>
            </a:extLst>
          </p:cNvPr>
          <p:cNvSpPr>
            <a:spLocks noGrp="1"/>
          </p:cNvSpPr>
          <p:nvPr>
            <p:ph type="pic" sz="quarter" idx="17"/>
          </p:nvPr>
        </p:nvSpPr>
        <p:spPr>
          <a:xfrm>
            <a:off x="7803666" y="2055915"/>
            <a:ext cx="1164457" cy="1154057"/>
          </a:xfrm>
          <a:custGeom>
            <a:avLst/>
            <a:gdLst>
              <a:gd name="connsiteX0" fmla="*/ 657822 w 1164457"/>
              <a:gd name="connsiteY0" fmla="*/ 2070 h 1154057"/>
              <a:gd name="connsiteX1" fmla="*/ 957005 w 1164457"/>
              <a:gd name="connsiteY1" fmla="*/ 147925 h 1154057"/>
              <a:gd name="connsiteX2" fmla="*/ 1052947 w 1164457"/>
              <a:gd name="connsiteY2" fmla="*/ 270411 h 1154057"/>
              <a:gd name="connsiteX3" fmla="*/ 1067576 w 1164457"/>
              <a:gd name="connsiteY3" fmla="*/ 991397 h 1154057"/>
              <a:gd name="connsiteX4" fmla="*/ 741089 w 1164457"/>
              <a:gd name="connsiteY4" fmla="*/ 1153384 h 1154057"/>
              <a:gd name="connsiteX5" fmla="*/ 741184 w 1164457"/>
              <a:gd name="connsiteY5" fmla="*/ 1153479 h 1154057"/>
              <a:gd name="connsiteX6" fmla="*/ 146440 w 1164457"/>
              <a:gd name="connsiteY6" fmla="*/ 897331 h 1154057"/>
              <a:gd name="connsiteX7" fmla="*/ 30930 w 1164457"/>
              <a:gd name="connsiteY7" fmla="*/ 414021 h 1154057"/>
              <a:gd name="connsiteX8" fmla="*/ 544361 w 1164457"/>
              <a:gd name="connsiteY8" fmla="*/ 4979 h 1154057"/>
              <a:gd name="connsiteX9" fmla="*/ 657822 w 1164457"/>
              <a:gd name="connsiteY9" fmla="*/ 2070 h 115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4457" h="1154057">
                <a:moveTo>
                  <a:pt x="657822" y="2070"/>
                </a:moveTo>
                <a:cubicBezTo>
                  <a:pt x="768851" y="12563"/>
                  <a:pt x="871584" y="62740"/>
                  <a:pt x="957005" y="147925"/>
                </a:cubicBezTo>
                <a:cubicBezTo>
                  <a:pt x="992152" y="182975"/>
                  <a:pt x="1024355" y="223898"/>
                  <a:pt x="1052947" y="270411"/>
                </a:cubicBezTo>
                <a:cubicBezTo>
                  <a:pt x="1196005" y="502877"/>
                  <a:pt x="1201990" y="799286"/>
                  <a:pt x="1067576" y="991397"/>
                </a:cubicBezTo>
                <a:cubicBezTo>
                  <a:pt x="988543" y="1091242"/>
                  <a:pt x="875502" y="1147227"/>
                  <a:pt x="741089" y="1153384"/>
                </a:cubicBezTo>
                <a:lnTo>
                  <a:pt x="741184" y="1153479"/>
                </a:lnTo>
                <a:cubicBezTo>
                  <a:pt x="539516" y="1162763"/>
                  <a:pt x="299947" y="1059602"/>
                  <a:pt x="146440" y="897331"/>
                </a:cubicBezTo>
                <a:cubicBezTo>
                  <a:pt x="8702" y="755331"/>
                  <a:pt x="-36705" y="565588"/>
                  <a:pt x="30930" y="414021"/>
                </a:cubicBezTo>
                <a:cubicBezTo>
                  <a:pt x="123547" y="204668"/>
                  <a:pt x="334714" y="36429"/>
                  <a:pt x="544361" y="4979"/>
                </a:cubicBezTo>
                <a:cubicBezTo>
                  <a:pt x="582880" y="-515"/>
                  <a:pt x="620812" y="-1427"/>
                  <a:pt x="657822" y="2070"/>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69" name="Picture Placeholder 68">
            <a:extLst>
              <a:ext uri="{FF2B5EF4-FFF2-40B4-BE49-F238E27FC236}">
                <a16:creationId xmlns:a16="http://schemas.microsoft.com/office/drawing/2014/main" id="{97C88B23-F01B-B969-B774-88297D25CAD5}"/>
              </a:ext>
            </a:extLst>
          </p:cNvPr>
          <p:cNvSpPr>
            <a:spLocks noGrp="1"/>
          </p:cNvSpPr>
          <p:nvPr>
            <p:ph type="pic" sz="quarter" idx="18"/>
          </p:nvPr>
        </p:nvSpPr>
        <p:spPr>
          <a:xfrm>
            <a:off x="9065723" y="3648937"/>
            <a:ext cx="1189061" cy="1107883"/>
          </a:xfrm>
          <a:custGeom>
            <a:avLst/>
            <a:gdLst>
              <a:gd name="connsiteX0" fmla="*/ 719312 w 1189061"/>
              <a:gd name="connsiteY0" fmla="*/ 316 h 1107883"/>
              <a:gd name="connsiteX1" fmla="*/ 1142638 w 1189061"/>
              <a:gd name="connsiteY1" fmla="*/ 261967 h 1107883"/>
              <a:gd name="connsiteX2" fmla="*/ 1069778 w 1189061"/>
              <a:gd name="connsiteY2" fmla="*/ 916906 h 1107883"/>
              <a:gd name="connsiteX3" fmla="*/ 677624 w 1189061"/>
              <a:gd name="connsiteY3" fmla="*/ 1107883 h 1107883"/>
              <a:gd name="connsiteX4" fmla="*/ 523283 w 1189061"/>
              <a:gd name="connsiteY4" fmla="*/ 1088833 h 1107883"/>
              <a:gd name="connsiteX5" fmla="*/ 3032 w 1189061"/>
              <a:gd name="connsiteY5" fmla="*/ 586579 h 1107883"/>
              <a:gd name="connsiteX6" fmla="*/ 118717 w 1189061"/>
              <a:gd name="connsiteY6" fmla="*/ 239869 h 1107883"/>
              <a:gd name="connsiteX7" fmla="*/ 719312 w 1189061"/>
              <a:gd name="connsiteY7" fmla="*/ 316 h 110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1" h="1107883">
                <a:moveTo>
                  <a:pt x="719312" y="316"/>
                </a:moveTo>
                <a:cubicBezTo>
                  <a:pt x="916953" y="3554"/>
                  <a:pt x="1083137" y="106234"/>
                  <a:pt x="1142638" y="261967"/>
                </a:cubicBezTo>
                <a:cubicBezTo>
                  <a:pt x="1225351" y="476470"/>
                  <a:pt x="1195411" y="745838"/>
                  <a:pt x="1069778" y="916906"/>
                </a:cubicBezTo>
                <a:cubicBezTo>
                  <a:pt x="976643" y="1041779"/>
                  <a:pt x="838313" y="1107883"/>
                  <a:pt x="677624" y="1107883"/>
                </a:cubicBezTo>
                <a:cubicBezTo>
                  <a:pt x="628072" y="1107883"/>
                  <a:pt x="576435" y="1101596"/>
                  <a:pt x="523283" y="1088833"/>
                </a:cubicBezTo>
                <a:cubicBezTo>
                  <a:pt x="257994" y="1025015"/>
                  <a:pt x="44152" y="818513"/>
                  <a:pt x="3032" y="586579"/>
                </a:cubicBezTo>
                <a:cubicBezTo>
                  <a:pt x="-11843" y="459516"/>
                  <a:pt x="28235" y="339596"/>
                  <a:pt x="118717" y="239869"/>
                </a:cubicBezTo>
                <a:cubicBezTo>
                  <a:pt x="254394" y="90327"/>
                  <a:pt x="496280" y="-6257"/>
                  <a:pt x="719312" y="316"/>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70" name="Picture Placeholder 69">
            <a:extLst>
              <a:ext uri="{FF2B5EF4-FFF2-40B4-BE49-F238E27FC236}">
                <a16:creationId xmlns:a16="http://schemas.microsoft.com/office/drawing/2014/main" id="{999EFC1E-B95B-3F1C-CE75-B89111D6591C}"/>
              </a:ext>
            </a:extLst>
          </p:cNvPr>
          <p:cNvSpPr>
            <a:spLocks noGrp="1"/>
          </p:cNvSpPr>
          <p:nvPr>
            <p:ph type="pic" sz="quarter" idx="19"/>
          </p:nvPr>
        </p:nvSpPr>
        <p:spPr>
          <a:xfrm>
            <a:off x="9091307" y="2055915"/>
            <a:ext cx="1164633" cy="1154057"/>
          </a:xfrm>
          <a:custGeom>
            <a:avLst/>
            <a:gdLst>
              <a:gd name="connsiteX0" fmla="*/ 423358 w 1164633"/>
              <a:gd name="connsiteY0" fmla="*/ 579 h 1154057"/>
              <a:gd name="connsiteX1" fmla="*/ 1018102 w 1164633"/>
              <a:gd name="connsiteY1" fmla="*/ 256727 h 1154057"/>
              <a:gd name="connsiteX2" fmla="*/ 1133708 w 1164633"/>
              <a:gd name="connsiteY2" fmla="*/ 740037 h 1154057"/>
              <a:gd name="connsiteX3" fmla="*/ 620182 w 1164633"/>
              <a:gd name="connsiteY3" fmla="*/ 1149079 h 1154057"/>
              <a:gd name="connsiteX4" fmla="*/ 207537 w 1164633"/>
              <a:gd name="connsiteY4" fmla="*/ 1006132 h 1154057"/>
              <a:gd name="connsiteX5" fmla="*/ 111595 w 1164633"/>
              <a:gd name="connsiteY5" fmla="*/ 883647 h 1154057"/>
              <a:gd name="connsiteX6" fmla="*/ 96871 w 1164633"/>
              <a:gd name="connsiteY6" fmla="*/ 162661 h 1154057"/>
              <a:gd name="connsiteX7" fmla="*/ 423358 w 1164633"/>
              <a:gd name="connsiteY7" fmla="*/ 579 h 115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633" h="1154057">
                <a:moveTo>
                  <a:pt x="423358" y="579"/>
                </a:moveTo>
                <a:cubicBezTo>
                  <a:pt x="625026" y="-8705"/>
                  <a:pt x="864596" y="94456"/>
                  <a:pt x="1018102" y="256727"/>
                </a:cubicBezTo>
                <a:cubicBezTo>
                  <a:pt x="1155936" y="398727"/>
                  <a:pt x="1201342" y="588470"/>
                  <a:pt x="1133708" y="740037"/>
                </a:cubicBezTo>
                <a:cubicBezTo>
                  <a:pt x="1041090" y="949389"/>
                  <a:pt x="829924" y="1117629"/>
                  <a:pt x="620182" y="1149079"/>
                </a:cubicBezTo>
                <a:cubicBezTo>
                  <a:pt x="466105" y="1171057"/>
                  <a:pt x="321432" y="1119713"/>
                  <a:pt x="207537" y="1006132"/>
                </a:cubicBezTo>
                <a:cubicBezTo>
                  <a:pt x="172390" y="971083"/>
                  <a:pt x="140188" y="930159"/>
                  <a:pt x="111595" y="883647"/>
                </a:cubicBezTo>
                <a:cubicBezTo>
                  <a:pt x="-31558" y="651181"/>
                  <a:pt x="-37542" y="354772"/>
                  <a:pt x="96871" y="162661"/>
                </a:cubicBezTo>
                <a:cubicBezTo>
                  <a:pt x="175905" y="62721"/>
                  <a:pt x="288850" y="6736"/>
                  <a:pt x="423358" y="579"/>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71" name="Picture Placeholder 70">
            <a:extLst>
              <a:ext uri="{FF2B5EF4-FFF2-40B4-BE49-F238E27FC236}">
                <a16:creationId xmlns:a16="http://schemas.microsoft.com/office/drawing/2014/main" id="{8E8FEB9C-40A3-9F02-121F-D2BC9CAE02D1}"/>
              </a:ext>
            </a:extLst>
          </p:cNvPr>
          <p:cNvSpPr>
            <a:spLocks noGrp="1"/>
          </p:cNvSpPr>
          <p:nvPr>
            <p:ph type="pic" sz="quarter" idx="20"/>
          </p:nvPr>
        </p:nvSpPr>
        <p:spPr>
          <a:xfrm>
            <a:off x="10402215" y="3608348"/>
            <a:ext cx="1107882" cy="1189061"/>
          </a:xfrm>
          <a:custGeom>
            <a:avLst/>
            <a:gdLst>
              <a:gd name="connsiteX0" fmla="*/ 615058 w 1107882"/>
              <a:gd name="connsiteY0" fmla="*/ 2108 h 1189061"/>
              <a:gd name="connsiteX1" fmla="*/ 868013 w 1107882"/>
              <a:gd name="connsiteY1" fmla="*/ 118717 h 1189061"/>
              <a:gd name="connsiteX2" fmla="*/ 1107567 w 1107882"/>
              <a:gd name="connsiteY2" fmla="*/ 719312 h 1189061"/>
              <a:gd name="connsiteX3" fmla="*/ 845915 w 1107882"/>
              <a:gd name="connsiteY3" fmla="*/ 1142638 h 1189061"/>
              <a:gd name="connsiteX4" fmla="*/ 190976 w 1107882"/>
              <a:gd name="connsiteY4" fmla="*/ 1069778 h 1189061"/>
              <a:gd name="connsiteX5" fmla="*/ 0 w 1107882"/>
              <a:gd name="connsiteY5" fmla="*/ 677624 h 1189061"/>
              <a:gd name="connsiteX6" fmla="*/ 19050 w 1107882"/>
              <a:gd name="connsiteY6" fmla="*/ 523283 h 1189061"/>
              <a:gd name="connsiteX7" fmla="*/ 521303 w 1107882"/>
              <a:gd name="connsiteY7" fmla="*/ 3032 h 1189061"/>
              <a:gd name="connsiteX8" fmla="*/ 615058 w 1107882"/>
              <a:gd name="connsiteY8" fmla="*/ 2108 h 118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882" h="1189061">
                <a:moveTo>
                  <a:pt x="615058" y="2108"/>
                </a:moveTo>
                <a:cubicBezTo>
                  <a:pt x="707065" y="11346"/>
                  <a:pt x="793218" y="50856"/>
                  <a:pt x="868013" y="118717"/>
                </a:cubicBezTo>
                <a:cubicBezTo>
                  <a:pt x="1017556" y="254394"/>
                  <a:pt x="1114139" y="496280"/>
                  <a:pt x="1107567" y="719312"/>
                </a:cubicBezTo>
                <a:cubicBezTo>
                  <a:pt x="1104329" y="916953"/>
                  <a:pt x="1001649" y="1083137"/>
                  <a:pt x="845915" y="1142638"/>
                </a:cubicBezTo>
                <a:cubicBezTo>
                  <a:pt x="631412" y="1225351"/>
                  <a:pt x="362045" y="1195411"/>
                  <a:pt x="190976" y="1069778"/>
                </a:cubicBezTo>
                <a:cubicBezTo>
                  <a:pt x="66104" y="976643"/>
                  <a:pt x="0" y="838313"/>
                  <a:pt x="0" y="677624"/>
                </a:cubicBezTo>
                <a:cubicBezTo>
                  <a:pt x="0" y="628072"/>
                  <a:pt x="6287" y="576435"/>
                  <a:pt x="19050" y="523283"/>
                </a:cubicBezTo>
                <a:cubicBezTo>
                  <a:pt x="82868" y="257994"/>
                  <a:pt x="289370" y="44152"/>
                  <a:pt x="521303" y="3032"/>
                </a:cubicBezTo>
                <a:cubicBezTo>
                  <a:pt x="553069" y="-687"/>
                  <a:pt x="584389" y="-971"/>
                  <a:pt x="615058" y="2108"/>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72" name="Picture Placeholder 71">
            <a:extLst>
              <a:ext uri="{FF2B5EF4-FFF2-40B4-BE49-F238E27FC236}">
                <a16:creationId xmlns:a16="http://schemas.microsoft.com/office/drawing/2014/main" id="{D9FEA025-F3DE-8FBE-6582-61EB9226E41C}"/>
              </a:ext>
            </a:extLst>
          </p:cNvPr>
          <p:cNvSpPr>
            <a:spLocks noGrp="1"/>
          </p:cNvSpPr>
          <p:nvPr>
            <p:ph type="pic" sz="quarter" idx="21"/>
          </p:nvPr>
        </p:nvSpPr>
        <p:spPr>
          <a:xfrm>
            <a:off x="10379124" y="2050622"/>
            <a:ext cx="1154064" cy="1164642"/>
          </a:xfrm>
          <a:custGeom>
            <a:avLst/>
            <a:gdLst>
              <a:gd name="connsiteX0" fmla="*/ 646043 w 1154064"/>
              <a:gd name="connsiteY0" fmla="*/ 144 h 1164642"/>
              <a:gd name="connsiteX1" fmla="*/ 991404 w 1154064"/>
              <a:gd name="connsiteY1" fmla="*/ 96881 h 1164642"/>
              <a:gd name="connsiteX2" fmla="*/ 1153391 w 1154064"/>
              <a:gd name="connsiteY2" fmla="*/ 423368 h 1164642"/>
              <a:gd name="connsiteX3" fmla="*/ 1153486 w 1154064"/>
              <a:gd name="connsiteY3" fmla="*/ 423368 h 1164642"/>
              <a:gd name="connsiteX4" fmla="*/ 897337 w 1154064"/>
              <a:gd name="connsiteY4" fmla="*/ 1018112 h 1164642"/>
              <a:gd name="connsiteX5" fmla="*/ 414027 w 1154064"/>
              <a:gd name="connsiteY5" fmla="*/ 1133717 h 1164642"/>
              <a:gd name="connsiteX6" fmla="*/ 4985 w 1154064"/>
              <a:gd name="connsiteY6" fmla="*/ 620191 h 1164642"/>
              <a:gd name="connsiteX7" fmla="*/ 147932 w 1154064"/>
              <a:gd name="connsiteY7" fmla="*/ 207451 h 1164642"/>
              <a:gd name="connsiteX8" fmla="*/ 270417 w 1154064"/>
              <a:gd name="connsiteY8" fmla="*/ 111510 h 1164642"/>
              <a:gd name="connsiteX9" fmla="*/ 646043 w 1154064"/>
              <a:gd name="connsiteY9" fmla="*/ 144 h 116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064" h="1164642">
                <a:moveTo>
                  <a:pt x="646043" y="144"/>
                </a:moveTo>
                <a:cubicBezTo>
                  <a:pt x="773218" y="-2433"/>
                  <a:pt x="895348" y="29674"/>
                  <a:pt x="991404" y="96881"/>
                </a:cubicBezTo>
                <a:cubicBezTo>
                  <a:pt x="1091248" y="175914"/>
                  <a:pt x="1147234" y="288954"/>
                  <a:pt x="1153391" y="423368"/>
                </a:cubicBezTo>
                <a:lnTo>
                  <a:pt x="1153486" y="423368"/>
                </a:lnTo>
                <a:cubicBezTo>
                  <a:pt x="1162769" y="625036"/>
                  <a:pt x="1059609" y="864605"/>
                  <a:pt x="897337" y="1018112"/>
                </a:cubicBezTo>
                <a:cubicBezTo>
                  <a:pt x="755338" y="1155945"/>
                  <a:pt x="565594" y="1201351"/>
                  <a:pt x="414027" y="1133717"/>
                </a:cubicBezTo>
                <a:cubicBezTo>
                  <a:pt x="204675" y="1041100"/>
                  <a:pt x="36435" y="829838"/>
                  <a:pt x="4985" y="620191"/>
                </a:cubicBezTo>
                <a:cubicBezTo>
                  <a:pt x="-16992" y="466114"/>
                  <a:pt x="34257" y="321442"/>
                  <a:pt x="147932" y="207451"/>
                </a:cubicBezTo>
                <a:cubicBezTo>
                  <a:pt x="182982" y="172304"/>
                  <a:pt x="223905" y="140102"/>
                  <a:pt x="270417" y="111510"/>
                </a:cubicBezTo>
                <a:cubicBezTo>
                  <a:pt x="386650" y="39981"/>
                  <a:pt x="518869" y="2720"/>
                  <a:pt x="646043" y="144"/>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47" name="Picture Placeholder 46">
            <a:extLst>
              <a:ext uri="{FF2B5EF4-FFF2-40B4-BE49-F238E27FC236}">
                <a16:creationId xmlns:a16="http://schemas.microsoft.com/office/drawing/2014/main" id="{D0D75CA1-3DB1-D879-A1A7-ACAD5AEC0A2A}"/>
              </a:ext>
            </a:extLst>
          </p:cNvPr>
          <p:cNvSpPr>
            <a:spLocks noGrp="1"/>
          </p:cNvSpPr>
          <p:nvPr>
            <p:ph type="pic" sz="quarter" idx="13"/>
          </p:nvPr>
        </p:nvSpPr>
        <p:spPr>
          <a:xfrm>
            <a:off x="6491422" y="2079002"/>
            <a:ext cx="1189060" cy="1107882"/>
          </a:xfrm>
          <a:custGeom>
            <a:avLst/>
            <a:gdLst>
              <a:gd name="connsiteX0" fmla="*/ 511437 w 1189060"/>
              <a:gd name="connsiteY0" fmla="*/ 0 h 1107882"/>
              <a:gd name="connsiteX1" fmla="*/ 665779 w 1189060"/>
              <a:gd name="connsiteY1" fmla="*/ 19050 h 1107882"/>
              <a:gd name="connsiteX2" fmla="*/ 1186029 w 1189060"/>
              <a:gd name="connsiteY2" fmla="*/ 521303 h 1107882"/>
              <a:gd name="connsiteX3" fmla="*/ 1070344 w 1189060"/>
              <a:gd name="connsiteY3" fmla="*/ 868013 h 1107882"/>
              <a:gd name="connsiteX4" fmla="*/ 469749 w 1189060"/>
              <a:gd name="connsiteY4" fmla="*/ 1107567 h 1107882"/>
              <a:gd name="connsiteX5" fmla="*/ 46424 w 1189060"/>
              <a:gd name="connsiteY5" fmla="*/ 845915 h 1107882"/>
              <a:gd name="connsiteX6" fmla="*/ 119284 w 1189060"/>
              <a:gd name="connsiteY6" fmla="*/ 190976 h 1107882"/>
              <a:gd name="connsiteX7" fmla="*/ 511437 w 1189060"/>
              <a:gd name="connsiteY7" fmla="*/ 0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511437" y="0"/>
                </a:moveTo>
                <a:cubicBezTo>
                  <a:pt x="560990" y="0"/>
                  <a:pt x="612626" y="6287"/>
                  <a:pt x="665779" y="19050"/>
                </a:cubicBezTo>
                <a:cubicBezTo>
                  <a:pt x="931068" y="82868"/>
                  <a:pt x="1144909" y="289370"/>
                  <a:pt x="1186029" y="521303"/>
                </a:cubicBezTo>
                <a:cubicBezTo>
                  <a:pt x="1200904" y="648367"/>
                  <a:pt x="1160827" y="768287"/>
                  <a:pt x="1070344" y="868013"/>
                </a:cubicBez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3" name="Slide Number Placeholder 2">
            <a:extLst>
              <a:ext uri="{FF2B5EF4-FFF2-40B4-BE49-F238E27FC236}">
                <a16:creationId xmlns:a16="http://schemas.microsoft.com/office/drawing/2014/main" id="{A4E0687F-B388-1A33-A0CD-221AC0EF9B92}"/>
              </a:ext>
            </a:extLst>
          </p:cNvPr>
          <p:cNvSpPr>
            <a:spLocks noGrp="1"/>
          </p:cNvSpPr>
          <p:nvPr>
            <p:ph type="sldNum" sz="quarter" idx="22"/>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2348555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p>
            <a:r>
              <a:rPr lang="en-GB" dirty="0"/>
              <a:t>Regular heading goes here</a:t>
            </a:r>
          </a:p>
        </p:txBody>
      </p:sp>
      <p:sp>
        <p:nvSpPr>
          <p:cNvPr id="3" name="Text Placeholder 9">
            <a:extLst>
              <a:ext uri="{FF2B5EF4-FFF2-40B4-BE49-F238E27FC236}">
                <a16:creationId xmlns:a16="http://schemas.microsoft.com/office/drawing/2014/main" id="{ED9BA653-7394-2180-DDD3-07AB23FF2F44}"/>
              </a:ext>
            </a:extLst>
          </p:cNvPr>
          <p:cNvSpPr>
            <a:spLocks noGrp="1"/>
          </p:cNvSpPr>
          <p:nvPr>
            <p:ph type="body" sz="quarter" idx="18" hasCustomPrompt="1"/>
          </p:nvPr>
        </p:nvSpPr>
        <p:spPr>
          <a:xfrm>
            <a:off x="674159" y="1051658"/>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dirty="0"/>
              <a:t>Subheading goes here</a:t>
            </a:r>
          </a:p>
        </p:txBody>
      </p:sp>
    </p:spTree>
    <p:extLst>
      <p:ext uri="{BB962C8B-B14F-4D97-AF65-F5344CB8AC3E}">
        <p14:creationId xmlns:p14="http://schemas.microsoft.com/office/powerpoint/2010/main" val="260729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only (co-host logos)">
    <p:spTree>
      <p:nvGrpSpPr>
        <p:cNvPr id="1" name=""/>
        <p:cNvGrpSpPr/>
        <p:nvPr/>
      </p:nvGrpSpPr>
      <p:grpSpPr>
        <a:xfrm>
          <a:off x="0" y="0"/>
          <a:ext cx="0" cy="0"/>
          <a:chOff x="0" y="0"/>
          <a:chExt cx="0" cy="0"/>
        </a:xfrm>
      </p:grpSpPr>
      <p:sp>
        <p:nvSpPr>
          <p:cNvPr id="119" name="Rechthoek 118">
            <a:extLst>
              <a:ext uri="{FF2B5EF4-FFF2-40B4-BE49-F238E27FC236}">
                <a16:creationId xmlns:a16="http://schemas.microsoft.com/office/drawing/2014/main" id="{F9842152-AC8C-126A-C81B-7CE4F6828A38}"/>
              </a:ext>
            </a:extLst>
          </p:cNvPr>
          <p:cNvSpPr/>
          <p:nvPr userDrawn="1"/>
        </p:nvSpPr>
        <p:spPr>
          <a:xfrm>
            <a:off x="0" y="5314950"/>
            <a:ext cx="12192000" cy="154305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GB" sz="1400" dirty="0">
              <a:solidFill>
                <a:schemeClr val="accent1"/>
              </a:solidFill>
            </a:endParaRPr>
          </a:p>
        </p:txBody>
      </p:sp>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p>
            <a:r>
              <a:rPr lang="en-GB" dirty="0"/>
              <a:t>Regular heading goes here</a:t>
            </a:r>
          </a:p>
        </p:txBody>
      </p:sp>
      <p:sp>
        <p:nvSpPr>
          <p:cNvPr id="120" name="Text Placeholder 9">
            <a:extLst>
              <a:ext uri="{FF2B5EF4-FFF2-40B4-BE49-F238E27FC236}">
                <a16:creationId xmlns:a16="http://schemas.microsoft.com/office/drawing/2014/main" id="{E78F1ECD-A0EE-5D28-82FC-0A2057D1559E}"/>
              </a:ext>
            </a:extLst>
          </p:cNvPr>
          <p:cNvSpPr>
            <a:spLocks noGrp="1"/>
          </p:cNvSpPr>
          <p:nvPr>
            <p:ph type="body" sz="quarter" idx="18" hasCustomPrompt="1"/>
          </p:nvPr>
        </p:nvSpPr>
        <p:spPr>
          <a:xfrm>
            <a:off x="674159" y="1051658"/>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dirty="0"/>
              <a:t>Subheading goes here</a:t>
            </a:r>
          </a:p>
        </p:txBody>
      </p:sp>
    </p:spTree>
    <p:extLst>
      <p:ext uri="{BB962C8B-B14F-4D97-AF65-F5344CB8AC3E}">
        <p14:creationId xmlns:p14="http://schemas.microsoft.com/office/powerpoint/2010/main" val="1201128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lank Slide (Whit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1FC47AC-3C70-D163-7E67-9994B20661F4}"/>
              </a:ext>
            </a:extLst>
          </p:cNvPr>
          <p:cNvSpPr>
            <a:spLocks noGrp="1"/>
          </p:cNvSpPr>
          <p:nvPr>
            <p:ph type="sldNum" sz="quarter" idx="27"/>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1295711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hapter Title">
    <p:spTree>
      <p:nvGrpSpPr>
        <p:cNvPr id="1" name=""/>
        <p:cNvGrpSpPr/>
        <p:nvPr/>
      </p:nvGrpSpPr>
      <p:grpSpPr>
        <a:xfrm>
          <a:off x="0" y="0"/>
          <a:ext cx="0" cy="0"/>
          <a:chOff x="0" y="0"/>
          <a:chExt cx="0" cy="0"/>
        </a:xfrm>
      </p:grpSpPr>
      <p:sp>
        <p:nvSpPr>
          <p:cNvPr id="3" name="Graphic 48">
            <a:extLst>
              <a:ext uri="{FF2B5EF4-FFF2-40B4-BE49-F238E27FC236}">
                <a16:creationId xmlns:a16="http://schemas.microsoft.com/office/drawing/2014/main" id="{75DAC041-23E1-D93E-FCC2-75B842262D09}"/>
              </a:ext>
            </a:extLst>
          </p:cNvPr>
          <p:cNvSpPr/>
          <p:nvPr userDrawn="1"/>
        </p:nvSpPr>
        <p:spPr>
          <a:xfrm>
            <a:off x="674768" y="802691"/>
            <a:ext cx="5097382" cy="4749380"/>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tx1"/>
          </a:solidFill>
          <a:ln w="9449" cap="flat">
            <a:noFill/>
            <a:prstDash val="solid"/>
            <a:miter/>
          </a:ln>
        </p:spPr>
        <p:txBody>
          <a:bodyPr rtlCol="0" anchor="ctr"/>
          <a:lstStyle/>
          <a:p>
            <a:endParaRPr lang="en-GB" dirty="0"/>
          </a:p>
        </p:txBody>
      </p:sp>
      <p:sp>
        <p:nvSpPr>
          <p:cNvPr id="2" name="Title Placeholder 1">
            <a:extLst>
              <a:ext uri="{FF2B5EF4-FFF2-40B4-BE49-F238E27FC236}">
                <a16:creationId xmlns:a16="http://schemas.microsoft.com/office/drawing/2014/main" id="{21ABC006-C4FF-A1F4-36AF-0C94003C2FA9}"/>
              </a:ext>
            </a:extLst>
          </p:cNvPr>
          <p:cNvSpPr>
            <a:spLocks noGrp="1"/>
          </p:cNvSpPr>
          <p:nvPr>
            <p:ph type="title" hasCustomPrompt="1"/>
          </p:nvPr>
        </p:nvSpPr>
        <p:spPr>
          <a:xfrm>
            <a:off x="6419849" y="549275"/>
            <a:ext cx="5113339" cy="5256213"/>
          </a:xfrm>
          <a:prstGeom prst="rect">
            <a:avLst/>
          </a:prstGeom>
        </p:spPr>
        <p:txBody>
          <a:bodyPr vert="horz" lIns="0" tIns="0" rIns="0" bIns="0" rtlCol="0" anchor="ctr">
            <a:normAutofit/>
          </a:bodyPr>
          <a:lstStyle>
            <a:lvl1pPr>
              <a:lnSpc>
                <a:spcPct val="90000"/>
              </a:lnSpc>
              <a:defRPr sz="6500" b="1">
                <a:solidFill>
                  <a:srgbClr val="00625F"/>
                </a:solidFill>
              </a:defRPr>
            </a:lvl1pPr>
          </a:lstStyle>
          <a:p>
            <a:r>
              <a:rPr lang="en-GB" dirty="0"/>
              <a:t>Chapter Slide Title</a:t>
            </a:r>
          </a:p>
        </p:txBody>
      </p:sp>
      <p:sp>
        <p:nvSpPr>
          <p:cNvPr id="4" name="Text Placeholder 3">
            <a:extLst>
              <a:ext uri="{FF2B5EF4-FFF2-40B4-BE49-F238E27FC236}">
                <a16:creationId xmlns:a16="http://schemas.microsoft.com/office/drawing/2014/main" id="{F9D378FF-8076-D182-237A-7F57163EC86A}"/>
              </a:ext>
            </a:extLst>
          </p:cNvPr>
          <p:cNvSpPr>
            <a:spLocks noGrp="1"/>
          </p:cNvSpPr>
          <p:nvPr>
            <p:ph type="body" sz="quarter" idx="10" hasCustomPrompt="1"/>
          </p:nvPr>
        </p:nvSpPr>
        <p:spPr>
          <a:xfrm>
            <a:off x="674768" y="1880701"/>
            <a:ext cx="5097382" cy="2593361"/>
          </a:xfrm>
          <a:prstGeom prst="rect">
            <a:avLst/>
          </a:prstGeom>
        </p:spPr>
        <p:txBody>
          <a:bodyPr anchor="ctr">
            <a:noAutofit/>
          </a:bodyPr>
          <a:lstStyle>
            <a:lvl1pPr marL="0" indent="0" algn="ctr">
              <a:lnSpc>
                <a:spcPct val="100000"/>
              </a:lnSpc>
              <a:spcBef>
                <a:spcPts val="0"/>
              </a:spcBef>
              <a:buNone/>
              <a:defRPr sz="25000">
                <a:solidFill>
                  <a:schemeClr val="accent2"/>
                </a:solidFill>
              </a:defRPr>
            </a:lvl1pPr>
          </a:lstStyle>
          <a:p>
            <a:pPr lvl="0"/>
            <a:r>
              <a:rPr lang="en-GB" dirty="0"/>
              <a:t>01</a:t>
            </a:r>
          </a:p>
        </p:txBody>
      </p:sp>
    </p:spTree>
    <p:extLst>
      <p:ext uri="{BB962C8B-B14F-4D97-AF65-F5344CB8AC3E}">
        <p14:creationId xmlns:p14="http://schemas.microsoft.com/office/powerpoint/2010/main" val="146467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55" presetClass="entr" presetSubtype="0" fill="hold" grpId="0" nodeType="withEffect">
                                  <p:stCondLst>
                                    <p:cond delay="750"/>
                                  </p:stCondLst>
                                  <p:iterate type="lt">
                                    <p:tmPct val="25000"/>
                                  </p:iterate>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cBhvr>
                                        <p:cTn id="11" dur="400" fill="hold"/>
                                        <p:tgtEl>
                                          <p:spTgt spid="4">
                                            <p:txEl>
                                              <p:pRg st="0" end="0"/>
                                            </p:txEl>
                                          </p:spTgt>
                                        </p:tgtEl>
                                        <p:attrNameLst>
                                          <p:attrName>ppt_w</p:attrName>
                                        </p:attrNameLst>
                                      </p:cBhvr>
                                      <p:tavLst>
                                        <p:tav tm="0">
                                          <p:val>
                                            <p:strVal val="#ppt_w*0.70"/>
                                          </p:val>
                                        </p:tav>
                                        <p:tav tm="100000">
                                          <p:val>
                                            <p:strVal val="#ppt_w"/>
                                          </p:val>
                                        </p:tav>
                                      </p:tavLst>
                                    </p:anim>
                                    <p:anim calcmode="lin" valueType="num">
                                      <p:cBhvr>
                                        <p:cTn id="12" dur="400" fill="hold"/>
                                        <p:tgtEl>
                                          <p:spTgt spid="4">
                                            <p:txEl>
                                              <p:pRg st="0" end="0"/>
                                            </p:txEl>
                                          </p:spTgt>
                                        </p:tgtEl>
                                        <p:attrNameLst>
                                          <p:attrName>ppt_h</p:attrName>
                                        </p:attrNameLst>
                                      </p:cBhvr>
                                      <p:tavLst>
                                        <p:tav tm="0">
                                          <p:val>
                                            <p:strVal val="#ppt_h"/>
                                          </p:val>
                                        </p:tav>
                                        <p:tav tm="100000">
                                          <p:val>
                                            <p:strVal val="#ppt_h"/>
                                          </p:val>
                                        </p:tav>
                                      </p:tavLst>
                                    </p:anim>
                                    <p:animEffect transition="in" filter="fade">
                                      <p:cBhvr>
                                        <p:cTn id="13" dur="400"/>
                                        <p:tgtEl>
                                          <p:spTgt spid="4">
                                            <p:txEl>
                                              <p:pRg st="0" end="0"/>
                                            </p:txEl>
                                          </p:spTgt>
                                        </p:tgtEl>
                                      </p:cBhvr>
                                    </p:animEffect>
                                  </p:childTnLst>
                                </p:cTn>
                              </p:par>
                              <p:par>
                                <p:cTn id="14" presetID="55" presetClass="entr" presetSubtype="0" fill="hold" grpId="0" nodeType="withEffect">
                                  <p:stCondLst>
                                    <p:cond delay="1000"/>
                                  </p:stCondLst>
                                  <p:iterate type="lt">
                                    <p:tmPct val="10000"/>
                                  </p:iterate>
                                  <p:childTnLst>
                                    <p:set>
                                      <p:cBhvr>
                                        <p:cTn id="15" dur="1" fill="hold">
                                          <p:stCondLst>
                                            <p:cond delay="0"/>
                                          </p:stCondLst>
                                        </p:cTn>
                                        <p:tgtEl>
                                          <p:spTgt spid="2"/>
                                        </p:tgtEl>
                                        <p:attrNameLst>
                                          <p:attrName>style.visibility</p:attrName>
                                        </p:attrNameLst>
                                      </p:cBhvr>
                                      <p:to>
                                        <p:strVal val="visible"/>
                                      </p:to>
                                    </p:set>
                                    <p:anim calcmode="lin" valueType="num">
                                      <p:cBhvr>
                                        <p:cTn id="16" dur="400" fill="hold"/>
                                        <p:tgtEl>
                                          <p:spTgt spid="2"/>
                                        </p:tgtEl>
                                        <p:attrNameLst>
                                          <p:attrName>ppt_w</p:attrName>
                                        </p:attrNameLst>
                                      </p:cBhvr>
                                      <p:tavLst>
                                        <p:tav tm="0">
                                          <p:val>
                                            <p:strVal val="#ppt_w*0.70"/>
                                          </p:val>
                                        </p:tav>
                                        <p:tav tm="100000">
                                          <p:val>
                                            <p:strVal val="#ppt_w"/>
                                          </p:val>
                                        </p:tav>
                                      </p:tavLst>
                                    </p:anim>
                                    <p:anim calcmode="lin" valueType="num">
                                      <p:cBhvr>
                                        <p:cTn id="17" dur="400" fill="hold"/>
                                        <p:tgtEl>
                                          <p:spTgt spid="2"/>
                                        </p:tgtEl>
                                        <p:attrNameLst>
                                          <p:attrName>ppt_h</p:attrName>
                                        </p:attrNameLst>
                                      </p:cBhvr>
                                      <p:tavLst>
                                        <p:tav tm="0">
                                          <p:val>
                                            <p:strVal val="#ppt_h"/>
                                          </p:val>
                                        </p:tav>
                                        <p:tav tm="100000">
                                          <p:val>
                                            <p:strVal val="#ppt_h"/>
                                          </p:val>
                                        </p:tav>
                                      </p:tavLst>
                                    </p:anim>
                                    <p:animEffect transition="in" filter="fade">
                                      <p:cBhvr>
                                        <p:cTn id="18"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p:bldP spid="4" grpId="0" build="p"/>
    </p:bldLst>
  </p:timing>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6F3918CB-A61A-8A43-05DE-7D51ECBE796D}"/>
              </a:ext>
            </a:extLst>
          </p:cNvPr>
          <p:cNvSpPr>
            <a:spLocks noGrp="1"/>
          </p:cNvSpPr>
          <p:nvPr>
            <p:ph type="sldNum" sz="quarter" idx="18"/>
          </p:nvPr>
        </p:nvSpPr>
        <p:spPr/>
        <p:txBody>
          <a:bodyPr/>
          <a:lstStyle/>
          <a:p>
            <a:fld id="{0994303E-A424-9540-91A8-53B791C91E8F}" type="slidenum">
              <a:rPr lang="en-GB" smtClean="0"/>
              <a:pPr/>
              <a:t>‹#›</a:t>
            </a:fld>
            <a:endParaRPr lang="en-GB"/>
          </a:p>
        </p:txBody>
      </p:sp>
      <p:sp>
        <p:nvSpPr>
          <p:cNvPr id="14" name="Title 13">
            <a:extLst>
              <a:ext uri="{FF2B5EF4-FFF2-40B4-BE49-F238E27FC236}">
                <a16:creationId xmlns:a16="http://schemas.microsoft.com/office/drawing/2014/main" id="{B2461144-37F7-1B8E-8C8F-A142D7874919}"/>
              </a:ext>
            </a:extLst>
          </p:cNvPr>
          <p:cNvSpPr>
            <a:spLocks noGrp="1"/>
          </p:cNvSpPr>
          <p:nvPr>
            <p:ph type="title" hasCustomPrompt="1"/>
          </p:nvPr>
        </p:nvSpPr>
        <p:spPr/>
        <p:txBody>
          <a:bodyPr/>
          <a:lstStyle/>
          <a:p>
            <a:r>
              <a:rPr lang="en-GB"/>
              <a:t>Regular heading goes here</a:t>
            </a:r>
          </a:p>
        </p:txBody>
      </p:sp>
      <p:sp>
        <p:nvSpPr>
          <p:cNvPr id="2" name="Text Placeholder 9">
            <a:extLst>
              <a:ext uri="{FF2B5EF4-FFF2-40B4-BE49-F238E27FC236}">
                <a16:creationId xmlns:a16="http://schemas.microsoft.com/office/drawing/2014/main" id="{54B0AF49-A51C-151B-05A9-7178FFC369D8}"/>
              </a:ext>
            </a:extLst>
          </p:cNvPr>
          <p:cNvSpPr>
            <a:spLocks noGrp="1"/>
          </p:cNvSpPr>
          <p:nvPr>
            <p:ph type="body" sz="quarter" idx="19" hasCustomPrompt="1"/>
          </p:nvPr>
        </p:nvSpPr>
        <p:spPr>
          <a:xfrm>
            <a:off x="674159" y="1051658"/>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a:t>Subheading goes here</a:t>
            </a:r>
          </a:p>
        </p:txBody>
      </p:sp>
    </p:spTree>
    <p:extLst>
      <p:ext uri="{BB962C8B-B14F-4D97-AF65-F5344CB8AC3E}">
        <p14:creationId xmlns:p14="http://schemas.microsoft.com/office/powerpoint/2010/main" val="1393998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sp>
        <p:nvSpPr>
          <p:cNvPr id="3" name="Graphic 48">
            <a:extLst>
              <a:ext uri="{FF2B5EF4-FFF2-40B4-BE49-F238E27FC236}">
                <a16:creationId xmlns:a16="http://schemas.microsoft.com/office/drawing/2014/main" id="{75DAC041-23E1-D93E-FCC2-75B842262D09}"/>
              </a:ext>
            </a:extLst>
          </p:cNvPr>
          <p:cNvSpPr/>
          <p:nvPr userDrawn="1"/>
        </p:nvSpPr>
        <p:spPr>
          <a:xfrm>
            <a:off x="674768" y="802691"/>
            <a:ext cx="5097382" cy="4749380"/>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tx1"/>
          </a:solidFill>
          <a:ln w="9449" cap="flat">
            <a:noFill/>
            <a:prstDash val="solid"/>
            <a:miter/>
          </a:ln>
        </p:spPr>
        <p:txBody>
          <a:bodyPr rtlCol="0" anchor="ctr"/>
          <a:lstStyle/>
          <a:p>
            <a:endParaRPr lang="en-GB"/>
          </a:p>
        </p:txBody>
      </p:sp>
      <p:sp>
        <p:nvSpPr>
          <p:cNvPr id="2" name="Title Placeholder 1">
            <a:extLst>
              <a:ext uri="{FF2B5EF4-FFF2-40B4-BE49-F238E27FC236}">
                <a16:creationId xmlns:a16="http://schemas.microsoft.com/office/drawing/2014/main" id="{21ABC006-C4FF-A1F4-36AF-0C94003C2FA9}"/>
              </a:ext>
            </a:extLst>
          </p:cNvPr>
          <p:cNvSpPr>
            <a:spLocks noGrp="1"/>
          </p:cNvSpPr>
          <p:nvPr>
            <p:ph type="title" hasCustomPrompt="1"/>
          </p:nvPr>
        </p:nvSpPr>
        <p:spPr>
          <a:xfrm>
            <a:off x="6419849" y="549275"/>
            <a:ext cx="5113339" cy="5256213"/>
          </a:xfrm>
          <a:prstGeom prst="rect">
            <a:avLst/>
          </a:prstGeom>
        </p:spPr>
        <p:txBody>
          <a:bodyPr vert="horz" lIns="0" tIns="0" rIns="0" bIns="0" rtlCol="0" anchor="ctr">
            <a:normAutofit/>
          </a:bodyPr>
          <a:lstStyle>
            <a:lvl1pPr>
              <a:lnSpc>
                <a:spcPct val="90000"/>
              </a:lnSpc>
              <a:defRPr sz="6500" b="1">
                <a:solidFill>
                  <a:srgbClr val="00625F"/>
                </a:solidFill>
              </a:defRPr>
            </a:lvl1pPr>
          </a:lstStyle>
          <a:p>
            <a:r>
              <a:rPr lang="en-GB"/>
              <a:t>Chapter Slide Title</a:t>
            </a:r>
          </a:p>
        </p:txBody>
      </p:sp>
      <p:sp>
        <p:nvSpPr>
          <p:cNvPr id="4" name="Text Placeholder 3">
            <a:extLst>
              <a:ext uri="{FF2B5EF4-FFF2-40B4-BE49-F238E27FC236}">
                <a16:creationId xmlns:a16="http://schemas.microsoft.com/office/drawing/2014/main" id="{F9D378FF-8076-D182-237A-7F57163EC86A}"/>
              </a:ext>
            </a:extLst>
          </p:cNvPr>
          <p:cNvSpPr>
            <a:spLocks noGrp="1"/>
          </p:cNvSpPr>
          <p:nvPr>
            <p:ph type="body" sz="quarter" idx="10" hasCustomPrompt="1"/>
          </p:nvPr>
        </p:nvSpPr>
        <p:spPr>
          <a:xfrm>
            <a:off x="674768" y="1880701"/>
            <a:ext cx="5097382" cy="2593361"/>
          </a:xfrm>
          <a:prstGeom prst="rect">
            <a:avLst/>
          </a:prstGeom>
        </p:spPr>
        <p:txBody>
          <a:bodyPr anchor="ctr">
            <a:noAutofit/>
          </a:bodyPr>
          <a:lstStyle>
            <a:lvl1pPr marL="0" indent="0" algn="ctr">
              <a:lnSpc>
                <a:spcPct val="100000"/>
              </a:lnSpc>
              <a:spcBef>
                <a:spcPts val="0"/>
              </a:spcBef>
              <a:buNone/>
              <a:defRPr sz="25000"/>
            </a:lvl1pPr>
          </a:lstStyle>
          <a:p>
            <a:pPr lvl="0"/>
            <a:r>
              <a:rPr lang="en-GB"/>
              <a:t>01</a:t>
            </a:r>
          </a:p>
        </p:txBody>
      </p:sp>
    </p:spTree>
    <p:extLst>
      <p:ext uri="{BB962C8B-B14F-4D97-AF65-F5344CB8AC3E}">
        <p14:creationId xmlns:p14="http://schemas.microsoft.com/office/powerpoint/2010/main" val="327007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55" presetClass="entr" presetSubtype="0" fill="hold" grpId="0" nodeType="withEffect">
                                  <p:stCondLst>
                                    <p:cond delay="750"/>
                                  </p:stCondLst>
                                  <p:iterate type="lt">
                                    <p:tmPct val="25000"/>
                                  </p:iterate>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cBhvr>
                                        <p:cTn id="11" dur="400" fill="hold"/>
                                        <p:tgtEl>
                                          <p:spTgt spid="4">
                                            <p:txEl>
                                              <p:pRg st="0" end="0"/>
                                            </p:txEl>
                                          </p:spTgt>
                                        </p:tgtEl>
                                        <p:attrNameLst>
                                          <p:attrName>ppt_w</p:attrName>
                                        </p:attrNameLst>
                                      </p:cBhvr>
                                      <p:tavLst>
                                        <p:tav tm="0">
                                          <p:val>
                                            <p:strVal val="#ppt_w*0.70"/>
                                          </p:val>
                                        </p:tav>
                                        <p:tav tm="100000">
                                          <p:val>
                                            <p:strVal val="#ppt_w"/>
                                          </p:val>
                                        </p:tav>
                                      </p:tavLst>
                                    </p:anim>
                                    <p:anim calcmode="lin" valueType="num">
                                      <p:cBhvr>
                                        <p:cTn id="12" dur="400" fill="hold"/>
                                        <p:tgtEl>
                                          <p:spTgt spid="4">
                                            <p:txEl>
                                              <p:pRg st="0" end="0"/>
                                            </p:txEl>
                                          </p:spTgt>
                                        </p:tgtEl>
                                        <p:attrNameLst>
                                          <p:attrName>ppt_h</p:attrName>
                                        </p:attrNameLst>
                                      </p:cBhvr>
                                      <p:tavLst>
                                        <p:tav tm="0">
                                          <p:val>
                                            <p:strVal val="#ppt_h"/>
                                          </p:val>
                                        </p:tav>
                                        <p:tav tm="100000">
                                          <p:val>
                                            <p:strVal val="#ppt_h"/>
                                          </p:val>
                                        </p:tav>
                                      </p:tavLst>
                                    </p:anim>
                                    <p:animEffect transition="in" filter="fade">
                                      <p:cBhvr>
                                        <p:cTn id="13" dur="400"/>
                                        <p:tgtEl>
                                          <p:spTgt spid="4">
                                            <p:txEl>
                                              <p:pRg st="0" end="0"/>
                                            </p:txEl>
                                          </p:spTgt>
                                        </p:tgtEl>
                                      </p:cBhvr>
                                    </p:animEffect>
                                  </p:childTnLst>
                                </p:cTn>
                              </p:par>
                              <p:par>
                                <p:cTn id="14" presetID="55" presetClass="entr" presetSubtype="0" fill="hold" grpId="0" nodeType="withEffect">
                                  <p:stCondLst>
                                    <p:cond delay="1000"/>
                                  </p:stCondLst>
                                  <p:iterate type="lt">
                                    <p:tmPct val="10000"/>
                                  </p:iterate>
                                  <p:childTnLst>
                                    <p:set>
                                      <p:cBhvr>
                                        <p:cTn id="15" dur="1" fill="hold">
                                          <p:stCondLst>
                                            <p:cond delay="0"/>
                                          </p:stCondLst>
                                        </p:cTn>
                                        <p:tgtEl>
                                          <p:spTgt spid="2"/>
                                        </p:tgtEl>
                                        <p:attrNameLst>
                                          <p:attrName>style.visibility</p:attrName>
                                        </p:attrNameLst>
                                      </p:cBhvr>
                                      <p:to>
                                        <p:strVal val="visible"/>
                                      </p:to>
                                    </p:set>
                                    <p:anim calcmode="lin" valueType="num">
                                      <p:cBhvr>
                                        <p:cTn id="16" dur="400" fill="hold"/>
                                        <p:tgtEl>
                                          <p:spTgt spid="2"/>
                                        </p:tgtEl>
                                        <p:attrNameLst>
                                          <p:attrName>ppt_w</p:attrName>
                                        </p:attrNameLst>
                                      </p:cBhvr>
                                      <p:tavLst>
                                        <p:tav tm="0">
                                          <p:val>
                                            <p:strVal val="#ppt_w*0.70"/>
                                          </p:val>
                                        </p:tav>
                                        <p:tav tm="100000">
                                          <p:val>
                                            <p:strVal val="#ppt_w"/>
                                          </p:val>
                                        </p:tav>
                                      </p:tavLst>
                                    </p:anim>
                                    <p:anim calcmode="lin" valueType="num">
                                      <p:cBhvr>
                                        <p:cTn id="17" dur="400" fill="hold"/>
                                        <p:tgtEl>
                                          <p:spTgt spid="2"/>
                                        </p:tgtEl>
                                        <p:attrNameLst>
                                          <p:attrName>ppt_h</p:attrName>
                                        </p:attrNameLst>
                                      </p:cBhvr>
                                      <p:tavLst>
                                        <p:tav tm="0">
                                          <p:val>
                                            <p:strVal val="#ppt_h"/>
                                          </p:val>
                                        </p:tav>
                                        <p:tav tm="100000">
                                          <p:val>
                                            <p:strVal val="#ppt_h"/>
                                          </p:val>
                                        </p:tav>
                                      </p:tavLst>
                                    </p:anim>
                                    <p:animEffect transition="in" filter="fade">
                                      <p:cBhvr>
                                        <p:cTn id="18"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p:bldP spid="4" grpId="0" build="p"/>
    </p:bldLst>
  </p:timing>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hapter Title (co-host logos)">
    <p:spTree>
      <p:nvGrpSpPr>
        <p:cNvPr id="1" name=""/>
        <p:cNvGrpSpPr/>
        <p:nvPr/>
      </p:nvGrpSpPr>
      <p:grpSpPr>
        <a:xfrm>
          <a:off x="0" y="0"/>
          <a:ext cx="0" cy="0"/>
          <a:chOff x="0" y="0"/>
          <a:chExt cx="0" cy="0"/>
        </a:xfrm>
      </p:grpSpPr>
      <p:pic>
        <p:nvPicPr>
          <p:cNvPr id="48" name="Picture 6">
            <a:extLst>
              <a:ext uri="{FF2B5EF4-FFF2-40B4-BE49-F238E27FC236}">
                <a16:creationId xmlns:a16="http://schemas.microsoft.com/office/drawing/2014/main" id="{B898DE34-5327-F811-2C4A-2DD6AF4E2B7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Graphic 48">
            <a:extLst>
              <a:ext uri="{FF2B5EF4-FFF2-40B4-BE49-F238E27FC236}">
                <a16:creationId xmlns:a16="http://schemas.microsoft.com/office/drawing/2014/main" id="{75DAC041-23E1-D93E-FCC2-75B842262D09}"/>
              </a:ext>
            </a:extLst>
          </p:cNvPr>
          <p:cNvSpPr/>
          <p:nvPr userDrawn="1"/>
        </p:nvSpPr>
        <p:spPr>
          <a:xfrm>
            <a:off x="674768" y="802691"/>
            <a:ext cx="5097382" cy="4749380"/>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tx1"/>
          </a:solidFill>
          <a:ln w="9449" cap="flat">
            <a:noFill/>
            <a:prstDash val="solid"/>
            <a:miter/>
          </a:ln>
        </p:spPr>
        <p:txBody>
          <a:bodyPr rtlCol="0" anchor="ctr"/>
          <a:lstStyle/>
          <a:p>
            <a:endParaRPr lang="en-GB"/>
          </a:p>
        </p:txBody>
      </p:sp>
      <p:sp>
        <p:nvSpPr>
          <p:cNvPr id="2" name="Title Placeholder 1">
            <a:extLst>
              <a:ext uri="{FF2B5EF4-FFF2-40B4-BE49-F238E27FC236}">
                <a16:creationId xmlns:a16="http://schemas.microsoft.com/office/drawing/2014/main" id="{21ABC006-C4FF-A1F4-36AF-0C94003C2FA9}"/>
              </a:ext>
            </a:extLst>
          </p:cNvPr>
          <p:cNvSpPr>
            <a:spLocks noGrp="1"/>
          </p:cNvSpPr>
          <p:nvPr>
            <p:ph type="title" hasCustomPrompt="1"/>
          </p:nvPr>
        </p:nvSpPr>
        <p:spPr>
          <a:xfrm>
            <a:off x="6419849" y="549275"/>
            <a:ext cx="5113339" cy="5256213"/>
          </a:xfrm>
          <a:prstGeom prst="rect">
            <a:avLst/>
          </a:prstGeom>
        </p:spPr>
        <p:txBody>
          <a:bodyPr vert="horz" lIns="0" tIns="0" rIns="0" bIns="0" rtlCol="0" anchor="ctr">
            <a:normAutofit/>
          </a:bodyPr>
          <a:lstStyle>
            <a:lvl1pPr>
              <a:lnSpc>
                <a:spcPct val="90000"/>
              </a:lnSpc>
              <a:defRPr sz="6500" b="1">
                <a:solidFill>
                  <a:srgbClr val="00625F"/>
                </a:solidFill>
              </a:defRPr>
            </a:lvl1pPr>
          </a:lstStyle>
          <a:p>
            <a:r>
              <a:rPr lang="en-GB"/>
              <a:t>Chapter Slide Title</a:t>
            </a:r>
          </a:p>
        </p:txBody>
      </p:sp>
      <p:sp>
        <p:nvSpPr>
          <p:cNvPr id="4" name="Text Placeholder 3">
            <a:extLst>
              <a:ext uri="{FF2B5EF4-FFF2-40B4-BE49-F238E27FC236}">
                <a16:creationId xmlns:a16="http://schemas.microsoft.com/office/drawing/2014/main" id="{F9D378FF-8076-D182-237A-7F57163EC86A}"/>
              </a:ext>
            </a:extLst>
          </p:cNvPr>
          <p:cNvSpPr>
            <a:spLocks noGrp="1"/>
          </p:cNvSpPr>
          <p:nvPr>
            <p:ph type="body" sz="quarter" idx="10" hasCustomPrompt="1"/>
          </p:nvPr>
        </p:nvSpPr>
        <p:spPr>
          <a:xfrm>
            <a:off x="674768" y="1880701"/>
            <a:ext cx="5097382" cy="2593361"/>
          </a:xfrm>
          <a:prstGeom prst="rect">
            <a:avLst/>
          </a:prstGeom>
        </p:spPr>
        <p:txBody>
          <a:bodyPr anchor="ctr">
            <a:noAutofit/>
          </a:bodyPr>
          <a:lstStyle>
            <a:lvl1pPr marL="0" indent="0" algn="ctr">
              <a:lnSpc>
                <a:spcPct val="100000"/>
              </a:lnSpc>
              <a:spcBef>
                <a:spcPts val="0"/>
              </a:spcBef>
              <a:buNone/>
              <a:defRPr sz="25000"/>
            </a:lvl1pPr>
          </a:lstStyle>
          <a:p>
            <a:pPr lvl="0"/>
            <a:r>
              <a:rPr lang="en-GB"/>
              <a:t>01</a:t>
            </a:r>
          </a:p>
        </p:txBody>
      </p:sp>
    </p:spTree>
    <p:extLst>
      <p:ext uri="{BB962C8B-B14F-4D97-AF65-F5344CB8AC3E}">
        <p14:creationId xmlns:p14="http://schemas.microsoft.com/office/powerpoint/2010/main" val="121662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55" presetClass="entr" presetSubtype="0" fill="hold" grpId="0" nodeType="withEffect">
                                  <p:stCondLst>
                                    <p:cond delay="750"/>
                                  </p:stCondLst>
                                  <p:iterate type="lt">
                                    <p:tmPct val="25000"/>
                                  </p:iterate>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cBhvr>
                                        <p:cTn id="11" dur="400" fill="hold"/>
                                        <p:tgtEl>
                                          <p:spTgt spid="4">
                                            <p:txEl>
                                              <p:pRg st="0" end="0"/>
                                            </p:txEl>
                                          </p:spTgt>
                                        </p:tgtEl>
                                        <p:attrNameLst>
                                          <p:attrName>ppt_w</p:attrName>
                                        </p:attrNameLst>
                                      </p:cBhvr>
                                      <p:tavLst>
                                        <p:tav tm="0">
                                          <p:val>
                                            <p:strVal val="#ppt_w*0.70"/>
                                          </p:val>
                                        </p:tav>
                                        <p:tav tm="100000">
                                          <p:val>
                                            <p:strVal val="#ppt_w"/>
                                          </p:val>
                                        </p:tav>
                                      </p:tavLst>
                                    </p:anim>
                                    <p:anim calcmode="lin" valueType="num">
                                      <p:cBhvr>
                                        <p:cTn id="12" dur="400" fill="hold"/>
                                        <p:tgtEl>
                                          <p:spTgt spid="4">
                                            <p:txEl>
                                              <p:pRg st="0" end="0"/>
                                            </p:txEl>
                                          </p:spTgt>
                                        </p:tgtEl>
                                        <p:attrNameLst>
                                          <p:attrName>ppt_h</p:attrName>
                                        </p:attrNameLst>
                                      </p:cBhvr>
                                      <p:tavLst>
                                        <p:tav tm="0">
                                          <p:val>
                                            <p:strVal val="#ppt_h"/>
                                          </p:val>
                                        </p:tav>
                                        <p:tav tm="100000">
                                          <p:val>
                                            <p:strVal val="#ppt_h"/>
                                          </p:val>
                                        </p:tav>
                                      </p:tavLst>
                                    </p:anim>
                                    <p:animEffect transition="in" filter="fade">
                                      <p:cBhvr>
                                        <p:cTn id="13" dur="400"/>
                                        <p:tgtEl>
                                          <p:spTgt spid="4">
                                            <p:txEl>
                                              <p:pRg st="0" end="0"/>
                                            </p:txEl>
                                          </p:spTgt>
                                        </p:tgtEl>
                                      </p:cBhvr>
                                    </p:animEffect>
                                  </p:childTnLst>
                                </p:cTn>
                              </p:par>
                              <p:par>
                                <p:cTn id="14" presetID="55" presetClass="entr" presetSubtype="0" fill="hold" grpId="0" nodeType="withEffect">
                                  <p:stCondLst>
                                    <p:cond delay="1000"/>
                                  </p:stCondLst>
                                  <p:iterate type="lt">
                                    <p:tmPct val="10000"/>
                                  </p:iterate>
                                  <p:childTnLst>
                                    <p:set>
                                      <p:cBhvr>
                                        <p:cTn id="15" dur="1" fill="hold">
                                          <p:stCondLst>
                                            <p:cond delay="0"/>
                                          </p:stCondLst>
                                        </p:cTn>
                                        <p:tgtEl>
                                          <p:spTgt spid="2"/>
                                        </p:tgtEl>
                                        <p:attrNameLst>
                                          <p:attrName>style.visibility</p:attrName>
                                        </p:attrNameLst>
                                      </p:cBhvr>
                                      <p:to>
                                        <p:strVal val="visible"/>
                                      </p:to>
                                    </p:set>
                                    <p:anim calcmode="lin" valueType="num">
                                      <p:cBhvr>
                                        <p:cTn id="16" dur="400" fill="hold"/>
                                        <p:tgtEl>
                                          <p:spTgt spid="2"/>
                                        </p:tgtEl>
                                        <p:attrNameLst>
                                          <p:attrName>ppt_w</p:attrName>
                                        </p:attrNameLst>
                                      </p:cBhvr>
                                      <p:tavLst>
                                        <p:tav tm="0">
                                          <p:val>
                                            <p:strVal val="#ppt_w*0.70"/>
                                          </p:val>
                                        </p:tav>
                                        <p:tav tm="100000">
                                          <p:val>
                                            <p:strVal val="#ppt_w"/>
                                          </p:val>
                                        </p:tav>
                                      </p:tavLst>
                                    </p:anim>
                                    <p:anim calcmode="lin" valueType="num">
                                      <p:cBhvr>
                                        <p:cTn id="17" dur="400" fill="hold"/>
                                        <p:tgtEl>
                                          <p:spTgt spid="2"/>
                                        </p:tgtEl>
                                        <p:attrNameLst>
                                          <p:attrName>ppt_h</p:attrName>
                                        </p:attrNameLst>
                                      </p:cBhvr>
                                      <p:tavLst>
                                        <p:tav tm="0">
                                          <p:val>
                                            <p:strVal val="#ppt_h"/>
                                          </p:val>
                                        </p:tav>
                                        <p:tav tm="100000">
                                          <p:val>
                                            <p:strVal val="#ppt_h"/>
                                          </p:val>
                                        </p:tav>
                                      </p:tavLst>
                                    </p:anim>
                                    <p:animEffect transition="in" filter="fade">
                                      <p:cBhvr>
                                        <p:cTn id="18"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p:bldP spid="4" grpId="0" build="p"/>
    </p:bldLst>
  </p:timing>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pter Title (Alternative)">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8D288F47-5881-6080-C980-2A2AD3E28F3C}"/>
              </a:ext>
            </a:extLst>
          </p:cNvPr>
          <p:cNvSpPr>
            <a:spLocks noGrp="1"/>
          </p:cNvSpPr>
          <p:nvPr>
            <p:ph type="title" hasCustomPrompt="1"/>
          </p:nvPr>
        </p:nvSpPr>
        <p:spPr>
          <a:xfrm>
            <a:off x="658812" y="2766218"/>
            <a:ext cx="10874375" cy="1325563"/>
          </a:xfrm>
          <a:prstGeom prst="rect">
            <a:avLst/>
          </a:prstGeom>
        </p:spPr>
        <p:txBody>
          <a:bodyPr vert="horz" lIns="0" tIns="0" rIns="0" bIns="0" rtlCol="0" anchor="ctr">
            <a:noAutofit/>
          </a:bodyPr>
          <a:lstStyle>
            <a:lvl1pPr>
              <a:lnSpc>
                <a:spcPct val="90000"/>
              </a:lnSpc>
              <a:defRPr sz="6500" b="1">
                <a:solidFill>
                  <a:srgbClr val="00625F"/>
                </a:solidFill>
              </a:defRPr>
            </a:lvl1pPr>
          </a:lstStyle>
          <a:p>
            <a:r>
              <a:rPr lang="en-GB"/>
              <a:t>Chapter Slide Title</a:t>
            </a:r>
          </a:p>
        </p:txBody>
      </p:sp>
      <p:sp>
        <p:nvSpPr>
          <p:cNvPr id="7" name="Text Placeholder 11">
            <a:extLst>
              <a:ext uri="{FF2B5EF4-FFF2-40B4-BE49-F238E27FC236}">
                <a16:creationId xmlns:a16="http://schemas.microsoft.com/office/drawing/2014/main" id="{32E93567-6F5B-4FC6-6CBE-65990259E126}"/>
              </a:ext>
            </a:extLst>
          </p:cNvPr>
          <p:cNvSpPr>
            <a:spLocks noGrp="1"/>
          </p:cNvSpPr>
          <p:nvPr>
            <p:ph type="body" sz="quarter" idx="17" hasCustomPrompt="1"/>
          </p:nvPr>
        </p:nvSpPr>
        <p:spPr>
          <a:xfrm>
            <a:off x="658812" y="4091781"/>
            <a:ext cx="10874376" cy="626878"/>
          </a:xfrm>
          <a:prstGeom prst="rect">
            <a:avLst/>
          </a:prstGeom>
        </p:spPr>
        <p:txBody>
          <a:bodyPr lIns="0">
            <a:noAutofit/>
          </a:bodyPr>
          <a:lstStyle>
            <a:lvl1pPr marL="0" indent="0">
              <a:buNone/>
              <a:defRPr sz="3500" b="0">
                <a:solidFill>
                  <a:schemeClr val="bg1"/>
                </a:solidFill>
              </a:defRPr>
            </a:lvl1pPr>
          </a:lstStyle>
          <a:p>
            <a:pPr lvl="0"/>
            <a:r>
              <a:rPr lang="en-GB"/>
              <a:t>With </a:t>
            </a:r>
            <a:r>
              <a:rPr lang="en-GB" err="1"/>
              <a:t>subheadline</a:t>
            </a:r>
            <a:endParaRPr lang="en-GB"/>
          </a:p>
        </p:txBody>
      </p:sp>
      <p:sp>
        <p:nvSpPr>
          <p:cNvPr id="6" name="Text Placeholder 5">
            <a:extLst>
              <a:ext uri="{FF2B5EF4-FFF2-40B4-BE49-F238E27FC236}">
                <a16:creationId xmlns:a16="http://schemas.microsoft.com/office/drawing/2014/main" id="{FF172E3E-335A-B483-BB34-6EE33C77F51F}"/>
              </a:ext>
            </a:extLst>
          </p:cNvPr>
          <p:cNvSpPr>
            <a:spLocks noGrp="1"/>
          </p:cNvSpPr>
          <p:nvPr>
            <p:ph type="body" sz="quarter" idx="18" hasCustomPrompt="1"/>
          </p:nvPr>
        </p:nvSpPr>
        <p:spPr>
          <a:xfrm>
            <a:off x="658813" y="549274"/>
            <a:ext cx="5113336" cy="1681635"/>
          </a:xfrm>
          <a:prstGeom prst="rect">
            <a:avLst/>
          </a:prstGeom>
        </p:spPr>
        <p:txBody>
          <a:bodyPr lIns="0">
            <a:noAutofit/>
          </a:bodyPr>
          <a:lstStyle>
            <a:lvl1pPr marL="0" indent="0">
              <a:buNone/>
              <a:defRPr sz="12500" b="0"/>
            </a:lvl1pPr>
          </a:lstStyle>
          <a:p>
            <a:pPr lvl="0"/>
            <a:r>
              <a:rPr lang="en-GB"/>
              <a:t>01</a:t>
            </a:r>
          </a:p>
        </p:txBody>
      </p:sp>
    </p:spTree>
    <p:extLst>
      <p:ext uri="{BB962C8B-B14F-4D97-AF65-F5344CB8AC3E}">
        <p14:creationId xmlns:p14="http://schemas.microsoft.com/office/powerpoint/2010/main" val="874797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iterate type="lt">
                                    <p:tmPct val="25000"/>
                                  </p:iterate>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400" fill="hold"/>
                                        <p:tgtEl>
                                          <p:spTgt spid="6">
                                            <p:txEl>
                                              <p:pRg st="0" end="0"/>
                                            </p:txEl>
                                          </p:spTgt>
                                        </p:tgtEl>
                                        <p:attrNameLst>
                                          <p:attrName>ppt_w</p:attrName>
                                        </p:attrNameLst>
                                      </p:cBhvr>
                                      <p:tavLst>
                                        <p:tav tm="0">
                                          <p:val>
                                            <p:strVal val="#ppt_w*0.70"/>
                                          </p:val>
                                        </p:tav>
                                        <p:tav tm="100000">
                                          <p:val>
                                            <p:strVal val="#ppt_w"/>
                                          </p:val>
                                        </p:tav>
                                      </p:tavLst>
                                    </p:anim>
                                    <p:anim calcmode="lin" valueType="num">
                                      <p:cBhvr>
                                        <p:cTn id="8" dur="400" fill="hold"/>
                                        <p:tgtEl>
                                          <p:spTgt spid="6">
                                            <p:txEl>
                                              <p:pRg st="0" end="0"/>
                                            </p:txEl>
                                          </p:spTgt>
                                        </p:tgtEl>
                                        <p:attrNameLst>
                                          <p:attrName>ppt_h</p:attrName>
                                        </p:attrNameLst>
                                      </p:cBhvr>
                                      <p:tavLst>
                                        <p:tav tm="0">
                                          <p:val>
                                            <p:strVal val="#ppt_h"/>
                                          </p:val>
                                        </p:tav>
                                        <p:tav tm="100000">
                                          <p:val>
                                            <p:strVal val="#ppt_h"/>
                                          </p:val>
                                        </p:tav>
                                      </p:tavLst>
                                    </p:anim>
                                    <p:animEffect transition="in" filter="fade">
                                      <p:cBhvr>
                                        <p:cTn id="9" dur="400"/>
                                        <p:tgtEl>
                                          <p:spTgt spid="6">
                                            <p:txEl>
                                              <p:pRg st="0" end="0"/>
                                            </p:txEl>
                                          </p:spTgt>
                                        </p:tgtEl>
                                      </p:cBhvr>
                                    </p:animEffect>
                                  </p:childTnLst>
                                </p:cTn>
                              </p:par>
                              <p:par>
                                <p:cTn id="10" presetID="55" presetClass="entr" presetSubtype="0" fill="hold" grpId="0" nodeType="withEffect">
                                  <p:stCondLst>
                                    <p:cond delay="250"/>
                                  </p:stCondLst>
                                  <p:iterate type="lt">
                                    <p:tmPct val="10000"/>
                                  </p:iterate>
                                  <p:childTnLst>
                                    <p:set>
                                      <p:cBhvr>
                                        <p:cTn id="11" dur="1" fill="hold">
                                          <p:stCondLst>
                                            <p:cond delay="0"/>
                                          </p:stCondLst>
                                        </p:cTn>
                                        <p:tgtEl>
                                          <p:spTgt spid="11"/>
                                        </p:tgtEl>
                                        <p:attrNameLst>
                                          <p:attrName>style.visibility</p:attrName>
                                        </p:attrNameLst>
                                      </p:cBhvr>
                                      <p:to>
                                        <p:strVal val="visible"/>
                                      </p:to>
                                    </p:set>
                                    <p:anim calcmode="lin" valueType="num">
                                      <p:cBhvr>
                                        <p:cTn id="12" dur="400" fill="hold"/>
                                        <p:tgtEl>
                                          <p:spTgt spid="11"/>
                                        </p:tgtEl>
                                        <p:attrNameLst>
                                          <p:attrName>ppt_w</p:attrName>
                                        </p:attrNameLst>
                                      </p:cBhvr>
                                      <p:tavLst>
                                        <p:tav tm="0">
                                          <p:val>
                                            <p:strVal val="#ppt_w*0.70"/>
                                          </p:val>
                                        </p:tav>
                                        <p:tav tm="100000">
                                          <p:val>
                                            <p:strVal val="#ppt_w"/>
                                          </p:val>
                                        </p:tav>
                                      </p:tavLst>
                                    </p:anim>
                                    <p:anim calcmode="lin" valueType="num">
                                      <p:cBhvr>
                                        <p:cTn id="13" dur="400" fill="hold"/>
                                        <p:tgtEl>
                                          <p:spTgt spid="11"/>
                                        </p:tgtEl>
                                        <p:attrNameLst>
                                          <p:attrName>ppt_h</p:attrName>
                                        </p:attrNameLst>
                                      </p:cBhvr>
                                      <p:tavLst>
                                        <p:tav tm="0">
                                          <p:val>
                                            <p:strVal val="#ppt_h"/>
                                          </p:val>
                                        </p:tav>
                                        <p:tav tm="100000">
                                          <p:val>
                                            <p:strVal val="#ppt_h"/>
                                          </p:val>
                                        </p:tav>
                                      </p:tavLst>
                                    </p:anim>
                                    <p:animEffect transition="in" filter="fade">
                                      <p:cBhvr>
                                        <p:cTn id="14" dur="400"/>
                                        <p:tgtEl>
                                          <p:spTgt spid="11"/>
                                        </p:tgtEl>
                                      </p:cBhvr>
                                    </p:animEffect>
                                  </p:childTnLst>
                                </p:cTn>
                              </p:par>
                            </p:childTnLst>
                          </p:cTn>
                        </p:par>
                        <p:par>
                          <p:cTn id="15" fill="hold">
                            <p:stCondLst>
                              <p:cond delay="1290"/>
                            </p:stCondLst>
                            <p:childTnLst>
                              <p:par>
                                <p:cTn id="16" presetID="10" presetClass="entr" presetSubtype="0" fill="hold" grpId="0" nodeType="afterEffect">
                                  <p:stCondLst>
                                    <p:cond delay="0"/>
                                  </p:stCondLst>
                                  <p:childTnLst>
                                    <p:set>
                                      <p:cBhvr>
                                        <p:cTn id="17" dur="1" fill="hold">
                                          <p:stCondLst>
                                            <p:cond delay="0"/>
                                          </p:stCondLst>
                                        </p:cTn>
                                        <p:tgtEl>
                                          <p:spTgt spid="7">
                                            <p:txEl>
                                              <p:pRg st="0" end="0"/>
                                            </p:txEl>
                                          </p:spTgt>
                                        </p:tgtEl>
                                        <p:attrNameLst>
                                          <p:attrName>style.visibility</p:attrName>
                                        </p:attrNameLst>
                                      </p:cBhvr>
                                      <p:to>
                                        <p:strVal val="visible"/>
                                      </p:to>
                                    </p:set>
                                    <p:animEffect transition="in" filter="fade">
                                      <p:cBhvr>
                                        <p:cTn id="18" dur="7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750"/>
                        <p:tgtEl>
                          <p:spTgt spid="7"/>
                        </p:tgtEl>
                      </p:cBhvr>
                    </p:animEffect>
                  </p:childTnLst>
                </p:cTn>
              </p:par>
            </p:tnLst>
          </p:tmpl>
        </p:tmplLst>
      </p:bldP>
      <p:bldP spid="6" grpId="0" build="p">
        <p:tmplLst>
          <p:tmpl lvl="1">
            <p:tnLst>
              <p:par>
                <p:cTn presetID="55" presetClass="entr" presetSubtype="0" fill="hold" nodeType="withEffect">
                  <p:stCondLst>
                    <p:cond delay="0"/>
                  </p:stCondLst>
                  <p:iterate type="lt">
                    <p:tmPct val="25000"/>
                  </p:iterate>
                  <p:childTnLst>
                    <p:set>
                      <p:cBhvr>
                        <p:cTn dur="1" fill="hold">
                          <p:stCondLst>
                            <p:cond delay="0"/>
                          </p:stCondLst>
                        </p:cTn>
                        <p:tgtEl>
                          <p:spTgt spid="6"/>
                        </p:tgtEl>
                        <p:attrNameLst>
                          <p:attrName>style.visibility</p:attrName>
                        </p:attrNameLst>
                      </p:cBhvr>
                      <p:to>
                        <p:strVal val="visible"/>
                      </p:to>
                    </p:set>
                    <p:anim calcmode="lin" valueType="num">
                      <p:cBhvr>
                        <p:cTn dur="400" fill="hold"/>
                        <p:tgtEl>
                          <p:spTgt spid="6"/>
                        </p:tgtEl>
                        <p:attrNameLst>
                          <p:attrName>ppt_w</p:attrName>
                        </p:attrNameLst>
                      </p:cBhvr>
                      <p:tavLst>
                        <p:tav tm="0">
                          <p:val>
                            <p:strVal val="#ppt_w*0.70"/>
                          </p:val>
                        </p:tav>
                        <p:tav tm="100000">
                          <p:val>
                            <p:strVal val="#ppt_w"/>
                          </p:val>
                        </p:tav>
                      </p:tavLst>
                    </p:anim>
                    <p:anim calcmode="lin" valueType="num">
                      <p:cBhvr>
                        <p:cTn dur="400" fill="hold"/>
                        <p:tgtEl>
                          <p:spTgt spid="6"/>
                        </p:tgtEl>
                        <p:attrNameLst>
                          <p:attrName>ppt_h</p:attrName>
                        </p:attrNameLst>
                      </p:cBhvr>
                      <p:tavLst>
                        <p:tav tm="0">
                          <p:val>
                            <p:strVal val="#ppt_h"/>
                          </p:val>
                        </p:tav>
                        <p:tav tm="100000">
                          <p:val>
                            <p:strVal val="#ppt_h"/>
                          </p:val>
                        </p:tav>
                      </p:tavLst>
                    </p:anim>
                    <p:animEffect transition="in" filter="fade">
                      <p:cBhvr>
                        <p:cTn dur="400"/>
                        <p:tgtEl>
                          <p:spTgt spid="6"/>
                        </p:tgtEl>
                      </p:cBhvr>
                    </p:animEffect>
                  </p:childTnLst>
                </p:cTn>
              </p:par>
            </p:tnLst>
          </p:tmpl>
        </p:tmplLst>
      </p:bldP>
    </p:bldLst>
  </p:timing>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mage List (Light Gree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DA97F53-639D-93C5-615B-372205021791}"/>
              </a:ext>
            </a:extLst>
          </p:cNvPr>
          <p:cNvSpPr>
            <a:spLocks noGrp="1"/>
          </p:cNvSpPr>
          <p:nvPr>
            <p:ph type="sldNum" sz="quarter" idx="10"/>
          </p:nvPr>
        </p:nvSpPr>
        <p:spPr/>
        <p:txBody>
          <a:bodyPr/>
          <a:lstStyle>
            <a:lvl1pPr>
              <a:defRPr>
                <a:solidFill>
                  <a:srgbClr val="00625F"/>
                </a:solidFill>
              </a:defRPr>
            </a:lvl1pPr>
          </a:lstStyle>
          <a:p>
            <a:fld id="{0994303E-A424-9540-91A8-53B791C91E8F}" type="slidenum">
              <a:rPr lang="en-GB" smtClean="0"/>
              <a:pPr/>
              <a:t>‹#›</a:t>
            </a:fld>
            <a:endParaRPr lang="en-GB"/>
          </a:p>
        </p:txBody>
      </p:sp>
      <p:sp>
        <p:nvSpPr>
          <p:cNvPr id="7" name="Text Placeholder 11">
            <a:extLst>
              <a:ext uri="{FF2B5EF4-FFF2-40B4-BE49-F238E27FC236}">
                <a16:creationId xmlns:a16="http://schemas.microsoft.com/office/drawing/2014/main" id="{88500907-6177-1837-EE8C-28EBF9D577A8}"/>
              </a:ext>
            </a:extLst>
          </p:cNvPr>
          <p:cNvSpPr>
            <a:spLocks noGrp="1"/>
          </p:cNvSpPr>
          <p:nvPr>
            <p:ph type="body" sz="quarter" idx="16" hasCustomPrompt="1"/>
          </p:nvPr>
        </p:nvSpPr>
        <p:spPr>
          <a:xfrm>
            <a:off x="658813" y="3755424"/>
            <a:ext cx="3187973" cy="520092"/>
          </a:xfrm>
          <a:prstGeom prst="rect">
            <a:avLst/>
          </a:prstGeom>
        </p:spPr>
        <p:txBody>
          <a:bodyPr>
            <a:noAutofit/>
          </a:bodyPr>
          <a:lstStyle>
            <a:lvl1pPr marL="0" indent="0" algn="ctr">
              <a:lnSpc>
                <a:spcPct val="100000"/>
              </a:lnSpc>
              <a:spcBef>
                <a:spcPts val="0"/>
              </a:spcBef>
              <a:spcAft>
                <a:spcPts val="1000"/>
              </a:spcAft>
              <a:buNone/>
              <a:defRPr sz="2400" b="1">
                <a:solidFill>
                  <a:srgbClr val="00625F"/>
                </a:solidFill>
                <a:latin typeface="+mj-lt"/>
              </a:defRPr>
            </a:lvl1pPr>
          </a:lstStyle>
          <a:p>
            <a:pPr lvl="0"/>
            <a:r>
              <a:rPr lang="en-GB"/>
              <a:t>Header 1</a:t>
            </a:r>
          </a:p>
        </p:txBody>
      </p:sp>
      <p:sp>
        <p:nvSpPr>
          <p:cNvPr id="10" name="Text Placeholder 11">
            <a:extLst>
              <a:ext uri="{FF2B5EF4-FFF2-40B4-BE49-F238E27FC236}">
                <a16:creationId xmlns:a16="http://schemas.microsoft.com/office/drawing/2014/main" id="{6FFE71A5-58F5-11A2-E38C-407FB3D38EAA}"/>
              </a:ext>
            </a:extLst>
          </p:cNvPr>
          <p:cNvSpPr>
            <a:spLocks noGrp="1"/>
          </p:cNvSpPr>
          <p:nvPr>
            <p:ph type="body" sz="quarter" idx="17" hasCustomPrompt="1"/>
          </p:nvPr>
        </p:nvSpPr>
        <p:spPr>
          <a:xfrm>
            <a:off x="658813" y="4275517"/>
            <a:ext cx="3187973" cy="1529972"/>
          </a:xfrm>
          <a:prstGeom prst="rect">
            <a:avLst/>
          </a:prstGeom>
        </p:spPr>
        <p:txBody>
          <a:bodyPr>
            <a:noAutofit/>
          </a:bodyPr>
          <a:lstStyle>
            <a:lvl1pPr marL="0" indent="0" algn="ctr">
              <a:buNone/>
              <a:defRPr sz="12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11" name="Picture Placeholder 10">
            <a:extLst>
              <a:ext uri="{FF2B5EF4-FFF2-40B4-BE49-F238E27FC236}">
                <a16:creationId xmlns:a16="http://schemas.microsoft.com/office/drawing/2014/main" id="{132D89C5-8B8A-0FBA-F742-DCE5B63EDD5F}"/>
              </a:ext>
            </a:extLst>
          </p:cNvPr>
          <p:cNvSpPr>
            <a:spLocks noGrp="1"/>
          </p:cNvSpPr>
          <p:nvPr>
            <p:ph type="pic" sz="quarter" idx="18"/>
          </p:nvPr>
        </p:nvSpPr>
        <p:spPr>
          <a:xfrm>
            <a:off x="4619918"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GB"/>
              <a:t>Click icon to add picture</a:t>
            </a:r>
          </a:p>
        </p:txBody>
      </p:sp>
      <p:sp>
        <p:nvSpPr>
          <p:cNvPr id="12" name="Text Placeholder 11">
            <a:extLst>
              <a:ext uri="{FF2B5EF4-FFF2-40B4-BE49-F238E27FC236}">
                <a16:creationId xmlns:a16="http://schemas.microsoft.com/office/drawing/2014/main" id="{9536AA97-F495-8EAD-7D23-C05F66EFBF5E}"/>
              </a:ext>
            </a:extLst>
          </p:cNvPr>
          <p:cNvSpPr>
            <a:spLocks noGrp="1"/>
          </p:cNvSpPr>
          <p:nvPr>
            <p:ph type="body" sz="quarter" idx="19" hasCustomPrompt="1"/>
          </p:nvPr>
        </p:nvSpPr>
        <p:spPr>
          <a:xfrm>
            <a:off x="4500345" y="4275517"/>
            <a:ext cx="3187973" cy="1529972"/>
          </a:xfrm>
          <a:prstGeom prst="rect">
            <a:avLst/>
          </a:prstGeom>
        </p:spPr>
        <p:txBody>
          <a:bodyPr>
            <a:noAutofit/>
          </a:bodyPr>
          <a:lstStyle>
            <a:lvl1pPr marL="0" indent="0" algn="ctr">
              <a:buNone/>
              <a:defRPr sz="12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13" name="Text Placeholder 11">
            <a:extLst>
              <a:ext uri="{FF2B5EF4-FFF2-40B4-BE49-F238E27FC236}">
                <a16:creationId xmlns:a16="http://schemas.microsoft.com/office/drawing/2014/main" id="{7C963B89-7477-66FC-0968-BBA6D8F2DC59}"/>
              </a:ext>
            </a:extLst>
          </p:cNvPr>
          <p:cNvSpPr>
            <a:spLocks noGrp="1"/>
          </p:cNvSpPr>
          <p:nvPr>
            <p:ph type="body" sz="quarter" idx="20" hasCustomPrompt="1"/>
          </p:nvPr>
        </p:nvSpPr>
        <p:spPr>
          <a:xfrm>
            <a:off x="8343546" y="4275517"/>
            <a:ext cx="3187973" cy="1529972"/>
          </a:xfrm>
          <a:prstGeom prst="rect">
            <a:avLst/>
          </a:prstGeom>
        </p:spPr>
        <p:txBody>
          <a:bodyPr>
            <a:noAutofit/>
          </a:bodyPr>
          <a:lstStyle>
            <a:lvl1pPr marL="0" indent="0" algn="ctr">
              <a:buNone/>
              <a:defRPr sz="12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15" name="Picture Placeholder 14">
            <a:extLst>
              <a:ext uri="{FF2B5EF4-FFF2-40B4-BE49-F238E27FC236}">
                <a16:creationId xmlns:a16="http://schemas.microsoft.com/office/drawing/2014/main" id="{23E2FBDF-5239-189C-2DB8-DBBB70EB600A}"/>
              </a:ext>
            </a:extLst>
          </p:cNvPr>
          <p:cNvSpPr>
            <a:spLocks noGrp="1"/>
          </p:cNvSpPr>
          <p:nvPr>
            <p:ph type="pic" sz="quarter" idx="21"/>
          </p:nvPr>
        </p:nvSpPr>
        <p:spPr>
          <a:xfrm>
            <a:off x="8463119"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GB"/>
              <a:t>Click icon to add picture</a:t>
            </a:r>
          </a:p>
        </p:txBody>
      </p:sp>
      <p:sp>
        <p:nvSpPr>
          <p:cNvPr id="17" name="Picture Placeholder 16">
            <a:extLst>
              <a:ext uri="{FF2B5EF4-FFF2-40B4-BE49-F238E27FC236}">
                <a16:creationId xmlns:a16="http://schemas.microsoft.com/office/drawing/2014/main" id="{5F5CC71D-15CD-C902-7B81-E9881716049F}"/>
              </a:ext>
            </a:extLst>
          </p:cNvPr>
          <p:cNvSpPr>
            <a:spLocks noGrp="1"/>
          </p:cNvSpPr>
          <p:nvPr>
            <p:ph type="pic" sz="quarter" idx="22"/>
          </p:nvPr>
        </p:nvSpPr>
        <p:spPr>
          <a:xfrm>
            <a:off x="778386"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GB"/>
              <a:t>Click icon to add picture</a:t>
            </a:r>
          </a:p>
        </p:txBody>
      </p:sp>
      <p:sp>
        <p:nvSpPr>
          <p:cNvPr id="19" name="Text Placeholder 11">
            <a:extLst>
              <a:ext uri="{FF2B5EF4-FFF2-40B4-BE49-F238E27FC236}">
                <a16:creationId xmlns:a16="http://schemas.microsoft.com/office/drawing/2014/main" id="{E41D0B81-9E30-7BC1-D8EE-C0A7FCABD9FF}"/>
              </a:ext>
            </a:extLst>
          </p:cNvPr>
          <p:cNvSpPr>
            <a:spLocks noGrp="1"/>
          </p:cNvSpPr>
          <p:nvPr>
            <p:ph type="body" sz="quarter" idx="23" hasCustomPrompt="1"/>
          </p:nvPr>
        </p:nvSpPr>
        <p:spPr>
          <a:xfrm>
            <a:off x="4500345" y="3755424"/>
            <a:ext cx="3187973" cy="520092"/>
          </a:xfrm>
          <a:prstGeom prst="rect">
            <a:avLst/>
          </a:prstGeom>
        </p:spPr>
        <p:txBody>
          <a:bodyPr>
            <a:noAutofit/>
          </a:bodyPr>
          <a:lstStyle>
            <a:lvl1pPr marL="0" indent="0" algn="ctr">
              <a:lnSpc>
                <a:spcPct val="100000"/>
              </a:lnSpc>
              <a:spcBef>
                <a:spcPts val="0"/>
              </a:spcBef>
              <a:spcAft>
                <a:spcPts val="1000"/>
              </a:spcAft>
              <a:buNone/>
              <a:defRPr sz="2400" b="1">
                <a:solidFill>
                  <a:srgbClr val="00625F"/>
                </a:solidFill>
                <a:latin typeface="+mj-lt"/>
              </a:defRPr>
            </a:lvl1pPr>
          </a:lstStyle>
          <a:p>
            <a:pPr lvl="0"/>
            <a:r>
              <a:rPr lang="en-GB"/>
              <a:t>Header 2</a:t>
            </a:r>
          </a:p>
        </p:txBody>
      </p:sp>
      <p:sp>
        <p:nvSpPr>
          <p:cNvPr id="20" name="Text Placeholder 11">
            <a:extLst>
              <a:ext uri="{FF2B5EF4-FFF2-40B4-BE49-F238E27FC236}">
                <a16:creationId xmlns:a16="http://schemas.microsoft.com/office/drawing/2014/main" id="{81235BED-6852-1C88-8BB1-C82C76768766}"/>
              </a:ext>
            </a:extLst>
          </p:cNvPr>
          <p:cNvSpPr>
            <a:spLocks noGrp="1"/>
          </p:cNvSpPr>
          <p:nvPr>
            <p:ph type="body" sz="quarter" idx="24" hasCustomPrompt="1"/>
          </p:nvPr>
        </p:nvSpPr>
        <p:spPr>
          <a:xfrm>
            <a:off x="8343546" y="3755424"/>
            <a:ext cx="3187973" cy="520092"/>
          </a:xfrm>
          <a:prstGeom prst="rect">
            <a:avLst/>
          </a:prstGeom>
        </p:spPr>
        <p:txBody>
          <a:bodyPr>
            <a:noAutofit/>
          </a:bodyPr>
          <a:lstStyle>
            <a:lvl1pPr marL="0" indent="0" algn="ctr">
              <a:lnSpc>
                <a:spcPct val="100000"/>
              </a:lnSpc>
              <a:spcBef>
                <a:spcPts val="0"/>
              </a:spcBef>
              <a:spcAft>
                <a:spcPts val="1000"/>
              </a:spcAft>
              <a:buNone/>
              <a:defRPr sz="2400" b="1">
                <a:solidFill>
                  <a:srgbClr val="00625F"/>
                </a:solidFill>
                <a:latin typeface="+mj-lt"/>
              </a:defRPr>
            </a:lvl1pPr>
          </a:lstStyle>
          <a:p>
            <a:pPr lvl="0"/>
            <a:r>
              <a:rPr lang="en-GB"/>
              <a:t>Header 3</a:t>
            </a:r>
          </a:p>
        </p:txBody>
      </p:sp>
    </p:spTree>
    <p:extLst>
      <p:ext uri="{BB962C8B-B14F-4D97-AF65-F5344CB8AC3E}">
        <p14:creationId xmlns:p14="http://schemas.microsoft.com/office/powerpoint/2010/main" val="2907750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ebbles (Gree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1720F34-EE38-1EB6-D2BC-389D6E7C2435}"/>
              </a:ext>
            </a:extLst>
          </p:cNvPr>
          <p:cNvSpPr>
            <a:spLocks noGrp="1"/>
          </p:cNvSpPr>
          <p:nvPr>
            <p:ph type="sldNum" sz="quarter" idx="25"/>
          </p:nvPr>
        </p:nvSpPr>
        <p:spPr/>
        <p:txBody>
          <a:bodyPr/>
          <a:lstStyle/>
          <a:p>
            <a:fld id="{0994303E-A424-9540-91A8-53B791C91E8F}" type="slidenum">
              <a:rPr lang="en-GB" smtClean="0"/>
              <a:pPr/>
              <a:t>‹#›</a:t>
            </a:fld>
            <a:endParaRPr lang="en-GB" dirty="0"/>
          </a:p>
        </p:txBody>
      </p:sp>
      <p:sp>
        <p:nvSpPr>
          <p:cNvPr id="2" name="Picture Placeholder 65">
            <a:extLst>
              <a:ext uri="{FF2B5EF4-FFF2-40B4-BE49-F238E27FC236}">
                <a16:creationId xmlns:a16="http://schemas.microsoft.com/office/drawing/2014/main" id="{9837690D-0E7C-A9A8-61D2-D0E7E3260621}"/>
              </a:ext>
            </a:extLst>
          </p:cNvPr>
          <p:cNvSpPr>
            <a:spLocks noGrp="1"/>
          </p:cNvSpPr>
          <p:nvPr>
            <p:ph type="pic" sz="quarter" idx="15"/>
          </p:nvPr>
        </p:nvSpPr>
        <p:spPr>
          <a:xfrm>
            <a:off x="6508923" y="3620604"/>
            <a:ext cx="1154057" cy="1164548"/>
          </a:xfrm>
          <a:custGeom>
            <a:avLst/>
            <a:gdLst>
              <a:gd name="connsiteX0" fmla="*/ 620546 w 1154057"/>
              <a:gd name="connsiteY0" fmla="*/ 1074 h 1164548"/>
              <a:gd name="connsiteX1" fmla="*/ 740037 w 1154057"/>
              <a:gd name="connsiteY1" fmla="*/ 30926 h 1164548"/>
              <a:gd name="connsiteX2" fmla="*/ 1149079 w 1154057"/>
              <a:gd name="connsiteY2" fmla="*/ 544452 h 1164548"/>
              <a:gd name="connsiteX3" fmla="*/ 1006132 w 1154057"/>
              <a:gd name="connsiteY3" fmla="*/ 957097 h 1164548"/>
              <a:gd name="connsiteX4" fmla="*/ 883647 w 1154057"/>
              <a:gd name="connsiteY4" fmla="*/ 1053039 h 1164548"/>
              <a:gd name="connsiteX5" fmla="*/ 162661 w 1154057"/>
              <a:gd name="connsiteY5" fmla="*/ 1067667 h 1164548"/>
              <a:gd name="connsiteX6" fmla="*/ 579 w 1154057"/>
              <a:gd name="connsiteY6" fmla="*/ 741180 h 1164548"/>
              <a:gd name="connsiteX7" fmla="*/ 256727 w 1154057"/>
              <a:gd name="connsiteY7" fmla="*/ 146531 h 1164548"/>
              <a:gd name="connsiteX8" fmla="*/ 620546 w 1154057"/>
              <a:gd name="connsiteY8" fmla="*/ 1074 h 116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4057" h="1164548">
                <a:moveTo>
                  <a:pt x="620546" y="1074"/>
                </a:moveTo>
                <a:cubicBezTo>
                  <a:pt x="661868" y="4174"/>
                  <a:pt x="702145" y="14018"/>
                  <a:pt x="740037" y="30926"/>
                </a:cubicBezTo>
                <a:cubicBezTo>
                  <a:pt x="949389" y="123543"/>
                  <a:pt x="1117629" y="334710"/>
                  <a:pt x="1149079" y="544452"/>
                </a:cubicBezTo>
                <a:cubicBezTo>
                  <a:pt x="1171057" y="698529"/>
                  <a:pt x="1119713" y="843201"/>
                  <a:pt x="1006132" y="957097"/>
                </a:cubicBezTo>
                <a:cubicBezTo>
                  <a:pt x="971083" y="992244"/>
                  <a:pt x="930159" y="1024446"/>
                  <a:pt x="883647" y="1053039"/>
                </a:cubicBezTo>
                <a:cubicBezTo>
                  <a:pt x="651181" y="1196096"/>
                  <a:pt x="354772" y="1202081"/>
                  <a:pt x="162661" y="1067667"/>
                </a:cubicBezTo>
                <a:cubicBezTo>
                  <a:pt x="62721" y="988634"/>
                  <a:pt x="6736" y="875689"/>
                  <a:pt x="579" y="741180"/>
                </a:cubicBezTo>
                <a:cubicBezTo>
                  <a:pt x="-8705" y="539607"/>
                  <a:pt x="94456" y="299943"/>
                  <a:pt x="256727" y="146531"/>
                </a:cubicBezTo>
                <a:cubicBezTo>
                  <a:pt x="363227" y="43156"/>
                  <a:pt x="496583" y="-8228"/>
                  <a:pt x="620546" y="1074"/>
                </a:cubicBezTo>
                <a:close/>
              </a:path>
            </a:pathLst>
          </a:custGeom>
        </p:spPr>
        <p:txBody>
          <a:bodyPr wrap="square" anchor="ctr">
            <a:noAutofit/>
          </a:bodyPr>
          <a:lstStyle>
            <a:lvl1pPr marL="0" indent="0" algn="ctr">
              <a:buNone/>
              <a:defRPr sz="1000">
                <a:solidFill>
                  <a:schemeClr val="bg1"/>
                </a:solidFill>
              </a:defRPr>
            </a:lvl1pPr>
          </a:lstStyle>
          <a:p>
            <a:r>
              <a:rPr lang="en-GB" dirty="0"/>
              <a:t>Click icon to add picture</a:t>
            </a:r>
          </a:p>
        </p:txBody>
      </p:sp>
      <p:sp>
        <p:nvSpPr>
          <p:cNvPr id="5" name="Picture Placeholder 66">
            <a:extLst>
              <a:ext uri="{FF2B5EF4-FFF2-40B4-BE49-F238E27FC236}">
                <a16:creationId xmlns:a16="http://schemas.microsoft.com/office/drawing/2014/main" id="{901EA444-14DF-630E-978D-84C0117E66D6}"/>
              </a:ext>
            </a:extLst>
          </p:cNvPr>
          <p:cNvSpPr>
            <a:spLocks noGrp="1"/>
          </p:cNvSpPr>
          <p:nvPr>
            <p:ph type="pic" sz="quarter" idx="16"/>
          </p:nvPr>
        </p:nvSpPr>
        <p:spPr>
          <a:xfrm>
            <a:off x="7810410" y="3608348"/>
            <a:ext cx="1107883" cy="1189060"/>
          </a:xfrm>
          <a:custGeom>
            <a:avLst/>
            <a:gdLst>
              <a:gd name="connsiteX0" fmla="*/ 518352 w 1107883"/>
              <a:gd name="connsiteY0" fmla="*/ 3 h 1189060"/>
              <a:gd name="connsiteX1" fmla="*/ 916906 w 1107883"/>
              <a:gd name="connsiteY1" fmla="*/ 119284 h 1189060"/>
              <a:gd name="connsiteX2" fmla="*/ 1107883 w 1107883"/>
              <a:gd name="connsiteY2" fmla="*/ 511437 h 1189060"/>
              <a:gd name="connsiteX3" fmla="*/ 1088833 w 1107883"/>
              <a:gd name="connsiteY3" fmla="*/ 665779 h 1189060"/>
              <a:gd name="connsiteX4" fmla="*/ 586579 w 1107883"/>
              <a:gd name="connsiteY4" fmla="*/ 1186029 h 1189060"/>
              <a:gd name="connsiteX5" fmla="*/ 239869 w 1107883"/>
              <a:gd name="connsiteY5" fmla="*/ 1070344 h 1189060"/>
              <a:gd name="connsiteX6" fmla="*/ 316 w 1107883"/>
              <a:gd name="connsiteY6" fmla="*/ 469749 h 1189060"/>
              <a:gd name="connsiteX7" fmla="*/ 261967 w 1107883"/>
              <a:gd name="connsiteY7" fmla="*/ 46424 h 1189060"/>
              <a:gd name="connsiteX8" fmla="*/ 518352 w 1107883"/>
              <a:gd name="connsiteY8" fmla="*/ 3 h 118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883" h="1189060">
                <a:moveTo>
                  <a:pt x="518352" y="3"/>
                </a:moveTo>
                <a:cubicBezTo>
                  <a:pt x="664673" y="-378"/>
                  <a:pt x="809989" y="40763"/>
                  <a:pt x="916906" y="119284"/>
                </a:cubicBezTo>
                <a:cubicBezTo>
                  <a:pt x="1041779" y="212419"/>
                  <a:pt x="1107883" y="350748"/>
                  <a:pt x="1107883" y="511437"/>
                </a:cubicBezTo>
                <a:cubicBezTo>
                  <a:pt x="1107883" y="560990"/>
                  <a:pt x="1101596" y="612626"/>
                  <a:pt x="1088833" y="665779"/>
                </a:cubicBezTo>
                <a:cubicBezTo>
                  <a:pt x="1025015" y="931068"/>
                  <a:pt x="818513" y="1144909"/>
                  <a:pt x="586579" y="1186029"/>
                </a:cubicBezTo>
                <a:cubicBezTo>
                  <a:pt x="459516" y="1200904"/>
                  <a:pt x="339596" y="1160827"/>
                  <a:pt x="239869" y="1070344"/>
                </a:cubicBezTo>
                <a:cubicBezTo>
                  <a:pt x="90327" y="934668"/>
                  <a:pt x="-6257" y="692781"/>
                  <a:pt x="316" y="469749"/>
                </a:cubicBezTo>
                <a:cubicBezTo>
                  <a:pt x="3554" y="272109"/>
                  <a:pt x="106234" y="105924"/>
                  <a:pt x="261967" y="46424"/>
                </a:cubicBezTo>
                <a:cubicBezTo>
                  <a:pt x="342406" y="15407"/>
                  <a:pt x="430560" y="231"/>
                  <a:pt x="518352" y="3"/>
                </a:cubicBezTo>
                <a:close/>
              </a:path>
            </a:pathLst>
          </a:custGeom>
        </p:spPr>
        <p:txBody>
          <a:bodyPr wrap="square" anchor="ctr">
            <a:noAutofit/>
          </a:bodyPr>
          <a:lstStyle>
            <a:lvl1pPr marL="0" indent="0" algn="ctr">
              <a:buNone/>
              <a:defRPr sz="1000">
                <a:solidFill>
                  <a:schemeClr val="bg1"/>
                </a:solidFill>
              </a:defRPr>
            </a:lvl1pPr>
          </a:lstStyle>
          <a:p>
            <a:r>
              <a:rPr lang="en-GB" dirty="0"/>
              <a:t>Click icon to add picture</a:t>
            </a:r>
          </a:p>
        </p:txBody>
      </p:sp>
      <p:sp>
        <p:nvSpPr>
          <p:cNvPr id="6" name="Picture Placeholder 67">
            <a:extLst>
              <a:ext uri="{FF2B5EF4-FFF2-40B4-BE49-F238E27FC236}">
                <a16:creationId xmlns:a16="http://schemas.microsoft.com/office/drawing/2014/main" id="{0E68EB39-C372-168A-A3CC-8F3CF1317A85}"/>
              </a:ext>
            </a:extLst>
          </p:cNvPr>
          <p:cNvSpPr>
            <a:spLocks noGrp="1"/>
          </p:cNvSpPr>
          <p:nvPr>
            <p:ph type="pic" sz="quarter" idx="17"/>
          </p:nvPr>
        </p:nvSpPr>
        <p:spPr>
          <a:xfrm>
            <a:off x="7803666" y="2055915"/>
            <a:ext cx="1164457" cy="1154057"/>
          </a:xfrm>
          <a:custGeom>
            <a:avLst/>
            <a:gdLst>
              <a:gd name="connsiteX0" fmla="*/ 657822 w 1164457"/>
              <a:gd name="connsiteY0" fmla="*/ 2070 h 1154057"/>
              <a:gd name="connsiteX1" fmla="*/ 957005 w 1164457"/>
              <a:gd name="connsiteY1" fmla="*/ 147925 h 1154057"/>
              <a:gd name="connsiteX2" fmla="*/ 1052947 w 1164457"/>
              <a:gd name="connsiteY2" fmla="*/ 270411 h 1154057"/>
              <a:gd name="connsiteX3" fmla="*/ 1067576 w 1164457"/>
              <a:gd name="connsiteY3" fmla="*/ 991397 h 1154057"/>
              <a:gd name="connsiteX4" fmla="*/ 741089 w 1164457"/>
              <a:gd name="connsiteY4" fmla="*/ 1153384 h 1154057"/>
              <a:gd name="connsiteX5" fmla="*/ 741184 w 1164457"/>
              <a:gd name="connsiteY5" fmla="*/ 1153479 h 1154057"/>
              <a:gd name="connsiteX6" fmla="*/ 146440 w 1164457"/>
              <a:gd name="connsiteY6" fmla="*/ 897331 h 1154057"/>
              <a:gd name="connsiteX7" fmla="*/ 30930 w 1164457"/>
              <a:gd name="connsiteY7" fmla="*/ 414021 h 1154057"/>
              <a:gd name="connsiteX8" fmla="*/ 544361 w 1164457"/>
              <a:gd name="connsiteY8" fmla="*/ 4979 h 1154057"/>
              <a:gd name="connsiteX9" fmla="*/ 657822 w 1164457"/>
              <a:gd name="connsiteY9" fmla="*/ 2070 h 115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4457" h="1154057">
                <a:moveTo>
                  <a:pt x="657822" y="2070"/>
                </a:moveTo>
                <a:cubicBezTo>
                  <a:pt x="768851" y="12563"/>
                  <a:pt x="871584" y="62740"/>
                  <a:pt x="957005" y="147925"/>
                </a:cubicBezTo>
                <a:cubicBezTo>
                  <a:pt x="992152" y="182975"/>
                  <a:pt x="1024355" y="223898"/>
                  <a:pt x="1052947" y="270411"/>
                </a:cubicBezTo>
                <a:cubicBezTo>
                  <a:pt x="1196005" y="502877"/>
                  <a:pt x="1201990" y="799286"/>
                  <a:pt x="1067576" y="991397"/>
                </a:cubicBezTo>
                <a:cubicBezTo>
                  <a:pt x="988543" y="1091242"/>
                  <a:pt x="875502" y="1147227"/>
                  <a:pt x="741089" y="1153384"/>
                </a:cubicBezTo>
                <a:lnTo>
                  <a:pt x="741184" y="1153479"/>
                </a:lnTo>
                <a:cubicBezTo>
                  <a:pt x="539516" y="1162763"/>
                  <a:pt x="299947" y="1059602"/>
                  <a:pt x="146440" y="897331"/>
                </a:cubicBezTo>
                <a:cubicBezTo>
                  <a:pt x="8702" y="755331"/>
                  <a:pt x="-36705" y="565588"/>
                  <a:pt x="30930" y="414021"/>
                </a:cubicBezTo>
                <a:cubicBezTo>
                  <a:pt x="123547" y="204668"/>
                  <a:pt x="334714" y="36429"/>
                  <a:pt x="544361" y="4979"/>
                </a:cubicBezTo>
                <a:cubicBezTo>
                  <a:pt x="582880" y="-515"/>
                  <a:pt x="620812" y="-1427"/>
                  <a:pt x="657822" y="2070"/>
                </a:cubicBezTo>
                <a:close/>
              </a:path>
            </a:pathLst>
          </a:custGeom>
        </p:spPr>
        <p:txBody>
          <a:bodyPr wrap="square" anchor="ctr">
            <a:noAutofit/>
          </a:bodyPr>
          <a:lstStyle>
            <a:lvl1pPr marL="0" indent="0" algn="ctr">
              <a:buNone/>
              <a:defRPr sz="1000">
                <a:solidFill>
                  <a:schemeClr val="bg1"/>
                </a:solidFill>
              </a:defRPr>
            </a:lvl1pPr>
          </a:lstStyle>
          <a:p>
            <a:r>
              <a:rPr lang="en-GB" dirty="0"/>
              <a:t>Click icon to add picture</a:t>
            </a:r>
          </a:p>
        </p:txBody>
      </p:sp>
      <p:sp>
        <p:nvSpPr>
          <p:cNvPr id="7" name="Picture Placeholder 68">
            <a:extLst>
              <a:ext uri="{FF2B5EF4-FFF2-40B4-BE49-F238E27FC236}">
                <a16:creationId xmlns:a16="http://schemas.microsoft.com/office/drawing/2014/main" id="{CC390C26-22D6-1A6E-8B73-EB0A727B0C7A}"/>
              </a:ext>
            </a:extLst>
          </p:cNvPr>
          <p:cNvSpPr>
            <a:spLocks noGrp="1"/>
          </p:cNvSpPr>
          <p:nvPr>
            <p:ph type="pic" sz="quarter" idx="18"/>
          </p:nvPr>
        </p:nvSpPr>
        <p:spPr>
          <a:xfrm>
            <a:off x="9065723" y="3648937"/>
            <a:ext cx="1189061" cy="1107883"/>
          </a:xfrm>
          <a:custGeom>
            <a:avLst/>
            <a:gdLst>
              <a:gd name="connsiteX0" fmla="*/ 719312 w 1189061"/>
              <a:gd name="connsiteY0" fmla="*/ 316 h 1107883"/>
              <a:gd name="connsiteX1" fmla="*/ 1142638 w 1189061"/>
              <a:gd name="connsiteY1" fmla="*/ 261967 h 1107883"/>
              <a:gd name="connsiteX2" fmla="*/ 1069778 w 1189061"/>
              <a:gd name="connsiteY2" fmla="*/ 916906 h 1107883"/>
              <a:gd name="connsiteX3" fmla="*/ 677624 w 1189061"/>
              <a:gd name="connsiteY3" fmla="*/ 1107883 h 1107883"/>
              <a:gd name="connsiteX4" fmla="*/ 523283 w 1189061"/>
              <a:gd name="connsiteY4" fmla="*/ 1088833 h 1107883"/>
              <a:gd name="connsiteX5" fmla="*/ 3032 w 1189061"/>
              <a:gd name="connsiteY5" fmla="*/ 586579 h 1107883"/>
              <a:gd name="connsiteX6" fmla="*/ 118717 w 1189061"/>
              <a:gd name="connsiteY6" fmla="*/ 239869 h 1107883"/>
              <a:gd name="connsiteX7" fmla="*/ 719312 w 1189061"/>
              <a:gd name="connsiteY7" fmla="*/ 316 h 110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1" h="1107883">
                <a:moveTo>
                  <a:pt x="719312" y="316"/>
                </a:moveTo>
                <a:cubicBezTo>
                  <a:pt x="916953" y="3554"/>
                  <a:pt x="1083137" y="106234"/>
                  <a:pt x="1142638" y="261967"/>
                </a:cubicBezTo>
                <a:cubicBezTo>
                  <a:pt x="1225351" y="476470"/>
                  <a:pt x="1195411" y="745838"/>
                  <a:pt x="1069778" y="916906"/>
                </a:cubicBezTo>
                <a:cubicBezTo>
                  <a:pt x="976643" y="1041779"/>
                  <a:pt x="838313" y="1107883"/>
                  <a:pt x="677624" y="1107883"/>
                </a:cubicBezTo>
                <a:cubicBezTo>
                  <a:pt x="628072" y="1107883"/>
                  <a:pt x="576435" y="1101596"/>
                  <a:pt x="523283" y="1088833"/>
                </a:cubicBezTo>
                <a:cubicBezTo>
                  <a:pt x="257994" y="1025015"/>
                  <a:pt x="44152" y="818513"/>
                  <a:pt x="3032" y="586579"/>
                </a:cubicBezTo>
                <a:cubicBezTo>
                  <a:pt x="-11843" y="459516"/>
                  <a:pt x="28235" y="339596"/>
                  <a:pt x="118717" y="239869"/>
                </a:cubicBezTo>
                <a:cubicBezTo>
                  <a:pt x="254394" y="90327"/>
                  <a:pt x="496280" y="-6257"/>
                  <a:pt x="719312" y="316"/>
                </a:cubicBezTo>
                <a:close/>
              </a:path>
            </a:pathLst>
          </a:custGeom>
        </p:spPr>
        <p:txBody>
          <a:bodyPr wrap="square" anchor="ctr">
            <a:noAutofit/>
          </a:bodyPr>
          <a:lstStyle>
            <a:lvl1pPr marL="0" indent="0" algn="ctr">
              <a:buNone/>
              <a:defRPr sz="1000">
                <a:solidFill>
                  <a:schemeClr val="bg1"/>
                </a:solidFill>
              </a:defRPr>
            </a:lvl1pPr>
          </a:lstStyle>
          <a:p>
            <a:r>
              <a:rPr lang="en-GB" dirty="0"/>
              <a:t>Click icon to add picture</a:t>
            </a:r>
          </a:p>
        </p:txBody>
      </p:sp>
      <p:sp>
        <p:nvSpPr>
          <p:cNvPr id="8" name="Picture Placeholder 69">
            <a:extLst>
              <a:ext uri="{FF2B5EF4-FFF2-40B4-BE49-F238E27FC236}">
                <a16:creationId xmlns:a16="http://schemas.microsoft.com/office/drawing/2014/main" id="{636EDA37-306D-666A-B716-712DC5667441}"/>
              </a:ext>
            </a:extLst>
          </p:cNvPr>
          <p:cNvSpPr>
            <a:spLocks noGrp="1"/>
          </p:cNvSpPr>
          <p:nvPr>
            <p:ph type="pic" sz="quarter" idx="19"/>
          </p:nvPr>
        </p:nvSpPr>
        <p:spPr>
          <a:xfrm>
            <a:off x="9091307" y="2055915"/>
            <a:ext cx="1164633" cy="1154057"/>
          </a:xfrm>
          <a:custGeom>
            <a:avLst/>
            <a:gdLst>
              <a:gd name="connsiteX0" fmla="*/ 423358 w 1164633"/>
              <a:gd name="connsiteY0" fmla="*/ 579 h 1154057"/>
              <a:gd name="connsiteX1" fmla="*/ 1018102 w 1164633"/>
              <a:gd name="connsiteY1" fmla="*/ 256727 h 1154057"/>
              <a:gd name="connsiteX2" fmla="*/ 1133708 w 1164633"/>
              <a:gd name="connsiteY2" fmla="*/ 740037 h 1154057"/>
              <a:gd name="connsiteX3" fmla="*/ 620182 w 1164633"/>
              <a:gd name="connsiteY3" fmla="*/ 1149079 h 1154057"/>
              <a:gd name="connsiteX4" fmla="*/ 207537 w 1164633"/>
              <a:gd name="connsiteY4" fmla="*/ 1006132 h 1154057"/>
              <a:gd name="connsiteX5" fmla="*/ 111595 w 1164633"/>
              <a:gd name="connsiteY5" fmla="*/ 883647 h 1154057"/>
              <a:gd name="connsiteX6" fmla="*/ 96871 w 1164633"/>
              <a:gd name="connsiteY6" fmla="*/ 162661 h 1154057"/>
              <a:gd name="connsiteX7" fmla="*/ 423358 w 1164633"/>
              <a:gd name="connsiteY7" fmla="*/ 579 h 115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633" h="1154057">
                <a:moveTo>
                  <a:pt x="423358" y="579"/>
                </a:moveTo>
                <a:cubicBezTo>
                  <a:pt x="625026" y="-8705"/>
                  <a:pt x="864596" y="94456"/>
                  <a:pt x="1018102" y="256727"/>
                </a:cubicBezTo>
                <a:cubicBezTo>
                  <a:pt x="1155936" y="398727"/>
                  <a:pt x="1201342" y="588470"/>
                  <a:pt x="1133708" y="740037"/>
                </a:cubicBezTo>
                <a:cubicBezTo>
                  <a:pt x="1041090" y="949389"/>
                  <a:pt x="829924" y="1117629"/>
                  <a:pt x="620182" y="1149079"/>
                </a:cubicBezTo>
                <a:cubicBezTo>
                  <a:pt x="466105" y="1171057"/>
                  <a:pt x="321432" y="1119713"/>
                  <a:pt x="207537" y="1006132"/>
                </a:cubicBezTo>
                <a:cubicBezTo>
                  <a:pt x="172390" y="971083"/>
                  <a:pt x="140188" y="930159"/>
                  <a:pt x="111595" y="883647"/>
                </a:cubicBezTo>
                <a:cubicBezTo>
                  <a:pt x="-31558" y="651181"/>
                  <a:pt x="-37542" y="354772"/>
                  <a:pt x="96871" y="162661"/>
                </a:cubicBezTo>
                <a:cubicBezTo>
                  <a:pt x="175905" y="62721"/>
                  <a:pt x="288850" y="6736"/>
                  <a:pt x="423358" y="579"/>
                </a:cubicBezTo>
                <a:close/>
              </a:path>
            </a:pathLst>
          </a:custGeom>
        </p:spPr>
        <p:txBody>
          <a:bodyPr wrap="square" anchor="ctr">
            <a:noAutofit/>
          </a:bodyPr>
          <a:lstStyle>
            <a:lvl1pPr marL="0" indent="0" algn="ctr">
              <a:buNone/>
              <a:defRPr sz="1000">
                <a:solidFill>
                  <a:schemeClr val="bg1"/>
                </a:solidFill>
              </a:defRPr>
            </a:lvl1pPr>
          </a:lstStyle>
          <a:p>
            <a:r>
              <a:rPr lang="en-GB" dirty="0"/>
              <a:t>Click icon to add picture</a:t>
            </a:r>
          </a:p>
        </p:txBody>
      </p:sp>
      <p:sp>
        <p:nvSpPr>
          <p:cNvPr id="9" name="Picture Placeholder 70">
            <a:extLst>
              <a:ext uri="{FF2B5EF4-FFF2-40B4-BE49-F238E27FC236}">
                <a16:creationId xmlns:a16="http://schemas.microsoft.com/office/drawing/2014/main" id="{F44AAF14-9864-C522-76DD-39D054272F76}"/>
              </a:ext>
            </a:extLst>
          </p:cNvPr>
          <p:cNvSpPr>
            <a:spLocks noGrp="1"/>
          </p:cNvSpPr>
          <p:nvPr>
            <p:ph type="pic" sz="quarter" idx="20"/>
          </p:nvPr>
        </p:nvSpPr>
        <p:spPr>
          <a:xfrm>
            <a:off x="10402215" y="3608348"/>
            <a:ext cx="1107882" cy="1189061"/>
          </a:xfrm>
          <a:custGeom>
            <a:avLst/>
            <a:gdLst>
              <a:gd name="connsiteX0" fmla="*/ 615058 w 1107882"/>
              <a:gd name="connsiteY0" fmla="*/ 2108 h 1189061"/>
              <a:gd name="connsiteX1" fmla="*/ 868013 w 1107882"/>
              <a:gd name="connsiteY1" fmla="*/ 118717 h 1189061"/>
              <a:gd name="connsiteX2" fmla="*/ 1107567 w 1107882"/>
              <a:gd name="connsiteY2" fmla="*/ 719312 h 1189061"/>
              <a:gd name="connsiteX3" fmla="*/ 845915 w 1107882"/>
              <a:gd name="connsiteY3" fmla="*/ 1142638 h 1189061"/>
              <a:gd name="connsiteX4" fmla="*/ 190976 w 1107882"/>
              <a:gd name="connsiteY4" fmla="*/ 1069778 h 1189061"/>
              <a:gd name="connsiteX5" fmla="*/ 0 w 1107882"/>
              <a:gd name="connsiteY5" fmla="*/ 677624 h 1189061"/>
              <a:gd name="connsiteX6" fmla="*/ 19050 w 1107882"/>
              <a:gd name="connsiteY6" fmla="*/ 523283 h 1189061"/>
              <a:gd name="connsiteX7" fmla="*/ 521303 w 1107882"/>
              <a:gd name="connsiteY7" fmla="*/ 3032 h 1189061"/>
              <a:gd name="connsiteX8" fmla="*/ 615058 w 1107882"/>
              <a:gd name="connsiteY8" fmla="*/ 2108 h 118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882" h="1189061">
                <a:moveTo>
                  <a:pt x="615058" y="2108"/>
                </a:moveTo>
                <a:cubicBezTo>
                  <a:pt x="707065" y="11346"/>
                  <a:pt x="793218" y="50856"/>
                  <a:pt x="868013" y="118717"/>
                </a:cubicBezTo>
                <a:cubicBezTo>
                  <a:pt x="1017556" y="254394"/>
                  <a:pt x="1114139" y="496280"/>
                  <a:pt x="1107567" y="719312"/>
                </a:cubicBezTo>
                <a:cubicBezTo>
                  <a:pt x="1104329" y="916953"/>
                  <a:pt x="1001649" y="1083137"/>
                  <a:pt x="845915" y="1142638"/>
                </a:cubicBezTo>
                <a:cubicBezTo>
                  <a:pt x="631412" y="1225351"/>
                  <a:pt x="362045" y="1195411"/>
                  <a:pt x="190976" y="1069778"/>
                </a:cubicBezTo>
                <a:cubicBezTo>
                  <a:pt x="66104" y="976643"/>
                  <a:pt x="0" y="838313"/>
                  <a:pt x="0" y="677624"/>
                </a:cubicBezTo>
                <a:cubicBezTo>
                  <a:pt x="0" y="628072"/>
                  <a:pt x="6287" y="576435"/>
                  <a:pt x="19050" y="523283"/>
                </a:cubicBezTo>
                <a:cubicBezTo>
                  <a:pt x="82868" y="257994"/>
                  <a:pt x="289370" y="44152"/>
                  <a:pt x="521303" y="3032"/>
                </a:cubicBezTo>
                <a:cubicBezTo>
                  <a:pt x="553069" y="-687"/>
                  <a:pt x="584389" y="-971"/>
                  <a:pt x="615058" y="2108"/>
                </a:cubicBezTo>
                <a:close/>
              </a:path>
            </a:pathLst>
          </a:custGeom>
        </p:spPr>
        <p:txBody>
          <a:bodyPr wrap="square" anchor="ctr">
            <a:noAutofit/>
          </a:bodyPr>
          <a:lstStyle>
            <a:lvl1pPr marL="0" indent="0" algn="ctr">
              <a:buNone/>
              <a:defRPr sz="1000">
                <a:solidFill>
                  <a:schemeClr val="bg1"/>
                </a:solidFill>
              </a:defRPr>
            </a:lvl1pPr>
          </a:lstStyle>
          <a:p>
            <a:r>
              <a:rPr lang="en-GB" dirty="0"/>
              <a:t>Click icon to add picture</a:t>
            </a:r>
          </a:p>
        </p:txBody>
      </p:sp>
      <p:sp>
        <p:nvSpPr>
          <p:cNvPr id="10" name="Picture Placeholder 71">
            <a:extLst>
              <a:ext uri="{FF2B5EF4-FFF2-40B4-BE49-F238E27FC236}">
                <a16:creationId xmlns:a16="http://schemas.microsoft.com/office/drawing/2014/main" id="{D59DBC40-79B4-11A4-D6E6-9057D54002E1}"/>
              </a:ext>
            </a:extLst>
          </p:cNvPr>
          <p:cNvSpPr>
            <a:spLocks noGrp="1"/>
          </p:cNvSpPr>
          <p:nvPr>
            <p:ph type="pic" sz="quarter" idx="21"/>
          </p:nvPr>
        </p:nvSpPr>
        <p:spPr>
          <a:xfrm>
            <a:off x="10379124" y="2050622"/>
            <a:ext cx="1154064" cy="1164642"/>
          </a:xfrm>
          <a:custGeom>
            <a:avLst/>
            <a:gdLst>
              <a:gd name="connsiteX0" fmla="*/ 646043 w 1154064"/>
              <a:gd name="connsiteY0" fmla="*/ 144 h 1164642"/>
              <a:gd name="connsiteX1" fmla="*/ 991404 w 1154064"/>
              <a:gd name="connsiteY1" fmla="*/ 96881 h 1164642"/>
              <a:gd name="connsiteX2" fmla="*/ 1153391 w 1154064"/>
              <a:gd name="connsiteY2" fmla="*/ 423368 h 1164642"/>
              <a:gd name="connsiteX3" fmla="*/ 1153486 w 1154064"/>
              <a:gd name="connsiteY3" fmla="*/ 423368 h 1164642"/>
              <a:gd name="connsiteX4" fmla="*/ 897337 w 1154064"/>
              <a:gd name="connsiteY4" fmla="*/ 1018112 h 1164642"/>
              <a:gd name="connsiteX5" fmla="*/ 414027 w 1154064"/>
              <a:gd name="connsiteY5" fmla="*/ 1133717 h 1164642"/>
              <a:gd name="connsiteX6" fmla="*/ 4985 w 1154064"/>
              <a:gd name="connsiteY6" fmla="*/ 620191 h 1164642"/>
              <a:gd name="connsiteX7" fmla="*/ 147932 w 1154064"/>
              <a:gd name="connsiteY7" fmla="*/ 207451 h 1164642"/>
              <a:gd name="connsiteX8" fmla="*/ 270417 w 1154064"/>
              <a:gd name="connsiteY8" fmla="*/ 111510 h 1164642"/>
              <a:gd name="connsiteX9" fmla="*/ 646043 w 1154064"/>
              <a:gd name="connsiteY9" fmla="*/ 144 h 116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064" h="1164642">
                <a:moveTo>
                  <a:pt x="646043" y="144"/>
                </a:moveTo>
                <a:cubicBezTo>
                  <a:pt x="773218" y="-2433"/>
                  <a:pt x="895348" y="29674"/>
                  <a:pt x="991404" y="96881"/>
                </a:cubicBezTo>
                <a:cubicBezTo>
                  <a:pt x="1091248" y="175914"/>
                  <a:pt x="1147234" y="288954"/>
                  <a:pt x="1153391" y="423368"/>
                </a:cubicBezTo>
                <a:lnTo>
                  <a:pt x="1153486" y="423368"/>
                </a:lnTo>
                <a:cubicBezTo>
                  <a:pt x="1162769" y="625036"/>
                  <a:pt x="1059609" y="864605"/>
                  <a:pt x="897337" y="1018112"/>
                </a:cubicBezTo>
                <a:cubicBezTo>
                  <a:pt x="755338" y="1155945"/>
                  <a:pt x="565594" y="1201351"/>
                  <a:pt x="414027" y="1133717"/>
                </a:cubicBezTo>
                <a:cubicBezTo>
                  <a:pt x="204675" y="1041100"/>
                  <a:pt x="36435" y="829838"/>
                  <a:pt x="4985" y="620191"/>
                </a:cubicBezTo>
                <a:cubicBezTo>
                  <a:pt x="-16992" y="466114"/>
                  <a:pt x="34257" y="321442"/>
                  <a:pt x="147932" y="207451"/>
                </a:cubicBezTo>
                <a:cubicBezTo>
                  <a:pt x="182982" y="172304"/>
                  <a:pt x="223905" y="140102"/>
                  <a:pt x="270417" y="111510"/>
                </a:cubicBezTo>
                <a:cubicBezTo>
                  <a:pt x="386650" y="39981"/>
                  <a:pt x="518869" y="2720"/>
                  <a:pt x="646043" y="144"/>
                </a:cubicBezTo>
                <a:close/>
              </a:path>
            </a:pathLst>
          </a:custGeom>
        </p:spPr>
        <p:txBody>
          <a:bodyPr wrap="square" anchor="ctr">
            <a:noAutofit/>
          </a:bodyPr>
          <a:lstStyle>
            <a:lvl1pPr marL="0" indent="0" algn="ctr">
              <a:buNone/>
              <a:defRPr sz="1000">
                <a:solidFill>
                  <a:schemeClr val="bg1"/>
                </a:solidFill>
              </a:defRPr>
            </a:lvl1pPr>
          </a:lstStyle>
          <a:p>
            <a:r>
              <a:rPr lang="en-GB" dirty="0"/>
              <a:t>Click icon to add picture</a:t>
            </a:r>
          </a:p>
        </p:txBody>
      </p:sp>
      <p:sp>
        <p:nvSpPr>
          <p:cNvPr id="11" name="Picture Placeholder 46">
            <a:extLst>
              <a:ext uri="{FF2B5EF4-FFF2-40B4-BE49-F238E27FC236}">
                <a16:creationId xmlns:a16="http://schemas.microsoft.com/office/drawing/2014/main" id="{F04AB762-4CF8-5C82-6AD3-6CED58E97DED}"/>
              </a:ext>
            </a:extLst>
          </p:cNvPr>
          <p:cNvSpPr>
            <a:spLocks noGrp="1"/>
          </p:cNvSpPr>
          <p:nvPr>
            <p:ph type="pic" sz="quarter" idx="13"/>
          </p:nvPr>
        </p:nvSpPr>
        <p:spPr>
          <a:xfrm>
            <a:off x="6491422" y="2079002"/>
            <a:ext cx="1189060" cy="1107882"/>
          </a:xfrm>
          <a:custGeom>
            <a:avLst/>
            <a:gdLst>
              <a:gd name="connsiteX0" fmla="*/ 511437 w 1189060"/>
              <a:gd name="connsiteY0" fmla="*/ 0 h 1107882"/>
              <a:gd name="connsiteX1" fmla="*/ 665779 w 1189060"/>
              <a:gd name="connsiteY1" fmla="*/ 19050 h 1107882"/>
              <a:gd name="connsiteX2" fmla="*/ 1186029 w 1189060"/>
              <a:gd name="connsiteY2" fmla="*/ 521303 h 1107882"/>
              <a:gd name="connsiteX3" fmla="*/ 1070344 w 1189060"/>
              <a:gd name="connsiteY3" fmla="*/ 868013 h 1107882"/>
              <a:gd name="connsiteX4" fmla="*/ 469749 w 1189060"/>
              <a:gd name="connsiteY4" fmla="*/ 1107567 h 1107882"/>
              <a:gd name="connsiteX5" fmla="*/ 46424 w 1189060"/>
              <a:gd name="connsiteY5" fmla="*/ 845915 h 1107882"/>
              <a:gd name="connsiteX6" fmla="*/ 119284 w 1189060"/>
              <a:gd name="connsiteY6" fmla="*/ 190976 h 1107882"/>
              <a:gd name="connsiteX7" fmla="*/ 511437 w 1189060"/>
              <a:gd name="connsiteY7" fmla="*/ 0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511437" y="0"/>
                </a:moveTo>
                <a:cubicBezTo>
                  <a:pt x="560990" y="0"/>
                  <a:pt x="612626" y="6287"/>
                  <a:pt x="665779" y="19050"/>
                </a:cubicBezTo>
                <a:cubicBezTo>
                  <a:pt x="931068" y="82868"/>
                  <a:pt x="1144909" y="289370"/>
                  <a:pt x="1186029" y="521303"/>
                </a:cubicBezTo>
                <a:cubicBezTo>
                  <a:pt x="1200904" y="648367"/>
                  <a:pt x="1160827" y="768287"/>
                  <a:pt x="1070344" y="868013"/>
                </a:cubicBez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lose/>
              </a:path>
            </a:pathLst>
          </a:custGeom>
        </p:spPr>
        <p:txBody>
          <a:bodyPr wrap="square" anchor="ctr">
            <a:noAutofit/>
          </a:bodyPr>
          <a:lstStyle>
            <a:lvl1pPr marL="0" indent="0" algn="ctr">
              <a:buNone/>
              <a:defRPr sz="1000">
                <a:solidFill>
                  <a:schemeClr val="bg1"/>
                </a:solidFill>
              </a:defRPr>
            </a:lvl1pPr>
          </a:lstStyle>
          <a:p>
            <a:r>
              <a:rPr lang="en-GB" dirty="0"/>
              <a:t>Click icon to add picture</a:t>
            </a:r>
          </a:p>
        </p:txBody>
      </p:sp>
    </p:spTree>
    <p:extLst>
      <p:ext uri="{BB962C8B-B14F-4D97-AF65-F5344CB8AC3E}">
        <p14:creationId xmlns:p14="http://schemas.microsoft.com/office/powerpoint/2010/main" val="2769283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Ripple Right">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658813" y="549276"/>
            <a:ext cx="5113337" cy="1262530"/>
          </a:xfrm>
        </p:spPr>
        <p:txBody>
          <a:bodyPr anchor="b" anchorCtr="0">
            <a:noAutofit/>
          </a:bodyPr>
          <a:lstStyle>
            <a:lvl1pPr marL="0" indent="0">
              <a:lnSpc>
                <a:spcPct val="90000"/>
              </a:lnSpc>
              <a:spcBef>
                <a:spcPts val="0"/>
              </a:spcBef>
              <a:buNone/>
              <a:defRPr sz="4800" b="1">
                <a:solidFill>
                  <a:schemeClr val="tx2"/>
                </a:solidFill>
                <a:latin typeface="+mj-lt"/>
              </a:defRPr>
            </a:lvl1pPr>
          </a:lstStyle>
          <a:p>
            <a:pPr lvl="0"/>
            <a:r>
              <a:rPr lang="en-GB"/>
              <a:t>A captivating headline</a:t>
            </a:r>
          </a:p>
        </p:txBody>
      </p:sp>
      <p:sp>
        <p:nvSpPr>
          <p:cNvPr id="3" name="Graphic 2">
            <a:extLst>
              <a:ext uri="{FF2B5EF4-FFF2-40B4-BE49-F238E27FC236}">
                <a16:creationId xmlns:a16="http://schemas.microsoft.com/office/drawing/2014/main" id="{B25CF752-074D-9B3E-B631-8489DEFC32EC}"/>
              </a:ext>
            </a:extLst>
          </p:cNvPr>
          <p:cNvSpPr/>
          <p:nvPr userDrawn="1"/>
        </p:nvSpPr>
        <p:spPr>
          <a:xfrm>
            <a:off x="7594280"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accent2">
              <a:lumMod val="60000"/>
              <a:lumOff val="40000"/>
            </a:schemeClr>
          </a:solidFill>
          <a:ln w="6350" cap="flat">
            <a:noFill/>
            <a:prstDash val="solid"/>
            <a:miter/>
          </a:ln>
        </p:spPr>
        <p:txBody>
          <a:bodyPr rtlCol="0" anchor="ctr"/>
          <a:lstStyle/>
          <a:p>
            <a:endParaRPr lang="en-GB"/>
          </a:p>
        </p:txBody>
      </p:sp>
      <p:sp>
        <p:nvSpPr>
          <p:cNvPr id="10" name="Slide Number Placeholder 9">
            <a:extLst>
              <a:ext uri="{FF2B5EF4-FFF2-40B4-BE49-F238E27FC236}">
                <a16:creationId xmlns:a16="http://schemas.microsoft.com/office/drawing/2014/main" id="{A9648C54-60DB-26A4-D087-869DAC88F7B1}"/>
              </a:ext>
            </a:extLst>
          </p:cNvPr>
          <p:cNvSpPr>
            <a:spLocks noGrp="1"/>
          </p:cNvSpPr>
          <p:nvPr>
            <p:ph type="sldNum" sz="quarter" idx="18"/>
          </p:nvPr>
        </p:nvSpPr>
        <p:spPr/>
        <p:txBody>
          <a:bodyPr/>
          <a:lstStyle/>
          <a:p>
            <a:fld id="{0994303E-A424-9540-91A8-53B791C91E8F}" type="slidenum">
              <a:rPr lang="en-GB" smtClean="0"/>
              <a:pPr/>
              <a:t>‹#›</a:t>
            </a:fld>
            <a:endParaRPr lang="en-GB"/>
          </a:p>
        </p:txBody>
      </p:sp>
      <p:sp>
        <p:nvSpPr>
          <p:cNvPr id="35" name="Text Placeholder 9">
            <a:extLst>
              <a:ext uri="{FF2B5EF4-FFF2-40B4-BE49-F238E27FC236}">
                <a16:creationId xmlns:a16="http://schemas.microsoft.com/office/drawing/2014/main" id="{9EDF14DF-164B-0FF5-0DEA-DEF7FF36313F}"/>
              </a:ext>
            </a:extLst>
          </p:cNvPr>
          <p:cNvSpPr>
            <a:spLocks noGrp="1"/>
          </p:cNvSpPr>
          <p:nvPr>
            <p:ph type="body" sz="quarter" idx="19" hasCustomPrompt="1"/>
          </p:nvPr>
        </p:nvSpPr>
        <p:spPr>
          <a:xfrm>
            <a:off x="674160" y="1868607"/>
            <a:ext cx="5113338" cy="411162"/>
          </a:xfrm>
          <a:prstGeom prst="rect">
            <a:avLst/>
          </a:prstGeom>
        </p:spPr>
        <p:txBody>
          <a:bodyPr>
            <a:no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a:t>Subheading goes here</a:t>
            </a:r>
          </a:p>
        </p:txBody>
      </p:sp>
      <p:sp>
        <p:nvSpPr>
          <p:cNvPr id="37" name="Tijdelijke aanduiding voor tekst 36">
            <a:extLst>
              <a:ext uri="{FF2B5EF4-FFF2-40B4-BE49-F238E27FC236}">
                <a16:creationId xmlns:a16="http://schemas.microsoft.com/office/drawing/2014/main" id="{2D9287EE-287F-05C3-40A6-C95D840119CC}"/>
              </a:ext>
            </a:extLst>
          </p:cNvPr>
          <p:cNvSpPr>
            <a:spLocks noGrp="1"/>
          </p:cNvSpPr>
          <p:nvPr>
            <p:ph type="body" sz="quarter" idx="20" hasCustomPrompt="1"/>
          </p:nvPr>
        </p:nvSpPr>
        <p:spPr>
          <a:xfrm>
            <a:off x="658813" y="2577228"/>
            <a:ext cx="5113337" cy="3228260"/>
          </a:xfrm>
        </p:spPr>
        <p:txBody>
          <a:bodyPr/>
          <a:lstStyle/>
          <a:p>
            <a:pPr lvl="0"/>
            <a:r>
              <a:rPr lang="en-GB"/>
              <a:t>Plain text</a:t>
            </a:r>
          </a:p>
          <a:p>
            <a:pPr lvl="1"/>
            <a:r>
              <a:rPr lang="en-GB"/>
              <a:t>Bullet</a:t>
            </a:r>
          </a:p>
          <a:p>
            <a:pPr lvl="2"/>
            <a:r>
              <a:rPr lang="en-GB"/>
              <a:t>Sub-bullet</a:t>
            </a:r>
          </a:p>
          <a:p>
            <a:pPr lvl="3"/>
            <a:r>
              <a:rPr lang="en-GB"/>
              <a:t>Header #1</a:t>
            </a:r>
          </a:p>
          <a:p>
            <a:pPr lvl="4"/>
            <a:r>
              <a:rPr lang="en-GB"/>
              <a:t>Header #2</a:t>
            </a:r>
          </a:p>
        </p:txBody>
      </p:sp>
    </p:spTree>
    <p:extLst>
      <p:ext uri="{BB962C8B-B14F-4D97-AF65-F5344CB8AC3E}">
        <p14:creationId xmlns:p14="http://schemas.microsoft.com/office/powerpoint/2010/main" val="28808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amp; Twirl">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25B6C1A5-44FF-F1AD-DBF4-D4CCDB07A7E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Graphic 2">
            <a:extLst>
              <a:ext uri="{FF2B5EF4-FFF2-40B4-BE49-F238E27FC236}">
                <a16:creationId xmlns:a16="http://schemas.microsoft.com/office/drawing/2014/main" id="{2C9A5477-FA54-1B76-75EA-F9CE4CA68E22}"/>
              </a:ext>
            </a:extLst>
          </p:cNvPr>
          <p:cNvSpPr/>
          <p:nvPr userDrawn="1"/>
        </p:nvSpPr>
        <p:spPr>
          <a:xfrm>
            <a:off x="7594280"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accent2">
              <a:lumMod val="60000"/>
              <a:lumOff val="40000"/>
            </a:schemeClr>
          </a:solidFill>
          <a:ln w="6350" cap="flat">
            <a:noFill/>
            <a:prstDash val="solid"/>
            <a:miter/>
          </a:ln>
        </p:spPr>
        <p:txBody>
          <a:bodyPr rtlCol="0" anchor="ctr"/>
          <a:lstStyle/>
          <a:p>
            <a:endParaRPr lang="en-GB"/>
          </a:p>
        </p:txBody>
      </p:sp>
      <p:sp>
        <p:nvSpPr>
          <p:cNvPr id="10" name="Text Placeholder 9">
            <a:extLst>
              <a:ext uri="{FF2B5EF4-FFF2-40B4-BE49-F238E27FC236}">
                <a16:creationId xmlns:a16="http://schemas.microsoft.com/office/drawing/2014/main" id="{F865479B-4854-AF39-B9FB-ED1CC2C6FC47}"/>
              </a:ext>
            </a:extLst>
          </p:cNvPr>
          <p:cNvSpPr>
            <a:spLocks noGrp="1"/>
          </p:cNvSpPr>
          <p:nvPr>
            <p:ph type="body" sz="quarter" idx="18" hasCustomPrompt="1"/>
          </p:nvPr>
        </p:nvSpPr>
        <p:spPr>
          <a:xfrm>
            <a:off x="674159" y="1051658"/>
            <a:ext cx="10859029" cy="411162"/>
          </a:xfrm>
          <a:prstGeom prst="rect">
            <a:avLst/>
          </a:prstGeom>
        </p:spPr>
        <p:txBody>
          <a:bodyPr>
            <a:no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a:t>Subheading goes here</a:t>
            </a:r>
          </a:p>
        </p:txBody>
      </p:sp>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GB" smtClean="0"/>
              <a:pPr/>
              <a:t>‹#›</a:t>
            </a:fld>
            <a:endParaRPr lang="en-GB"/>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lvl1pPr>
              <a:defRPr>
                <a:solidFill>
                  <a:schemeClr val="tx2"/>
                </a:solidFill>
              </a:defRPr>
            </a:lvl1pPr>
          </a:lstStyle>
          <a:p>
            <a:r>
              <a:rPr lang="en-GB"/>
              <a:t>Regular heading goes here</a:t>
            </a:r>
          </a:p>
        </p:txBody>
      </p:sp>
    </p:spTree>
    <p:extLst>
      <p:ext uri="{BB962C8B-B14F-4D97-AF65-F5344CB8AC3E}">
        <p14:creationId xmlns:p14="http://schemas.microsoft.com/office/powerpoint/2010/main" val="1048301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25B6C1A5-44FF-F1AD-DBF4-D4CCDB07A7E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GB" smtClean="0"/>
              <a:pPr/>
              <a:t>‹#›</a:t>
            </a:fld>
            <a:endParaRPr lang="en-GB"/>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lvl1pPr>
              <a:defRPr>
                <a:solidFill>
                  <a:schemeClr val="tx2"/>
                </a:solidFill>
              </a:defRPr>
            </a:lvl1pPr>
          </a:lstStyle>
          <a:p>
            <a:r>
              <a:rPr lang="en-GB"/>
              <a:t>Regular heading goes here</a:t>
            </a:r>
          </a:p>
        </p:txBody>
      </p:sp>
      <p:sp>
        <p:nvSpPr>
          <p:cNvPr id="4" name="Text Placeholder 9">
            <a:extLst>
              <a:ext uri="{FF2B5EF4-FFF2-40B4-BE49-F238E27FC236}">
                <a16:creationId xmlns:a16="http://schemas.microsoft.com/office/drawing/2014/main" id="{2C531370-F196-1C33-7DC8-DBF0301C2AE1}"/>
              </a:ext>
            </a:extLst>
          </p:cNvPr>
          <p:cNvSpPr>
            <a:spLocks noGrp="1"/>
          </p:cNvSpPr>
          <p:nvPr>
            <p:ph type="body" sz="quarter" idx="18" hasCustomPrompt="1"/>
          </p:nvPr>
        </p:nvSpPr>
        <p:spPr>
          <a:xfrm>
            <a:off x="674159" y="1051658"/>
            <a:ext cx="10859029" cy="411162"/>
          </a:xfrm>
          <a:prstGeom prst="rect">
            <a:avLst/>
          </a:prstGeom>
        </p:spPr>
        <p:txBody>
          <a:bodyPr>
            <a:no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a:t>Subheading goes here</a:t>
            </a:r>
          </a:p>
        </p:txBody>
      </p:sp>
    </p:spTree>
    <p:extLst>
      <p:ext uri="{BB962C8B-B14F-4D97-AF65-F5344CB8AC3E}">
        <p14:creationId xmlns:p14="http://schemas.microsoft.com/office/powerpoint/2010/main" val="3757103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Light Gree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1D89FB0-6CFF-6E62-33F9-DC5EB8AA7D66}"/>
              </a:ext>
            </a:extLst>
          </p:cNvPr>
          <p:cNvSpPr>
            <a:spLocks noGrp="1"/>
          </p:cNvSpPr>
          <p:nvPr>
            <p:ph type="sldNum" sz="quarter" idx="10"/>
          </p:nvPr>
        </p:nvSpPr>
        <p:spPr/>
        <p:txBody>
          <a:bodyPr/>
          <a:lstStyle/>
          <a:p>
            <a:fld id="{0994303E-A424-9540-91A8-53B791C91E8F}" type="slidenum">
              <a:rPr lang="en-GB" smtClean="0"/>
              <a:pPr/>
              <a:t>‹#›</a:t>
            </a:fld>
            <a:endParaRPr lang="en-GB"/>
          </a:p>
        </p:txBody>
      </p:sp>
    </p:spTree>
    <p:extLst>
      <p:ext uri="{BB962C8B-B14F-4D97-AF65-F5344CB8AC3E}">
        <p14:creationId xmlns:p14="http://schemas.microsoft.com/office/powerpoint/2010/main" val="1631539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act Page (Final Slide)">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D336762B-12C6-AC7D-20A8-0BF19D420C4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6" name="Freeform 45">
            <a:extLst>
              <a:ext uri="{FF2B5EF4-FFF2-40B4-BE49-F238E27FC236}">
                <a16:creationId xmlns:a16="http://schemas.microsoft.com/office/drawing/2014/main" id="{ED58F06A-4E75-11CA-DD84-D82A28580E6C}"/>
              </a:ext>
            </a:extLst>
          </p:cNvPr>
          <p:cNvSpPr/>
          <p:nvPr userDrawn="1"/>
        </p:nvSpPr>
        <p:spPr>
          <a:xfrm rot="16200000">
            <a:off x="6526030" y="1192031"/>
            <a:ext cx="6858001" cy="4473941"/>
          </a:xfrm>
          <a:custGeom>
            <a:avLst/>
            <a:gdLst>
              <a:gd name="connsiteX0" fmla="*/ 6858001 w 6858001"/>
              <a:gd name="connsiteY0" fmla="*/ 1481976 h 4473941"/>
              <a:gd name="connsiteX1" fmla="*/ 6858001 w 6858001"/>
              <a:gd name="connsiteY1" fmla="*/ 4473941 h 4473941"/>
              <a:gd name="connsiteX2" fmla="*/ 0 w 6858001"/>
              <a:gd name="connsiteY2" fmla="*/ 4473940 h 4473941"/>
              <a:gd name="connsiteX3" fmla="*/ 0 w 6858001"/>
              <a:gd name="connsiteY3" fmla="*/ 1453992 h 4473941"/>
              <a:gd name="connsiteX4" fmla="*/ 180785 w 6858001"/>
              <a:gd name="connsiteY4" fmla="*/ 1237882 h 4473941"/>
              <a:gd name="connsiteX5" fmla="*/ 1224135 w 6858001"/>
              <a:gd name="connsiteY5" fmla="*/ 494665 h 4473941"/>
              <a:gd name="connsiteX6" fmla="*/ 6850143 w 6858001"/>
              <a:gd name="connsiteY6" fmla="*/ 1470727 h 447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1" h="4473941">
                <a:moveTo>
                  <a:pt x="6858001" y="1481976"/>
                </a:moveTo>
                <a:lnTo>
                  <a:pt x="6858001" y="4473941"/>
                </a:lnTo>
                <a:lnTo>
                  <a:pt x="0" y="4473940"/>
                </a:lnTo>
                <a:lnTo>
                  <a:pt x="0" y="1453992"/>
                </a:lnTo>
                <a:lnTo>
                  <a:pt x="180785" y="1237882"/>
                </a:lnTo>
                <a:cubicBezTo>
                  <a:pt x="455780" y="940752"/>
                  <a:pt x="802029" y="686848"/>
                  <a:pt x="1224135" y="494665"/>
                </a:cubicBezTo>
                <a:cubicBezTo>
                  <a:pt x="3073807" y="-359263"/>
                  <a:pt x="5639368" y="-153222"/>
                  <a:pt x="6850143" y="1470727"/>
                </a:cubicBezTo>
                <a:close/>
              </a:path>
            </a:pathLst>
          </a:custGeom>
          <a:solidFill>
            <a:schemeClr val="bg1"/>
          </a:solidFill>
          <a:ln w="6350" cap="flat">
            <a:noFill/>
            <a:prstDash val="solid"/>
            <a:miter/>
          </a:ln>
        </p:spPr>
        <p:txBody>
          <a:bodyPr wrap="square" rtlCol="0" anchor="ctr">
            <a:noAutofit/>
          </a:bodyPr>
          <a:lstStyle/>
          <a:p>
            <a:endParaRPr lang="en-GB"/>
          </a:p>
        </p:txBody>
      </p:sp>
      <p:sp>
        <p:nvSpPr>
          <p:cNvPr id="2" name="Text Placeholder 11">
            <a:extLst>
              <a:ext uri="{FF2B5EF4-FFF2-40B4-BE49-F238E27FC236}">
                <a16:creationId xmlns:a16="http://schemas.microsoft.com/office/drawing/2014/main" id="{E22C4AC5-96D3-7189-5886-4FE0212159BA}"/>
              </a:ext>
            </a:extLst>
          </p:cNvPr>
          <p:cNvSpPr>
            <a:spLocks noGrp="1"/>
          </p:cNvSpPr>
          <p:nvPr>
            <p:ph type="body" sz="quarter" idx="16" hasCustomPrompt="1"/>
          </p:nvPr>
        </p:nvSpPr>
        <p:spPr>
          <a:xfrm>
            <a:off x="658813" y="888335"/>
            <a:ext cx="5113337" cy="877403"/>
          </a:xfrm>
          <a:prstGeom prst="rect">
            <a:avLst/>
          </a:prstGeom>
        </p:spPr>
        <p:txBody>
          <a:bodyPr lIns="0">
            <a:noAutofit/>
          </a:bodyPr>
          <a:lstStyle>
            <a:lvl1pPr marL="0" indent="0">
              <a:lnSpc>
                <a:spcPct val="80000"/>
              </a:lnSpc>
              <a:buNone/>
              <a:defRPr sz="6600" b="1">
                <a:solidFill>
                  <a:srgbClr val="00625F"/>
                </a:solidFill>
                <a:latin typeface="+mj-lt"/>
              </a:defRPr>
            </a:lvl1pPr>
          </a:lstStyle>
          <a:p>
            <a:pPr lvl="0"/>
            <a:r>
              <a:rPr lang="en-GB"/>
              <a:t>Contact Us</a:t>
            </a:r>
          </a:p>
        </p:txBody>
      </p:sp>
      <p:sp>
        <p:nvSpPr>
          <p:cNvPr id="4" name="Text Placeholder 11">
            <a:extLst>
              <a:ext uri="{FF2B5EF4-FFF2-40B4-BE49-F238E27FC236}">
                <a16:creationId xmlns:a16="http://schemas.microsoft.com/office/drawing/2014/main" id="{C3B0FC59-A6B2-62AF-6E58-C250AB0F4720}"/>
              </a:ext>
            </a:extLst>
          </p:cNvPr>
          <p:cNvSpPr>
            <a:spLocks noGrp="1"/>
          </p:cNvSpPr>
          <p:nvPr>
            <p:ph type="body" sz="quarter" idx="19" hasCustomPrompt="1"/>
          </p:nvPr>
        </p:nvSpPr>
        <p:spPr>
          <a:xfrm>
            <a:off x="8684529" y="1765738"/>
            <a:ext cx="2848659" cy="571851"/>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1">
                <a:solidFill>
                  <a:srgbClr val="00625F"/>
                </a:solidFill>
              </a:defRPr>
            </a:lvl1pPr>
          </a:lstStyle>
          <a:p>
            <a:pPr lvl="0"/>
            <a:r>
              <a:rPr lang="en-GB"/>
              <a:t>Partners</a:t>
            </a:r>
          </a:p>
        </p:txBody>
      </p:sp>
      <p:sp>
        <p:nvSpPr>
          <p:cNvPr id="5" name="Text Placeholder 11">
            <a:extLst>
              <a:ext uri="{FF2B5EF4-FFF2-40B4-BE49-F238E27FC236}">
                <a16:creationId xmlns:a16="http://schemas.microsoft.com/office/drawing/2014/main" id="{9E83BBAB-1045-7AEF-2E19-E4B77CB02FEE}"/>
              </a:ext>
            </a:extLst>
          </p:cNvPr>
          <p:cNvSpPr>
            <a:spLocks noGrp="1"/>
          </p:cNvSpPr>
          <p:nvPr>
            <p:ph type="body" sz="quarter" idx="20" hasCustomPrompt="1"/>
          </p:nvPr>
        </p:nvSpPr>
        <p:spPr>
          <a:xfrm>
            <a:off x="658812" y="3787265"/>
            <a:ext cx="5113337" cy="447092"/>
          </a:xfrm>
          <a:prstGeom prst="rect">
            <a:avLst/>
          </a:prstGeom>
        </p:spPr>
        <p:txBody>
          <a:bodyPr lIns="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2400" b="1" i="0">
                <a:solidFill>
                  <a:srgbClr val="00625F"/>
                </a:solidFill>
                <a:latin typeface="+mj-lt"/>
                <a:cs typeface="Arial" panose="020B0604020202020204" pitchFamily="34" charset="0"/>
              </a:defRPr>
            </a:lvl1pPr>
          </a:lstStyle>
          <a:p>
            <a:pPr lvl="0"/>
            <a:r>
              <a:rPr lang="en-GB"/>
              <a:t>Name Surname</a:t>
            </a:r>
          </a:p>
        </p:txBody>
      </p:sp>
      <p:sp>
        <p:nvSpPr>
          <p:cNvPr id="9" name="Text Placeholder 11">
            <a:extLst>
              <a:ext uri="{FF2B5EF4-FFF2-40B4-BE49-F238E27FC236}">
                <a16:creationId xmlns:a16="http://schemas.microsoft.com/office/drawing/2014/main" id="{B96F8581-777C-F944-7BB7-C749DB8995F2}"/>
              </a:ext>
            </a:extLst>
          </p:cNvPr>
          <p:cNvSpPr>
            <a:spLocks noGrp="1"/>
          </p:cNvSpPr>
          <p:nvPr>
            <p:ph type="body" sz="quarter" idx="22" hasCustomPrompt="1"/>
          </p:nvPr>
        </p:nvSpPr>
        <p:spPr>
          <a:xfrm>
            <a:off x="658812" y="4348215"/>
            <a:ext cx="5113337" cy="962820"/>
          </a:xfrm>
          <a:prstGeom prst="rect">
            <a:avLst/>
          </a:prstGeom>
        </p:spPr>
        <p:txBody>
          <a:bodyPr lIns="0">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1"/>
                </a:solidFill>
              </a:defRPr>
            </a:lvl1pPr>
          </a:lstStyle>
          <a:p>
            <a:pPr lvl="0"/>
            <a:r>
              <a:rPr lang="en-GB"/>
              <a:t>Name of Job Position</a:t>
            </a:r>
          </a:p>
          <a:p>
            <a:pPr lvl="0"/>
            <a:r>
              <a:rPr lang="en-GB" err="1"/>
              <a:t>name@idhtrade.org</a:t>
            </a:r>
            <a:endParaRPr lang="en-GB"/>
          </a:p>
        </p:txBody>
      </p:sp>
      <p:pic>
        <p:nvPicPr>
          <p:cNvPr id="16" name="Picture 15" descr="Graphical user interface, text&#10;&#10;Description automatically generated">
            <a:extLst>
              <a:ext uri="{FF2B5EF4-FFF2-40B4-BE49-F238E27FC236}">
                <a16:creationId xmlns:a16="http://schemas.microsoft.com/office/drawing/2014/main" id="{C2F429DD-6783-6D1F-03DD-3FCD7D374DC9}"/>
              </a:ext>
            </a:extLst>
          </p:cNvPr>
          <p:cNvPicPr>
            <a:picLocks noChangeAspect="1"/>
          </p:cNvPicPr>
          <p:nvPr userDrawn="1"/>
        </p:nvPicPr>
        <p:blipFill>
          <a:blip r:embed="rId3"/>
          <a:stretch>
            <a:fillRect/>
          </a:stretch>
        </p:blipFill>
        <p:spPr>
          <a:xfrm>
            <a:off x="8798437" y="2483316"/>
            <a:ext cx="2722792" cy="1242274"/>
          </a:xfrm>
          <a:prstGeom prst="rect">
            <a:avLst/>
          </a:prstGeom>
        </p:spPr>
      </p:pic>
      <p:pic>
        <p:nvPicPr>
          <p:cNvPr id="18" name="Picture 17" descr="Graphical user interface, text, application&#10;&#10;Description automatically generated">
            <a:extLst>
              <a:ext uri="{FF2B5EF4-FFF2-40B4-BE49-F238E27FC236}">
                <a16:creationId xmlns:a16="http://schemas.microsoft.com/office/drawing/2014/main" id="{8A975317-6BC8-AC61-CFC7-F779B29C063D}"/>
              </a:ext>
            </a:extLst>
          </p:cNvPr>
          <p:cNvPicPr>
            <a:picLocks noChangeAspect="1"/>
          </p:cNvPicPr>
          <p:nvPr userDrawn="1"/>
        </p:nvPicPr>
        <p:blipFill>
          <a:blip r:embed="rId4"/>
          <a:stretch>
            <a:fillRect/>
          </a:stretch>
        </p:blipFill>
        <p:spPr>
          <a:xfrm>
            <a:off x="8711162" y="3980828"/>
            <a:ext cx="3068779" cy="1520566"/>
          </a:xfrm>
          <a:prstGeom prst="rect">
            <a:avLst/>
          </a:prstGeom>
        </p:spPr>
      </p:pic>
      <p:grpSp>
        <p:nvGrpSpPr>
          <p:cNvPr id="47" name="Graphic 77">
            <a:extLst>
              <a:ext uri="{FF2B5EF4-FFF2-40B4-BE49-F238E27FC236}">
                <a16:creationId xmlns:a16="http://schemas.microsoft.com/office/drawing/2014/main" id="{D3DB2466-759A-BEE6-FD80-51C730E1EB6E}"/>
              </a:ext>
            </a:extLst>
          </p:cNvPr>
          <p:cNvGrpSpPr>
            <a:grpSpLocks noChangeAspect="1"/>
          </p:cNvGrpSpPr>
          <p:nvPr userDrawn="1"/>
        </p:nvGrpSpPr>
        <p:grpSpPr>
          <a:xfrm>
            <a:off x="658813" y="5600144"/>
            <a:ext cx="1935718" cy="708581"/>
            <a:chOff x="4489439" y="2838428"/>
            <a:chExt cx="3217768" cy="1177883"/>
          </a:xfrm>
          <a:solidFill>
            <a:schemeClr val="bg1"/>
          </a:solidFill>
        </p:grpSpPr>
        <p:sp>
          <p:nvSpPr>
            <p:cNvPr id="48" name="Freeform 47">
              <a:extLst>
                <a:ext uri="{FF2B5EF4-FFF2-40B4-BE49-F238E27FC236}">
                  <a16:creationId xmlns:a16="http://schemas.microsoft.com/office/drawing/2014/main" id="{770B7D1E-71B1-1F4B-E7B4-3B362402317E}"/>
                </a:ext>
              </a:extLst>
            </p:cNvPr>
            <p:cNvSpPr/>
            <p:nvPr/>
          </p:nvSpPr>
          <p:spPr>
            <a:xfrm>
              <a:off x="4489439" y="2838428"/>
              <a:ext cx="3217388" cy="1177883"/>
            </a:xfrm>
            <a:custGeom>
              <a:avLst/>
              <a:gdLst>
                <a:gd name="connsiteX0" fmla="*/ 1527089 w 3217388"/>
                <a:gd name="connsiteY0" fmla="*/ 295107 h 1177883"/>
                <a:gd name="connsiteX1" fmla="*/ 1705520 w 3217388"/>
                <a:gd name="connsiteY1" fmla="*/ 295107 h 1177883"/>
                <a:gd name="connsiteX2" fmla="*/ 1705520 w 3217388"/>
                <a:gd name="connsiteY2" fmla="*/ 947283 h 1177883"/>
                <a:gd name="connsiteX3" fmla="*/ 1527089 w 3217388"/>
                <a:gd name="connsiteY3" fmla="*/ 947283 h 1177883"/>
                <a:gd name="connsiteX4" fmla="*/ 1527089 w 3217388"/>
                <a:gd name="connsiteY4" fmla="*/ 295107 h 1177883"/>
                <a:gd name="connsiteX5" fmla="*/ 2318481 w 3217388"/>
                <a:gd name="connsiteY5" fmla="*/ 4403 h 1177883"/>
                <a:gd name="connsiteX6" fmla="*/ 2318481 w 3217388"/>
                <a:gd name="connsiteY6" fmla="*/ 386070 h 1177883"/>
                <a:gd name="connsiteX7" fmla="*/ 2100884 w 3217388"/>
                <a:gd name="connsiteY7" fmla="*/ 274533 h 1177883"/>
                <a:gd name="connsiteX8" fmla="*/ 1939848 w 3217388"/>
                <a:gd name="connsiteY8" fmla="*/ 318919 h 1177883"/>
                <a:gd name="connsiteX9" fmla="*/ 1819785 w 3217388"/>
                <a:gd name="connsiteY9" fmla="*/ 441792 h 1177883"/>
                <a:gd name="connsiteX10" fmla="*/ 1776817 w 3217388"/>
                <a:gd name="connsiteY10" fmla="*/ 620576 h 1177883"/>
                <a:gd name="connsiteX11" fmla="*/ 1819785 w 3217388"/>
                <a:gd name="connsiteY11" fmla="*/ 800027 h 1177883"/>
                <a:gd name="connsiteX12" fmla="*/ 1940419 w 3217388"/>
                <a:gd name="connsiteY12" fmla="*/ 922899 h 1177883"/>
                <a:gd name="connsiteX13" fmla="*/ 2111816 w 3217388"/>
                <a:gd name="connsiteY13" fmla="*/ 966619 h 1177883"/>
                <a:gd name="connsiteX14" fmla="*/ 2318481 w 3217388"/>
                <a:gd name="connsiteY14" fmla="*/ 864606 h 1177883"/>
                <a:gd name="connsiteX15" fmla="*/ 2318481 w 3217388"/>
                <a:gd name="connsiteY15" fmla="*/ 947283 h 1177883"/>
                <a:gd name="connsiteX16" fmla="*/ 2496913 w 3217388"/>
                <a:gd name="connsiteY16" fmla="*/ 947283 h 1177883"/>
                <a:gd name="connsiteX17" fmla="*/ 2496913 w 3217388"/>
                <a:gd name="connsiteY17" fmla="*/ 4403 h 1177883"/>
                <a:gd name="connsiteX18" fmla="*/ 2318481 w 3217388"/>
                <a:gd name="connsiteY18" fmla="*/ 4403 h 1177883"/>
                <a:gd name="connsiteX19" fmla="*/ 2146323 w 3217388"/>
                <a:gd name="connsiteY19" fmla="*/ 813648 h 1177883"/>
                <a:gd name="connsiteX20" fmla="*/ 1957815 w 3217388"/>
                <a:gd name="connsiteY20" fmla="*/ 620576 h 1177883"/>
                <a:gd name="connsiteX21" fmla="*/ 2146323 w 3217388"/>
                <a:gd name="connsiteY21" fmla="*/ 427504 h 1177883"/>
                <a:gd name="connsiteX22" fmla="*/ 2334832 w 3217388"/>
                <a:gd name="connsiteY22" fmla="*/ 620576 h 1177883"/>
                <a:gd name="connsiteX23" fmla="*/ 2146323 w 3217388"/>
                <a:gd name="connsiteY23" fmla="*/ 813648 h 1177883"/>
                <a:gd name="connsiteX24" fmla="*/ 3186113 w 3217388"/>
                <a:gd name="connsiteY24" fmla="*/ 403787 h 1177883"/>
                <a:gd name="connsiteX25" fmla="*/ 3097515 w 3217388"/>
                <a:gd name="connsiteY25" fmla="*/ 307298 h 1177883"/>
                <a:gd name="connsiteX26" fmla="*/ 2959485 w 3217388"/>
                <a:gd name="connsiteY26" fmla="*/ 274533 h 1177883"/>
                <a:gd name="connsiteX27" fmla="*/ 2759189 w 3217388"/>
                <a:gd name="connsiteY27" fmla="*/ 385975 h 1177883"/>
                <a:gd name="connsiteX28" fmla="*/ 2759189 w 3217388"/>
                <a:gd name="connsiteY28" fmla="*/ 4403 h 1177883"/>
                <a:gd name="connsiteX29" fmla="*/ 2580567 w 3217388"/>
                <a:gd name="connsiteY29" fmla="*/ 4403 h 1177883"/>
                <a:gd name="connsiteX30" fmla="*/ 2580567 w 3217388"/>
                <a:gd name="connsiteY30" fmla="*/ 947283 h 1177883"/>
                <a:gd name="connsiteX31" fmla="*/ 2759094 w 3217388"/>
                <a:gd name="connsiteY31" fmla="*/ 947283 h 1177883"/>
                <a:gd name="connsiteX32" fmla="*/ 2759094 w 3217388"/>
                <a:gd name="connsiteY32" fmla="*/ 598097 h 1177883"/>
                <a:gd name="connsiteX33" fmla="*/ 2902162 w 3217388"/>
                <a:gd name="connsiteY33" fmla="*/ 429219 h 1177883"/>
                <a:gd name="connsiteX34" fmla="*/ 3038957 w 3217388"/>
                <a:gd name="connsiteY34" fmla="*/ 598097 h 1177883"/>
                <a:gd name="connsiteX35" fmla="*/ 3038957 w 3217388"/>
                <a:gd name="connsiteY35" fmla="*/ 947283 h 1177883"/>
                <a:gd name="connsiteX36" fmla="*/ 3217388 w 3217388"/>
                <a:gd name="connsiteY36" fmla="*/ 947283 h 1177883"/>
                <a:gd name="connsiteX37" fmla="*/ 3217388 w 3217388"/>
                <a:gd name="connsiteY37" fmla="*/ 560092 h 1177883"/>
                <a:gd name="connsiteX38" fmla="*/ 3185923 w 3217388"/>
                <a:gd name="connsiteY38" fmla="*/ 403787 h 1177883"/>
                <a:gd name="connsiteX39" fmla="*/ 1731282 w 3217388"/>
                <a:gd name="connsiteY39" fmla="*/ 100701 h 1177883"/>
                <a:gd name="connsiteX40" fmla="*/ 1615972 w 3217388"/>
                <a:gd name="connsiteY40" fmla="*/ 216906 h 1177883"/>
                <a:gd name="connsiteX41" fmla="*/ 1507221 w 3217388"/>
                <a:gd name="connsiteY41" fmla="*/ 156803 h 1177883"/>
                <a:gd name="connsiteX42" fmla="*/ 1560836 w 3217388"/>
                <a:gd name="connsiteY42" fmla="*/ 8499 h 1177883"/>
                <a:gd name="connsiteX43" fmla="*/ 1731187 w 3217388"/>
                <a:gd name="connsiteY43" fmla="*/ 100606 h 1177883"/>
                <a:gd name="connsiteX44" fmla="*/ 1731187 w 3217388"/>
                <a:gd name="connsiteY44" fmla="*/ 100606 h 1177883"/>
                <a:gd name="connsiteX45" fmla="*/ 243274 w 3217388"/>
                <a:gd name="connsiteY45" fmla="*/ 1020912 h 1177883"/>
                <a:gd name="connsiteX46" fmla="*/ 250974 w 3217388"/>
                <a:gd name="connsiteY46" fmla="*/ 1046439 h 1177883"/>
                <a:gd name="connsiteX47" fmla="*/ 217798 w 3217388"/>
                <a:gd name="connsiteY47" fmla="*/ 1047010 h 1177883"/>
                <a:gd name="connsiteX48" fmla="*/ 198975 w 3217388"/>
                <a:gd name="connsiteY48" fmla="*/ 1012625 h 1177883"/>
                <a:gd name="connsiteX49" fmla="*/ 243274 w 3217388"/>
                <a:gd name="connsiteY49" fmla="*/ 1020912 h 1177883"/>
                <a:gd name="connsiteX50" fmla="*/ 848820 w 3217388"/>
                <a:gd name="connsiteY50" fmla="*/ 564283 h 1177883"/>
                <a:gd name="connsiteX51" fmla="*/ 826290 w 3217388"/>
                <a:gd name="connsiteY51" fmla="*/ 650103 h 1177883"/>
                <a:gd name="connsiteX52" fmla="*/ 712121 w 3217388"/>
                <a:gd name="connsiteY52" fmla="*/ 716302 h 1177883"/>
                <a:gd name="connsiteX53" fmla="*/ 683507 w 3217388"/>
                <a:gd name="connsiteY53" fmla="*/ 719255 h 1177883"/>
                <a:gd name="connsiteX54" fmla="*/ 564489 w 3217388"/>
                <a:gd name="connsiteY54" fmla="*/ 646103 h 1177883"/>
                <a:gd name="connsiteX55" fmla="*/ 631223 w 3217388"/>
                <a:gd name="connsiteY55" fmla="*/ 446173 h 1177883"/>
                <a:gd name="connsiteX56" fmla="*/ 765451 w 3217388"/>
                <a:gd name="connsiteY56" fmla="*/ 454841 h 1177883"/>
                <a:gd name="connsiteX57" fmla="*/ 848915 w 3217388"/>
                <a:gd name="connsiteY57" fmla="*/ 563997 h 1177883"/>
                <a:gd name="connsiteX58" fmla="*/ 848915 w 3217388"/>
                <a:gd name="connsiteY58" fmla="*/ 564188 h 1177883"/>
                <a:gd name="connsiteX59" fmla="*/ 808039 w 3217388"/>
                <a:gd name="connsiteY59" fmla="*/ 570760 h 1177883"/>
                <a:gd name="connsiteX60" fmla="*/ 718680 w 3217388"/>
                <a:gd name="connsiteY60" fmla="*/ 484749 h 1177883"/>
                <a:gd name="connsiteX61" fmla="*/ 692158 w 3217388"/>
                <a:gd name="connsiteY61" fmla="*/ 481511 h 1177883"/>
                <a:gd name="connsiteX62" fmla="*/ 624759 w 3217388"/>
                <a:gd name="connsiteY62" fmla="*/ 514182 h 1177883"/>
                <a:gd name="connsiteX63" fmla="*/ 612211 w 3217388"/>
                <a:gd name="connsiteY63" fmla="*/ 626291 h 1177883"/>
                <a:gd name="connsiteX64" fmla="*/ 684933 w 3217388"/>
                <a:gd name="connsiteY64" fmla="*/ 671058 h 1177883"/>
                <a:gd name="connsiteX65" fmla="*/ 788076 w 3217388"/>
                <a:gd name="connsiteY65" fmla="*/ 630006 h 1177883"/>
                <a:gd name="connsiteX66" fmla="*/ 807943 w 3217388"/>
                <a:gd name="connsiteY66" fmla="*/ 570665 h 1177883"/>
                <a:gd name="connsiteX67" fmla="*/ 893024 w 3217388"/>
                <a:gd name="connsiteY67" fmla="*/ 502656 h 1177883"/>
                <a:gd name="connsiteX68" fmla="*/ 838173 w 3217388"/>
                <a:gd name="connsiteY68" fmla="*/ 782977 h 1177883"/>
                <a:gd name="connsiteX69" fmla="*/ 677043 w 3217388"/>
                <a:gd name="connsiteY69" fmla="*/ 846414 h 1177883"/>
                <a:gd name="connsiteX70" fmla="*/ 622097 w 3217388"/>
                <a:gd name="connsiteY70" fmla="*/ 840508 h 1177883"/>
                <a:gd name="connsiteX71" fmla="*/ 418569 w 3217388"/>
                <a:gd name="connsiteY71" fmla="*/ 675059 h 1177883"/>
                <a:gd name="connsiteX72" fmla="*/ 419710 w 3217388"/>
                <a:gd name="connsiteY72" fmla="*/ 475224 h 1177883"/>
                <a:gd name="connsiteX73" fmla="*/ 569147 w 3217388"/>
                <a:gd name="connsiteY73" fmla="*/ 334254 h 1177883"/>
                <a:gd name="connsiteX74" fmla="*/ 753663 w 3217388"/>
                <a:gd name="connsiteY74" fmla="*/ 342922 h 1177883"/>
                <a:gd name="connsiteX75" fmla="*/ 893024 w 3217388"/>
                <a:gd name="connsiteY75" fmla="*/ 502561 h 1177883"/>
                <a:gd name="connsiteX76" fmla="*/ 880381 w 3217388"/>
                <a:gd name="connsiteY76" fmla="*/ 507323 h 1177883"/>
                <a:gd name="connsiteX77" fmla="*/ 880381 w 3217388"/>
                <a:gd name="connsiteY77" fmla="*/ 507323 h 1177883"/>
                <a:gd name="connsiteX78" fmla="*/ 670198 w 3217388"/>
                <a:gd name="connsiteY78" fmla="*/ 370449 h 1177883"/>
                <a:gd name="connsiteX79" fmla="*/ 669153 w 3217388"/>
                <a:gd name="connsiteY79" fmla="*/ 370449 h 1177883"/>
                <a:gd name="connsiteX80" fmla="*/ 485588 w 3217388"/>
                <a:gd name="connsiteY80" fmla="*/ 460746 h 1177883"/>
                <a:gd name="connsiteX81" fmla="*/ 448704 w 3217388"/>
                <a:gd name="connsiteY81" fmla="*/ 664391 h 1177883"/>
                <a:gd name="connsiteX82" fmla="*/ 557170 w 3217388"/>
                <a:gd name="connsiteY82" fmla="*/ 793264 h 1177883"/>
                <a:gd name="connsiteX83" fmla="*/ 734270 w 3217388"/>
                <a:gd name="connsiteY83" fmla="*/ 794121 h 1177883"/>
                <a:gd name="connsiteX84" fmla="*/ 880381 w 3217388"/>
                <a:gd name="connsiteY84" fmla="*/ 507419 h 1177883"/>
                <a:gd name="connsiteX85" fmla="*/ 634645 w 3217388"/>
                <a:gd name="connsiteY85" fmla="*/ 996051 h 1177883"/>
                <a:gd name="connsiteX86" fmla="*/ 488535 w 3217388"/>
                <a:gd name="connsiteY86" fmla="*/ 966524 h 1177883"/>
                <a:gd name="connsiteX87" fmla="*/ 255062 w 3217388"/>
                <a:gd name="connsiteY87" fmla="*/ 426742 h 1177883"/>
                <a:gd name="connsiteX88" fmla="*/ 580460 w 3217388"/>
                <a:gd name="connsiteY88" fmla="*/ 157280 h 1177883"/>
                <a:gd name="connsiteX89" fmla="*/ 969359 w 3217388"/>
                <a:gd name="connsiteY89" fmla="*/ 317490 h 1177883"/>
                <a:gd name="connsiteX90" fmla="*/ 1014704 w 3217388"/>
                <a:gd name="connsiteY90" fmla="*/ 721255 h 1177883"/>
                <a:gd name="connsiteX91" fmla="*/ 785129 w 3217388"/>
                <a:gd name="connsiteY91" fmla="*/ 964714 h 1177883"/>
                <a:gd name="connsiteX92" fmla="*/ 634645 w 3217388"/>
                <a:gd name="connsiteY92" fmla="*/ 996051 h 1177883"/>
                <a:gd name="connsiteX93" fmla="*/ 1002631 w 3217388"/>
                <a:gd name="connsiteY93" fmla="*/ 716493 h 1177883"/>
                <a:gd name="connsiteX94" fmla="*/ 945593 w 3217388"/>
                <a:gd name="connsiteY94" fmla="*/ 359496 h 1177883"/>
                <a:gd name="connsiteX95" fmla="*/ 637212 w 3217388"/>
                <a:gd name="connsiteY95" fmla="*/ 204333 h 1177883"/>
                <a:gd name="connsiteX96" fmla="*/ 590156 w 3217388"/>
                <a:gd name="connsiteY96" fmla="*/ 207191 h 1177883"/>
                <a:gd name="connsiteX97" fmla="*/ 284151 w 3217388"/>
                <a:gd name="connsiteY97" fmla="*/ 438077 h 1177883"/>
                <a:gd name="connsiteX98" fmla="*/ 376456 w 3217388"/>
                <a:gd name="connsiteY98" fmla="*/ 851748 h 1177883"/>
                <a:gd name="connsiteX99" fmla="*/ 744632 w 3217388"/>
                <a:gd name="connsiteY99" fmla="*/ 937568 h 1177883"/>
                <a:gd name="connsiteX100" fmla="*/ 1002536 w 3217388"/>
                <a:gd name="connsiteY100" fmla="*/ 716493 h 1177883"/>
                <a:gd name="connsiteX101" fmla="*/ 1002536 w 3217388"/>
                <a:gd name="connsiteY101" fmla="*/ 716493 h 1177883"/>
                <a:gd name="connsiteX102" fmla="*/ 43834 w 3217388"/>
                <a:gd name="connsiteY102" fmla="*/ 569617 h 1177883"/>
                <a:gd name="connsiteX103" fmla="*/ 240328 w 3217388"/>
                <a:gd name="connsiteY103" fmla="*/ 192998 h 1177883"/>
                <a:gd name="connsiteX104" fmla="*/ 636451 w 3217388"/>
                <a:gd name="connsiteY104" fmla="*/ 44408 h 1177883"/>
                <a:gd name="connsiteX105" fmla="*/ 1012897 w 3217388"/>
                <a:gd name="connsiteY105" fmla="*/ 220240 h 1177883"/>
                <a:gd name="connsiteX106" fmla="*/ 1019742 w 3217388"/>
                <a:gd name="connsiteY106" fmla="*/ 223955 h 1177883"/>
                <a:gd name="connsiteX107" fmla="*/ 1027537 w 3217388"/>
                <a:gd name="connsiteY107" fmla="*/ 221288 h 1177883"/>
                <a:gd name="connsiteX108" fmla="*/ 1030674 w 3217388"/>
                <a:gd name="connsiteY108" fmla="*/ 213668 h 1177883"/>
                <a:gd name="connsiteX109" fmla="*/ 1027822 w 3217388"/>
                <a:gd name="connsiteY109" fmla="*/ 206905 h 1177883"/>
                <a:gd name="connsiteX110" fmla="*/ 565345 w 3217388"/>
                <a:gd name="connsiteY110" fmla="*/ 212 h 1177883"/>
                <a:gd name="connsiteX111" fmla="*/ 119504 w 3217388"/>
                <a:gd name="connsiteY111" fmla="*/ 229765 h 1177883"/>
                <a:gd name="connsiteX112" fmla="*/ 148402 w 3217388"/>
                <a:gd name="connsiteY112" fmla="*/ 978049 h 1177883"/>
                <a:gd name="connsiteX113" fmla="*/ 152775 w 3217388"/>
                <a:gd name="connsiteY113" fmla="*/ 982907 h 1177883"/>
                <a:gd name="connsiteX114" fmla="*/ 155057 w 3217388"/>
                <a:gd name="connsiteY114" fmla="*/ 985383 h 1177883"/>
                <a:gd name="connsiteX115" fmla="*/ 156198 w 3217388"/>
                <a:gd name="connsiteY115" fmla="*/ 986050 h 1177883"/>
                <a:gd name="connsiteX116" fmla="*/ 162852 w 3217388"/>
                <a:gd name="connsiteY116" fmla="*/ 987860 h 1177883"/>
                <a:gd name="connsiteX117" fmla="*/ 166464 w 3217388"/>
                <a:gd name="connsiteY117" fmla="*/ 987384 h 1177883"/>
                <a:gd name="connsiteX118" fmla="*/ 173974 w 3217388"/>
                <a:gd name="connsiteY118" fmla="*/ 981383 h 1177883"/>
                <a:gd name="connsiteX119" fmla="*/ 172168 w 3217388"/>
                <a:gd name="connsiteY119" fmla="*/ 967191 h 1177883"/>
                <a:gd name="connsiteX120" fmla="*/ 43929 w 3217388"/>
                <a:gd name="connsiteY120" fmla="*/ 569712 h 1177883"/>
                <a:gd name="connsiteX121" fmla="*/ 1172032 w 3217388"/>
                <a:gd name="connsiteY121" fmla="*/ 561997 h 1177883"/>
                <a:gd name="connsiteX122" fmla="*/ 1171651 w 3217388"/>
                <a:gd name="connsiteY122" fmla="*/ 559902 h 1177883"/>
                <a:gd name="connsiteX123" fmla="*/ 1159578 w 3217388"/>
                <a:gd name="connsiteY123" fmla="*/ 550853 h 1177883"/>
                <a:gd name="connsiteX124" fmla="*/ 1150738 w 3217388"/>
                <a:gd name="connsiteY124" fmla="*/ 555520 h 1177883"/>
                <a:gd name="connsiteX125" fmla="*/ 1148076 w 3217388"/>
                <a:gd name="connsiteY125" fmla="*/ 565521 h 1177883"/>
                <a:gd name="connsiteX126" fmla="*/ 1074403 w 3217388"/>
                <a:gd name="connsiteY126" fmla="*/ 861939 h 1177883"/>
                <a:gd name="connsiteX127" fmla="*/ 621241 w 3217388"/>
                <a:gd name="connsiteY127" fmla="*/ 1150642 h 1177883"/>
                <a:gd name="connsiteX128" fmla="*/ 609169 w 3217388"/>
                <a:gd name="connsiteY128" fmla="*/ 1165692 h 1177883"/>
                <a:gd name="connsiteX129" fmla="*/ 620481 w 3217388"/>
                <a:gd name="connsiteY129" fmla="*/ 1177693 h 1177883"/>
                <a:gd name="connsiteX130" fmla="*/ 621432 w 3217388"/>
                <a:gd name="connsiteY130" fmla="*/ 1177884 h 1177883"/>
                <a:gd name="connsiteX131" fmla="*/ 622382 w 3217388"/>
                <a:gd name="connsiteY131" fmla="*/ 1177884 h 1177883"/>
                <a:gd name="connsiteX132" fmla="*/ 664685 w 3217388"/>
                <a:gd name="connsiteY132" fmla="*/ 1174264 h 1177883"/>
                <a:gd name="connsiteX133" fmla="*/ 1045599 w 3217388"/>
                <a:gd name="connsiteY133" fmla="*/ 963285 h 1177883"/>
                <a:gd name="connsiteX134" fmla="*/ 1172032 w 3217388"/>
                <a:gd name="connsiteY134" fmla="*/ 561997 h 1177883"/>
                <a:gd name="connsiteX135" fmla="*/ 1170130 w 3217388"/>
                <a:gd name="connsiteY135" fmla="*/ 489226 h 1177883"/>
                <a:gd name="connsiteX136" fmla="*/ 1142657 w 3217388"/>
                <a:gd name="connsiteY136" fmla="*/ 363591 h 1177883"/>
                <a:gd name="connsiteX137" fmla="*/ 1115565 w 3217388"/>
                <a:gd name="connsiteY137" fmla="*/ 352923 h 1177883"/>
                <a:gd name="connsiteX138" fmla="*/ 1114804 w 3217388"/>
                <a:gd name="connsiteY138" fmla="*/ 389975 h 1177883"/>
                <a:gd name="connsiteX139" fmla="*/ 1145414 w 3217388"/>
                <a:gd name="connsiteY139" fmla="*/ 486559 h 1177883"/>
                <a:gd name="connsiteX140" fmla="*/ 1158913 w 3217388"/>
                <a:gd name="connsiteY140" fmla="*/ 501418 h 1177883"/>
                <a:gd name="connsiteX141" fmla="*/ 1170130 w 3217388"/>
                <a:gd name="connsiteY141" fmla="*/ 489321 h 117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217388" h="1177883">
                  <a:moveTo>
                    <a:pt x="1527089" y="295107"/>
                  </a:moveTo>
                  <a:lnTo>
                    <a:pt x="1705520" y="295107"/>
                  </a:lnTo>
                  <a:lnTo>
                    <a:pt x="1705520" y="947283"/>
                  </a:lnTo>
                  <a:lnTo>
                    <a:pt x="1527089" y="947283"/>
                  </a:lnTo>
                  <a:lnTo>
                    <a:pt x="1527089" y="295107"/>
                  </a:lnTo>
                  <a:close/>
                  <a:moveTo>
                    <a:pt x="2318481" y="4403"/>
                  </a:moveTo>
                  <a:lnTo>
                    <a:pt x="2318481" y="386070"/>
                  </a:lnTo>
                  <a:cubicBezTo>
                    <a:pt x="2295095" y="345779"/>
                    <a:pt x="2216669" y="274533"/>
                    <a:pt x="2100884" y="274533"/>
                  </a:cubicBezTo>
                  <a:cubicBezTo>
                    <a:pt x="2046888" y="274533"/>
                    <a:pt x="1991182" y="289296"/>
                    <a:pt x="1939848" y="318919"/>
                  </a:cubicBezTo>
                  <a:cubicBezTo>
                    <a:pt x="1888515" y="348542"/>
                    <a:pt x="1848494" y="389499"/>
                    <a:pt x="1819785" y="441792"/>
                  </a:cubicBezTo>
                  <a:cubicBezTo>
                    <a:pt x="1791076" y="494084"/>
                    <a:pt x="1776817" y="553710"/>
                    <a:pt x="1776817" y="620576"/>
                  </a:cubicBezTo>
                  <a:cubicBezTo>
                    <a:pt x="1776817" y="687441"/>
                    <a:pt x="1791171" y="747258"/>
                    <a:pt x="1819785" y="800027"/>
                  </a:cubicBezTo>
                  <a:cubicBezTo>
                    <a:pt x="1848399" y="852795"/>
                    <a:pt x="1888705" y="893753"/>
                    <a:pt x="1940419" y="922899"/>
                  </a:cubicBezTo>
                  <a:cubicBezTo>
                    <a:pt x="1992228" y="952046"/>
                    <a:pt x="2048409" y="966619"/>
                    <a:pt x="2111816" y="966619"/>
                  </a:cubicBezTo>
                  <a:cubicBezTo>
                    <a:pt x="2223704" y="966619"/>
                    <a:pt x="2302605" y="899182"/>
                    <a:pt x="2318481" y="864606"/>
                  </a:cubicBezTo>
                  <a:lnTo>
                    <a:pt x="2318481" y="947283"/>
                  </a:lnTo>
                  <a:cubicBezTo>
                    <a:pt x="2318481" y="947283"/>
                    <a:pt x="2496913" y="947283"/>
                    <a:pt x="2496913" y="947283"/>
                  </a:cubicBezTo>
                  <a:lnTo>
                    <a:pt x="2496913" y="4403"/>
                  </a:lnTo>
                  <a:lnTo>
                    <a:pt x="2318481" y="4403"/>
                  </a:lnTo>
                  <a:close/>
                  <a:moveTo>
                    <a:pt x="2146323" y="813648"/>
                  </a:moveTo>
                  <a:cubicBezTo>
                    <a:pt x="2030633" y="813648"/>
                    <a:pt x="1957815" y="728304"/>
                    <a:pt x="1957815" y="620576"/>
                  </a:cubicBezTo>
                  <a:cubicBezTo>
                    <a:pt x="1957815" y="512848"/>
                    <a:pt x="2030252" y="427504"/>
                    <a:pt x="2146323" y="427504"/>
                  </a:cubicBezTo>
                  <a:cubicBezTo>
                    <a:pt x="2262394" y="427504"/>
                    <a:pt x="2334832" y="512848"/>
                    <a:pt x="2334832" y="620576"/>
                  </a:cubicBezTo>
                  <a:cubicBezTo>
                    <a:pt x="2334832" y="728304"/>
                    <a:pt x="2260398" y="813648"/>
                    <a:pt x="2146323" y="813648"/>
                  </a:cubicBezTo>
                  <a:close/>
                  <a:moveTo>
                    <a:pt x="3186113" y="403787"/>
                  </a:moveTo>
                  <a:cubicBezTo>
                    <a:pt x="3165104" y="361305"/>
                    <a:pt x="3135635" y="329206"/>
                    <a:pt x="3097515" y="307298"/>
                  </a:cubicBezTo>
                  <a:cubicBezTo>
                    <a:pt x="3059395" y="285391"/>
                    <a:pt x="3013480" y="274533"/>
                    <a:pt x="2959485" y="274533"/>
                  </a:cubicBezTo>
                  <a:cubicBezTo>
                    <a:pt x="2848832" y="274533"/>
                    <a:pt x="2777441" y="350351"/>
                    <a:pt x="2759189" y="385975"/>
                  </a:cubicBezTo>
                  <a:lnTo>
                    <a:pt x="2759189" y="4403"/>
                  </a:lnTo>
                  <a:lnTo>
                    <a:pt x="2580567" y="4403"/>
                  </a:lnTo>
                  <a:lnTo>
                    <a:pt x="2580567" y="947283"/>
                  </a:lnTo>
                  <a:lnTo>
                    <a:pt x="2759094" y="947283"/>
                  </a:lnTo>
                  <a:lnTo>
                    <a:pt x="2759094" y="598097"/>
                  </a:lnTo>
                  <a:cubicBezTo>
                    <a:pt x="2759094" y="495227"/>
                    <a:pt x="2816987" y="429219"/>
                    <a:pt x="2902162" y="429219"/>
                  </a:cubicBezTo>
                  <a:cubicBezTo>
                    <a:pt x="2947792" y="429219"/>
                    <a:pt x="3038957" y="462175"/>
                    <a:pt x="3038957" y="598097"/>
                  </a:cubicBezTo>
                  <a:lnTo>
                    <a:pt x="3038957" y="947283"/>
                  </a:lnTo>
                  <a:lnTo>
                    <a:pt x="3217388" y="947283"/>
                  </a:lnTo>
                  <a:lnTo>
                    <a:pt x="3217388" y="560092"/>
                  </a:lnTo>
                  <a:cubicBezTo>
                    <a:pt x="3217388" y="498370"/>
                    <a:pt x="3206932" y="446268"/>
                    <a:pt x="3185923" y="403787"/>
                  </a:cubicBezTo>
                  <a:close/>
                  <a:moveTo>
                    <a:pt x="1731282" y="100701"/>
                  </a:moveTo>
                  <a:cubicBezTo>
                    <a:pt x="1740503" y="166900"/>
                    <a:pt x="1673104" y="211667"/>
                    <a:pt x="1615972" y="216906"/>
                  </a:cubicBezTo>
                  <a:cubicBezTo>
                    <a:pt x="1570342" y="223193"/>
                    <a:pt x="1522621" y="204333"/>
                    <a:pt x="1507221" y="156803"/>
                  </a:cubicBezTo>
                  <a:cubicBezTo>
                    <a:pt x="1489539" y="102987"/>
                    <a:pt x="1506555" y="32978"/>
                    <a:pt x="1560836" y="8499"/>
                  </a:cubicBezTo>
                  <a:cubicBezTo>
                    <a:pt x="1627474" y="-20266"/>
                    <a:pt x="1718163" y="27359"/>
                    <a:pt x="1731187" y="100606"/>
                  </a:cubicBezTo>
                  <a:lnTo>
                    <a:pt x="1731187" y="100606"/>
                  </a:lnTo>
                  <a:close/>
                  <a:moveTo>
                    <a:pt x="243274" y="1020912"/>
                  </a:moveTo>
                  <a:cubicBezTo>
                    <a:pt x="251735" y="1025864"/>
                    <a:pt x="257819" y="1034437"/>
                    <a:pt x="250974" y="1046439"/>
                  </a:cubicBezTo>
                  <a:cubicBezTo>
                    <a:pt x="244130" y="1058440"/>
                    <a:pt x="225213" y="1053297"/>
                    <a:pt x="217798" y="1047010"/>
                  </a:cubicBezTo>
                  <a:cubicBezTo>
                    <a:pt x="206961" y="1037771"/>
                    <a:pt x="194793" y="1016816"/>
                    <a:pt x="198975" y="1012625"/>
                  </a:cubicBezTo>
                  <a:cubicBezTo>
                    <a:pt x="203158" y="1008434"/>
                    <a:pt x="234814" y="1015959"/>
                    <a:pt x="243274" y="1020912"/>
                  </a:cubicBezTo>
                  <a:close/>
                  <a:moveTo>
                    <a:pt x="848820" y="564283"/>
                  </a:moveTo>
                  <a:cubicBezTo>
                    <a:pt x="853383" y="594382"/>
                    <a:pt x="845588" y="624100"/>
                    <a:pt x="826290" y="650103"/>
                  </a:cubicBezTo>
                  <a:cubicBezTo>
                    <a:pt x="800814" y="684489"/>
                    <a:pt x="757085" y="709825"/>
                    <a:pt x="712121" y="716302"/>
                  </a:cubicBezTo>
                  <a:cubicBezTo>
                    <a:pt x="702900" y="718302"/>
                    <a:pt x="693299" y="719255"/>
                    <a:pt x="683507" y="719255"/>
                  </a:cubicBezTo>
                  <a:cubicBezTo>
                    <a:pt x="635406" y="719255"/>
                    <a:pt x="583692" y="695157"/>
                    <a:pt x="564489" y="646103"/>
                  </a:cubicBezTo>
                  <a:cubicBezTo>
                    <a:pt x="536161" y="577332"/>
                    <a:pt x="556219" y="480558"/>
                    <a:pt x="631223" y="446173"/>
                  </a:cubicBezTo>
                  <a:cubicBezTo>
                    <a:pt x="672955" y="428361"/>
                    <a:pt x="721912" y="431504"/>
                    <a:pt x="765451" y="454841"/>
                  </a:cubicBezTo>
                  <a:cubicBezTo>
                    <a:pt x="809750" y="478558"/>
                    <a:pt x="840170" y="518372"/>
                    <a:pt x="848915" y="563997"/>
                  </a:cubicBezTo>
                  <a:lnTo>
                    <a:pt x="848915" y="564188"/>
                  </a:lnTo>
                  <a:close/>
                  <a:moveTo>
                    <a:pt x="808039" y="570760"/>
                  </a:moveTo>
                  <a:cubicBezTo>
                    <a:pt x="801004" y="531041"/>
                    <a:pt x="764215" y="495703"/>
                    <a:pt x="718680" y="484749"/>
                  </a:cubicBezTo>
                  <a:cubicBezTo>
                    <a:pt x="709554" y="482559"/>
                    <a:pt x="700713" y="481511"/>
                    <a:pt x="692158" y="481511"/>
                  </a:cubicBezTo>
                  <a:cubicBezTo>
                    <a:pt x="664590" y="481511"/>
                    <a:pt x="640824" y="492846"/>
                    <a:pt x="624759" y="514182"/>
                  </a:cubicBezTo>
                  <a:cubicBezTo>
                    <a:pt x="603180" y="543423"/>
                    <a:pt x="598046" y="589620"/>
                    <a:pt x="612211" y="626291"/>
                  </a:cubicBezTo>
                  <a:cubicBezTo>
                    <a:pt x="622477" y="652961"/>
                    <a:pt x="650996" y="670487"/>
                    <a:pt x="684933" y="671058"/>
                  </a:cubicBezTo>
                  <a:cubicBezTo>
                    <a:pt x="723243" y="672201"/>
                    <a:pt x="764785" y="655628"/>
                    <a:pt x="788076" y="630006"/>
                  </a:cubicBezTo>
                  <a:cubicBezTo>
                    <a:pt x="803666" y="612956"/>
                    <a:pt x="810510" y="592382"/>
                    <a:pt x="807943" y="570665"/>
                  </a:cubicBezTo>
                  <a:close/>
                  <a:moveTo>
                    <a:pt x="893024" y="502656"/>
                  </a:moveTo>
                  <a:cubicBezTo>
                    <a:pt x="924014" y="587715"/>
                    <a:pt x="919166" y="707444"/>
                    <a:pt x="838173" y="782977"/>
                  </a:cubicBezTo>
                  <a:cubicBezTo>
                    <a:pt x="794730" y="824411"/>
                    <a:pt x="737883" y="846414"/>
                    <a:pt x="677043" y="846414"/>
                  </a:cubicBezTo>
                  <a:cubicBezTo>
                    <a:pt x="658981" y="846414"/>
                    <a:pt x="640634" y="844509"/>
                    <a:pt x="622097" y="840508"/>
                  </a:cubicBezTo>
                  <a:cubicBezTo>
                    <a:pt x="530742" y="821172"/>
                    <a:pt x="452791" y="757736"/>
                    <a:pt x="418569" y="675059"/>
                  </a:cubicBezTo>
                  <a:cubicBezTo>
                    <a:pt x="391096" y="613241"/>
                    <a:pt x="391476" y="540375"/>
                    <a:pt x="419710" y="475224"/>
                  </a:cubicBezTo>
                  <a:cubicBezTo>
                    <a:pt x="448609" y="408454"/>
                    <a:pt x="503079" y="357019"/>
                    <a:pt x="569147" y="334254"/>
                  </a:cubicBezTo>
                  <a:cubicBezTo>
                    <a:pt x="631413" y="311966"/>
                    <a:pt x="695200" y="315014"/>
                    <a:pt x="753663" y="342922"/>
                  </a:cubicBezTo>
                  <a:cubicBezTo>
                    <a:pt x="817165" y="373307"/>
                    <a:pt x="867928" y="431409"/>
                    <a:pt x="893024" y="502561"/>
                  </a:cubicBezTo>
                  <a:close/>
                  <a:moveTo>
                    <a:pt x="880381" y="507323"/>
                  </a:moveTo>
                  <a:lnTo>
                    <a:pt x="880381" y="507323"/>
                  </a:lnTo>
                  <a:cubicBezTo>
                    <a:pt x="851957" y="425885"/>
                    <a:pt x="765356" y="369497"/>
                    <a:pt x="670198" y="370449"/>
                  </a:cubicBezTo>
                  <a:cubicBezTo>
                    <a:pt x="669818" y="370449"/>
                    <a:pt x="669533" y="370449"/>
                    <a:pt x="669153" y="370449"/>
                  </a:cubicBezTo>
                  <a:cubicBezTo>
                    <a:pt x="595765" y="370449"/>
                    <a:pt x="528936" y="403311"/>
                    <a:pt x="485588" y="460746"/>
                  </a:cubicBezTo>
                  <a:cubicBezTo>
                    <a:pt x="441859" y="518658"/>
                    <a:pt x="428360" y="592858"/>
                    <a:pt x="448704" y="664391"/>
                  </a:cubicBezTo>
                  <a:cubicBezTo>
                    <a:pt x="465720" y="722493"/>
                    <a:pt x="504220" y="768309"/>
                    <a:pt x="557170" y="793264"/>
                  </a:cubicBezTo>
                  <a:cubicBezTo>
                    <a:pt x="611735" y="818982"/>
                    <a:pt x="676378" y="819267"/>
                    <a:pt x="734270" y="794121"/>
                  </a:cubicBezTo>
                  <a:cubicBezTo>
                    <a:pt x="839029" y="752307"/>
                    <a:pt x="924680" y="624291"/>
                    <a:pt x="880381" y="507419"/>
                  </a:cubicBezTo>
                  <a:close/>
                  <a:moveTo>
                    <a:pt x="634645" y="996051"/>
                  </a:moveTo>
                  <a:cubicBezTo>
                    <a:pt x="585118" y="996051"/>
                    <a:pt x="535686" y="986241"/>
                    <a:pt x="488535" y="966524"/>
                  </a:cubicBezTo>
                  <a:cubicBezTo>
                    <a:pt x="287383" y="883371"/>
                    <a:pt x="180438" y="636197"/>
                    <a:pt x="255062" y="426742"/>
                  </a:cubicBezTo>
                  <a:cubicBezTo>
                    <a:pt x="305065" y="281391"/>
                    <a:pt x="426744" y="180616"/>
                    <a:pt x="580460" y="157280"/>
                  </a:cubicBezTo>
                  <a:cubicBezTo>
                    <a:pt x="733605" y="134039"/>
                    <a:pt x="878955" y="193856"/>
                    <a:pt x="969359" y="317490"/>
                  </a:cubicBezTo>
                  <a:cubicBezTo>
                    <a:pt x="1049972" y="427790"/>
                    <a:pt x="1067748" y="586286"/>
                    <a:pt x="1014704" y="721255"/>
                  </a:cubicBezTo>
                  <a:cubicBezTo>
                    <a:pt x="972876" y="831078"/>
                    <a:pt x="889127" y="919851"/>
                    <a:pt x="785129" y="964714"/>
                  </a:cubicBezTo>
                  <a:cubicBezTo>
                    <a:pt x="736647" y="985574"/>
                    <a:pt x="685599" y="996051"/>
                    <a:pt x="634645" y="996051"/>
                  </a:cubicBezTo>
                  <a:close/>
                  <a:moveTo>
                    <a:pt x="1002631" y="716493"/>
                  </a:moveTo>
                  <a:cubicBezTo>
                    <a:pt x="1047975" y="601907"/>
                    <a:pt x="1025541" y="461794"/>
                    <a:pt x="945593" y="359496"/>
                  </a:cubicBezTo>
                  <a:cubicBezTo>
                    <a:pt x="870019" y="260340"/>
                    <a:pt x="757180" y="204333"/>
                    <a:pt x="637212" y="204333"/>
                  </a:cubicBezTo>
                  <a:cubicBezTo>
                    <a:pt x="621622" y="204333"/>
                    <a:pt x="605937" y="205286"/>
                    <a:pt x="590156" y="207191"/>
                  </a:cubicBezTo>
                  <a:cubicBezTo>
                    <a:pt x="454407" y="223669"/>
                    <a:pt x="339953" y="309966"/>
                    <a:pt x="284151" y="438077"/>
                  </a:cubicBezTo>
                  <a:cubicBezTo>
                    <a:pt x="221410" y="578952"/>
                    <a:pt x="260196" y="752878"/>
                    <a:pt x="376456" y="851748"/>
                  </a:cubicBezTo>
                  <a:cubicBezTo>
                    <a:pt x="472089" y="937187"/>
                    <a:pt x="613066" y="970048"/>
                    <a:pt x="744632" y="937568"/>
                  </a:cubicBezTo>
                  <a:cubicBezTo>
                    <a:pt x="866882" y="907469"/>
                    <a:pt x="960898" y="826887"/>
                    <a:pt x="1002536" y="716493"/>
                  </a:cubicBezTo>
                  <a:lnTo>
                    <a:pt x="1002536" y="716493"/>
                  </a:lnTo>
                  <a:close/>
                  <a:moveTo>
                    <a:pt x="43834" y="569617"/>
                  </a:moveTo>
                  <a:cubicBezTo>
                    <a:pt x="57713" y="426551"/>
                    <a:pt x="127584" y="292725"/>
                    <a:pt x="240328" y="192998"/>
                  </a:cubicBezTo>
                  <a:cubicBezTo>
                    <a:pt x="352881" y="93462"/>
                    <a:pt x="493478" y="40598"/>
                    <a:pt x="636451" y="44408"/>
                  </a:cubicBezTo>
                  <a:cubicBezTo>
                    <a:pt x="781516" y="48218"/>
                    <a:pt x="915174" y="110607"/>
                    <a:pt x="1012897" y="220240"/>
                  </a:cubicBezTo>
                  <a:cubicBezTo>
                    <a:pt x="1014609" y="222335"/>
                    <a:pt x="1017080" y="223669"/>
                    <a:pt x="1019742" y="223955"/>
                  </a:cubicBezTo>
                  <a:cubicBezTo>
                    <a:pt x="1022594" y="224241"/>
                    <a:pt x="1025541" y="223288"/>
                    <a:pt x="1027537" y="221288"/>
                  </a:cubicBezTo>
                  <a:cubicBezTo>
                    <a:pt x="1029628" y="219383"/>
                    <a:pt x="1030769" y="216525"/>
                    <a:pt x="1030674" y="213668"/>
                  </a:cubicBezTo>
                  <a:cubicBezTo>
                    <a:pt x="1030674" y="211096"/>
                    <a:pt x="1029533" y="208715"/>
                    <a:pt x="1027822" y="206905"/>
                  </a:cubicBezTo>
                  <a:cubicBezTo>
                    <a:pt x="912512" y="70888"/>
                    <a:pt x="743967" y="-4264"/>
                    <a:pt x="565345" y="212"/>
                  </a:cubicBezTo>
                  <a:cubicBezTo>
                    <a:pt x="389765" y="4784"/>
                    <a:pt x="227304" y="88414"/>
                    <a:pt x="119504" y="229765"/>
                  </a:cubicBezTo>
                  <a:cubicBezTo>
                    <a:pt x="-50277" y="450459"/>
                    <a:pt x="-37824" y="772214"/>
                    <a:pt x="148402" y="978049"/>
                  </a:cubicBezTo>
                  <a:cubicBezTo>
                    <a:pt x="149828" y="979668"/>
                    <a:pt x="151349" y="981287"/>
                    <a:pt x="152775" y="982907"/>
                  </a:cubicBezTo>
                  <a:lnTo>
                    <a:pt x="155057" y="985383"/>
                  </a:lnTo>
                  <a:lnTo>
                    <a:pt x="156198" y="986050"/>
                  </a:lnTo>
                  <a:cubicBezTo>
                    <a:pt x="158194" y="987193"/>
                    <a:pt x="160570" y="987860"/>
                    <a:pt x="162852" y="987860"/>
                  </a:cubicBezTo>
                  <a:cubicBezTo>
                    <a:pt x="164088" y="987860"/>
                    <a:pt x="165228" y="987669"/>
                    <a:pt x="166464" y="987384"/>
                  </a:cubicBezTo>
                  <a:cubicBezTo>
                    <a:pt x="169696" y="986431"/>
                    <a:pt x="172453" y="984240"/>
                    <a:pt x="173974" y="981383"/>
                  </a:cubicBezTo>
                  <a:cubicBezTo>
                    <a:pt x="176351" y="976906"/>
                    <a:pt x="175685" y="971477"/>
                    <a:pt x="172168" y="967191"/>
                  </a:cubicBezTo>
                  <a:cubicBezTo>
                    <a:pt x="75300" y="856129"/>
                    <a:pt x="29765" y="714968"/>
                    <a:pt x="43929" y="569712"/>
                  </a:cubicBezTo>
                  <a:close/>
                  <a:moveTo>
                    <a:pt x="1172032" y="561997"/>
                  </a:moveTo>
                  <a:lnTo>
                    <a:pt x="1171651" y="559902"/>
                  </a:lnTo>
                  <a:cubicBezTo>
                    <a:pt x="1169940" y="554377"/>
                    <a:pt x="1164997" y="550567"/>
                    <a:pt x="1159578" y="550853"/>
                  </a:cubicBezTo>
                  <a:cubicBezTo>
                    <a:pt x="1156156" y="550948"/>
                    <a:pt x="1152924" y="552663"/>
                    <a:pt x="1150738" y="555520"/>
                  </a:cubicBezTo>
                  <a:cubicBezTo>
                    <a:pt x="1148551" y="558378"/>
                    <a:pt x="1147601" y="561902"/>
                    <a:pt x="1148076" y="565521"/>
                  </a:cubicBezTo>
                  <a:cubicBezTo>
                    <a:pt x="1151118" y="670677"/>
                    <a:pt x="1125641" y="773166"/>
                    <a:pt x="1074403" y="861939"/>
                  </a:cubicBezTo>
                  <a:cubicBezTo>
                    <a:pt x="980957" y="1028532"/>
                    <a:pt x="811746" y="1136450"/>
                    <a:pt x="621241" y="1150642"/>
                  </a:cubicBezTo>
                  <a:cubicBezTo>
                    <a:pt x="613827" y="1151595"/>
                    <a:pt x="608408" y="1158357"/>
                    <a:pt x="609169" y="1165692"/>
                  </a:cubicBezTo>
                  <a:cubicBezTo>
                    <a:pt x="609834" y="1171692"/>
                    <a:pt x="614397" y="1176550"/>
                    <a:pt x="620481" y="1177693"/>
                  </a:cubicBezTo>
                  <a:lnTo>
                    <a:pt x="621432" y="1177884"/>
                  </a:lnTo>
                  <a:lnTo>
                    <a:pt x="622382" y="1177884"/>
                  </a:lnTo>
                  <a:cubicBezTo>
                    <a:pt x="636642" y="1177217"/>
                    <a:pt x="650901" y="1175979"/>
                    <a:pt x="664685" y="1174264"/>
                  </a:cubicBezTo>
                  <a:cubicBezTo>
                    <a:pt x="816689" y="1155976"/>
                    <a:pt x="951963" y="1081014"/>
                    <a:pt x="1045599" y="963285"/>
                  </a:cubicBezTo>
                  <a:cubicBezTo>
                    <a:pt x="1135813" y="849843"/>
                    <a:pt x="1180682" y="707349"/>
                    <a:pt x="1172032" y="561997"/>
                  </a:cubicBezTo>
                  <a:close/>
                  <a:moveTo>
                    <a:pt x="1170130" y="489226"/>
                  </a:moveTo>
                  <a:cubicBezTo>
                    <a:pt x="1175073" y="468938"/>
                    <a:pt x="1167849" y="393595"/>
                    <a:pt x="1142657" y="363591"/>
                  </a:cubicBezTo>
                  <a:cubicBezTo>
                    <a:pt x="1134957" y="354352"/>
                    <a:pt x="1125831" y="346732"/>
                    <a:pt x="1115565" y="352923"/>
                  </a:cubicBezTo>
                  <a:cubicBezTo>
                    <a:pt x="1101876" y="361115"/>
                    <a:pt x="1104728" y="376069"/>
                    <a:pt x="1114804" y="389975"/>
                  </a:cubicBezTo>
                  <a:cubicBezTo>
                    <a:pt x="1131725" y="413407"/>
                    <a:pt x="1144559" y="466271"/>
                    <a:pt x="1145414" y="486559"/>
                  </a:cubicBezTo>
                  <a:cubicBezTo>
                    <a:pt x="1145794" y="495322"/>
                    <a:pt x="1151783" y="501227"/>
                    <a:pt x="1158913" y="501418"/>
                  </a:cubicBezTo>
                  <a:cubicBezTo>
                    <a:pt x="1166043" y="501513"/>
                    <a:pt x="1168039" y="497894"/>
                    <a:pt x="1170130" y="489321"/>
                  </a:cubicBezTo>
                  <a:close/>
                </a:path>
              </a:pathLst>
            </a:custGeom>
            <a:grpFill/>
            <a:ln w="9497" cap="flat">
              <a:noFill/>
              <a:prstDash val="solid"/>
              <a:miter/>
            </a:ln>
          </p:spPr>
          <p:txBody>
            <a:bodyPr rtlCol="0" anchor="ctr"/>
            <a:lstStyle/>
            <a:p>
              <a:endParaRPr lang="en-GB"/>
            </a:p>
          </p:txBody>
        </p:sp>
        <p:grpSp>
          <p:nvGrpSpPr>
            <p:cNvPr id="49" name="Graphic 77">
              <a:extLst>
                <a:ext uri="{FF2B5EF4-FFF2-40B4-BE49-F238E27FC236}">
                  <a16:creationId xmlns:a16="http://schemas.microsoft.com/office/drawing/2014/main" id="{847AADAB-68C7-3BC2-44F1-DFC4872A755F}"/>
                </a:ext>
              </a:extLst>
            </p:cNvPr>
            <p:cNvGrpSpPr/>
            <p:nvPr/>
          </p:nvGrpSpPr>
          <p:grpSpPr>
            <a:xfrm>
              <a:off x="6016337" y="3871817"/>
              <a:ext cx="1690870" cy="144494"/>
              <a:chOff x="6016337" y="3871817"/>
              <a:chExt cx="1690870" cy="144494"/>
            </a:xfrm>
            <a:grpFill/>
          </p:grpSpPr>
          <p:sp>
            <p:nvSpPr>
              <p:cNvPr id="50" name="Freeform 49">
                <a:extLst>
                  <a:ext uri="{FF2B5EF4-FFF2-40B4-BE49-F238E27FC236}">
                    <a16:creationId xmlns:a16="http://schemas.microsoft.com/office/drawing/2014/main" id="{E01A9E02-8F80-0939-C380-1E2040C1D97F}"/>
                  </a:ext>
                </a:extLst>
              </p:cNvPr>
              <p:cNvSpPr/>
              <p:nvPr/>
            </p:nvSpPr>
            <p:spPr>
              <a:xfrm>
                <a:off x="6016337"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2"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32B76A16-BDF6-6B65-E312-8438BA646BD2}"/>
                  </a:ext>
                </a:extLst>
              </p:cNvPr>
              <p:cNvSpPr/>
              <p:nvPr/>
            </p:nvSpPr>
            <p:spPr>
              <a:xfrm>
                <a:off x="6086303" y="3904773"/>
                <a:ext cx="70250" cy="78295"/>
              </a:xfrm>
              <a:custGeom>
                <a:avLst/>
                <a:gdLst>
                  <a:gd name="connsiteX0" fmla="*/ 0 w 70250"/>
                  <a:gd name="connsiteY0" fmla="*/ 1238 h 78295"/>
                  <a:gd name="connsiteX1" fmla="*/ 17492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1 w 70250"/>
                  <a:gd name="connsiteY8" fmla="*/ 34004 h 78295"/>
                  <a:gd name="connsiteX9" fmla="*/ 38976 w 70250"/>
                  <a:gd name="connsiteY9" fmla="*/ 14954 h 78295"/>
                  <a:gd name="connsiteX10" fmla="*/ 17492 w 70250"/>
                  <a:gd name="connsiteY10" fmla="*/ 44577 h 78295"/>
                  <a:gd name="connsiteX11" fmla="*/ 17492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2"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1" y="37624"/>
                      <a:pt x="54281" y="34004"/>
                    </a:cubicBezTo>
                    <a:cubicBezTo>
                      <a:pt x="54281" y="21050"/>
                      <a:pt x="49337" y="14954"/>
                      <a:pt x="38976" y="14954"/>
                    </a:cubicBezTo>
                    <a:cubicBezTo>
                      <a:pt x="25762" y="14954"/>
                      <a:pt x="17492" y="26194"/>
                      <a:pt x="17492" y="44577"/>
                    </a:cubicBezTo>
                    <a:lnTo>
                      <a:pt x="17492" y="78296"/>
                    </a:lnTo>
                    <a:lnTo>
                      <a:pt x="0" y="78296"/>
                    </a:lnTo>
                    <a:lnTo>
                      <a:pt x="0" y="1238"/>
                    </a:lnTo>
                    <a:close/>
                  </a:path>
                </a:pathLst>
              </a:custGeom>
              <a:grpFill/>
              <a:ln w="9497" cap="flat">
                <a:no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015B7AD0-174A-D302-4997-63D98221157C}"/>
                  </a:ext>
                </a:extLst>
              </p:cNvPr>
              <p:cNvSpPr/>
              <p:nvPr/>
            </p:nvSpPr>
            <p:spPr>
              <a:xfrm>
                <a:off x="6169197" y="3904773"/>
                <a:ext cx="74909" cy="79533"/>
              </a:xfrm>
              <a:custGeom>
                <a:avLst/>
                <a:gdLst>
                  <a:gd name="connsiteX0" fmla="*/ 95 w 74909"/>
                  <a:gd name="connsiteY0" fmla="*/ 56198 h 79533"/>
                  <a:gd name="connsiteX1" fmla="*/ 28899 w 74909"/>
                  <a:gd name="connsiteY1" fmla="*/ 35243 h 79533"/>
                  <a:gd name="connsiteX2" fmla="*/ 57418 w 74909"/>
                  <a:gd name="connsiteY2" fmla="*/ 35243 h 79533"/>
                  <a:gd name="connsiteX3" fmla="*/ 57418 w 74909"/>
                  <a:gd name="connsiteY3" fmla="*/ 29813 h 79533"/>
                  <a:gd name="connsiteX4" fmla="*/ 37169 w 74909"/>
                  <a:gd name="connsiteY4" fmla="*/ 13145 h 79533"/>
                  <a:gd name="connsiteX5" fmla="*/ 18632 w 74909"/>
                  <a:gd name="connsiteY5" fmla="*/ 26289 h 79533"/>
                  <a:gd name="connsiteX6" fmla="*/ 18822 w 74909"/>
                  <a:gd name="connsiteY6" fmla="*/ 29242 h 79533"/>
                  <a:gd name="connsiteX7" fmla="*/ 2757 w 74909"/>
                  <a:gd name="connsiteY7" fmla="*/ 29242 h 79533"/>
                  <a:gd name="connsiteX8" fmla="*/ 2472 w 74909"/>
                  <a:gd name="connsiteY8" fmla="*/ 24670 h 79533"/>
                  <a:gd name="connsiteX9" fmla="*/ 37835 w 74909"/>
                  <a:gd name="connsiteY9" fmla="*/ 0 h 79533"/>
                  <a:gd name="connsiteX10" fmla="*/ 74909 w 74909"/>
                  <a:gd name="connsiteY10" fmla="*/ 31337 h 79533"/>
                  <a:gd name="connsiteX11" fmla="*/ 74909 w 74909"/>
                  <a:gd name="connsiteY11" fmla="*/ 78296 h 79533"/>
                  <a:gd name="connsiteX12" fmla="*/ 57418 w 74909"/>
                  <a:gd name="connsiteY12" fmla="*/ 78296 h 79533"/>
                  <a:gd name="connsiteX13" fmla="*/ 58178 w 74909"/>
                  <a:gd name="connsiteY13" fmla="*/ 61246 h 79533"/>
                  <a:gd name="connsiteX14" fmla="*/ 57988 w 74909"/>
                  <a:gd name="connsiteY14" fmla="*/ 61246 h 79533"/>
                  <a:gd name="connsiteX15" fmla="*/ 29279 w 74909"/>
                  <a:gd name="connsiteY15" fmla="*/ 79534 h 79533"/>
                  <a:gd name="connsiteX16" fmla="*/ 0 w 74909"/>
                  <a:gd name="connsiteY16" fmla="*/ 56102 h 79533"/>
                  <a:gd name="connsiteX17" fmla="*/ 57418 w 74909"/>
                  <a:gd name="connsiteY17" fmla="*/ 47339 h 79533"/>
                  <a:gd name="connsiteX18" fmla="*/ 57418 w 74909"/>
                  <a:gd name="connsiteY18" fmla="*/ 45910 h 79533"/>
                  <a:gd name="connsiteX19" fmla="*/ 30515 w 74909"/>
                  <a:gd name="connsiteY19" fmla="*/ 45910 h 79533"/>
                  <a:gd name="connsiteX20" fmla="*/ 16161 w 74909"/>
                  <a:gd name="connsiteY20" fmla="*/ 55435 h 79533"/>
                  <a:gd name="connsiteX21" fmla="*/ 32987 w 74909"/>
                  <a:gd name="connsiteY21" fmla="*/ 66485 h 79533"/>
                  <a:gd name="connsiteX22" fmla="*/ 57418 w 74909"/>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09" h="79533">
                    <a:moveTo>
                      <a:pt x="95" y="56198"/>
                    </a:moveTo>
                    <a:cubicBezTo>
                      <a:pt x="95" y="44482"/>
                      <a:pt x="8366" y="35243"/>
                      <a:pt x="28899" y="35243"/>
                    </a:cubicBezTo>
                    <a:lnTo>
                      <a:pt x="57418" y="35243"/>
                    </a:lnTo>
                    <a:lnTo>
                      <a:pt x="57418" y="29813"/>
                    </a:lnTo>
                    <a:cubicBezTo>
                      <a:pt x="57418" y="18288"/>
                      <a:pt x="50763" y="13145"/>
                      <a:pt x="37169" y="13145"/>
                    </a:cubicBezTo>
                    <a:cubicBezTo>
                      <a:pt x="25287" y="13145"/>
                      <a:pt x="18632" y="17717"/>
                      <a:pt x="18632" y="26289"/>
                    </a:cubicBezTo>
                    <a:cubicBezTo>
                      <a:pt x="18632" y="26765"/>
                      <a:pt x="18632" y="28004"/>
                      <a:pt x="18822" y="29242"/>
                    </a:cubicBezTo>
                    <a:lnTo>
                      <a:pt x="2757" y="29242"/>
                    </a:lnTo>
                    <a:cubicBezTo>
                      <a:pt x="2567" y="28099"/>
                      <a:pt x="2472" y="26099"/>
                      <a:pt x="2472" y="24670"/>
                    </a:cubicBezTo>
                    <a:cubicBezTo>
                      <a:pt x="2472" y="9239"/>
                      <a:pt x="15875" y="0"/>
                      <a:pt x="37835" y="0"/>
                    </a:cubicBezTo>
                    <a:cubicBezTo>
                      <a:pt x="61220" y="0"/>
                      <a:pt x="74909" y="11049"/>
                      <a:pt x="74909" y="31337"/>
                    </a:cubicBezTo>
                    <a:lnTo>
                      <a:pt x="74909" y="78296"/>
                    </a:lnTo>
                    <a:lnTo>
                      <a:pt x="57418" y="78296"/>
                    </a:lnTo>
                    <a:cubicBezTo>
                      <a:pt x="57703" y="74581"/>
                      <a:pt x="58178" y="67532"/>
                      <a:pt x="58178" y="61246"/>
                    </a:cubicBezTo>
                    <a:lnTo>
                      <a:pt x="57988" y="61246"/>
                    </a:lnTo>
                    <a:cubicBezTo>
                      <a:pt x="55516" y="72676"/>
                      <a:pt x="46295" y="79534"/>
                      <a:pt x="29279" y="79534"/>
                    </a:cubicBezTo>
                    <a:cubicBezTo>
                      <a:pt x="12263" y="79534"/>
                      <a:pt x="0" y="71152"/>
                      <a:pt x="0" y="56102"/>
                    </a:cubicBezTo>
                    <a:close/>
                    <a:moveTo>
                      <a:pt x="57418" y="47339"/>
                    </a:moveTo>
                    <a:lnTo>
                      <a:pt x="57418" y="45910"/>
                    </a:lnTo>
                    <a:lnTo>
                      <a:pt x="30515" y="45910"/>
                    </a:lnTo>
                    <a:cubicBezTo>
                      <a:pt x="20533" y="45910"/>
                      <a:pt x="16161" y="49340"/>
                      <a:pt x="16161" y="55435"/>
                    </a:cubicBezTo>
                    <a:cubicBezTo>
                      <a:pt x="16161" y="62484"/>
                      <a:pt x="22435" y="66485"/>
                      <a:pt x="32987" y="66485"/>
                    </a:cubicBezTo>
                    <a:cubicBezTo>
                      <a:pt x="48101" y="66485"/>
                      <a:pt x="57418" y="59150"/>
                      <a:pt x="57418" y="47244"/>
                    </a:cubicBezTo>
                    <a:close/>
                  </a:path>
                </a:pathLst>
              </a:custGeom>
              <a:grpFill/>
              <a:ln w="9497" cap="flat">
                <a:noFill/>
                <a:prstDash val="solid"/>
                <a:miter/>
              </a:ln>
            </p:spPr>
            <p:txBody>
              <a:bodyPr rtlCol="0" anchor="ctr"/>
              <a:lstStyle/>
              <a:p>
                <a:endParaRPr lang="en-GB"/>
              </a:p>
            </p:txBody>
          </p:sp>
          <p:sp>
            <p:nvSpPr>
              <p:cNvPr id="53" name="Freeform 52">
                <a:extLst>
                  <a:ext uri="{FF2B5EF4-FFF2-40B4-BE49-F238E27FC236}">
                    <a16:creationId xmlns:a16="http://schemas.microsoft.com/office/drawing/2014/main" id="{DB345BF0-1BFE-4ADF-414B-C064176BE30C}"/>
                  </a:ext>
                </a:extLst>
              </p:cNvPr>
              <p:cNvSpPr/>
              <p:nvPr/>
            </p:nvSpPr>
            <p:spPr>
              <a:xfrm>
                <a:off x="6260742" y="3904773"/>
                <a:ext cx="80612" cy="78390"/>
              </a:xfrm>
              <a:custGeom>
                <a:avLst/>
                <a:gdLst>
                  <a:gd name="connsiteX0" fmla="*/ 0 w 80612"/>
                  <a:gd name="connsiteY0" fmla="*/ 1238 h 78390"/>
                  <a:gd name="connsiteX1" fmla="*/ 17491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1 w 80612"/>
                  <a:gd name="connsiteY10" fmla="*/ 41053 h 78390"/>
                  <a:gd name="connsiteX11" fmla="*/ 17491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1"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1" y="24194"/>
                      <a:pt x="17491" y="41053"/>
                    </a:cubicBezTo>
                    <a:lnTo>
                      <a:pt x="17491" y="78391"/>
                    </a:lnTo>
                    <a:lnTo>
                      <a:pt x="0" y="78391"/>
                    </a:lnTo>
                    <a:lnTo>
                      <a:pt x="0" y="1333"/>
                    </a:lnTo>
                    <a:close/>
                  </a:path>
                </a:pathLst>
              </a:custGeom>
              <a:grpFill/>
              <a:ln w="9497" cap="flat">
                <a:noFill/>
                <a:prstDash val="solid"/>
                <a:miter/>
              </a:ln>
            </p:spPr>
            <p:txBody>
              <a:bodyPr rtlCol="0" anchor="ctr"/>
              <a:lstStyle/>
              <a:p>
                <a:endParaRPr lang="en-GB"/>
              </a:p>
            </p:txBody>
          </p:sp>
          <p:sp>
            <p:nvSpPr>
              <p:cNvPr id="54" name="Freeform 53">
                <a:extLst>
                  <a:ext uri="{FF2B5EF4-FFF2-40B4-BE49-F238E27FC236}">
                    <a16:creationId xmlns:a16="http://schemas.microsoft.com/office/drawing/2014/main" id="{D7DEB60C-AA27-71EB-2B0F-444B46E57BF4}"/>
                  </a:ext>
                </a:extLst>
              </p:cNvPr>
              <p:cNvSpPr/>
              <p:nvPr/>
            </p:nvSpPr>
            <p:spPr>
              <a:xfrm>
                <a:off x="635561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4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3"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1"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4" y="79629"/>
                    </a:cubicBezTo>
                    <a:cubicBezTo>
                      <a:pt x="9601" y="79629"/>
                      <a:pt x="95" y="67723"/>
                      <a:pt x="95" y="52673"/>
                    </a:cubicBezTo>
                    <a:close/>
                  </a:path>
                </a:pathLst>
              </a:custGeom>
              <a:grpFill/>
              <a:ln w="9497" cap="flat">
                <a:noFill/>
                <a:prstDash val="solid"/>
                <a:miter/>
              </a:ln>
            </p:spPr>
            <p:txBody>
              <a:bodyPr rtlCol="0" anchor="ctr"/>
              <a:lstStyle/>
              <a:p>
                <a:endParaRPr lang="en-GB"/>
              </a:p>
            </p:txBody>
          </p:sp>
          <p:sp>
            <p:nvSpPr>
              <p:cNvPr id="55" name="Freeform 54">
                <a:extLst>
                  <a:ext uri="{FF2B5EF4-FFF2-40B4-BE49-F238E27FC236}">
                    <a16:creationId xmlns:a16="http://schemas.microsoft.com/office/drawing/2014/main" id="{317A18C6-35A0-4860-F942-665FD22544D6}"/>
                  </a:ext>
                </a:extLst>
              </p:cNvPr>
              <p:cNvSpPr/>
              <p:nvPr/>
            </p:nvSpPr>
            <p:spPr>
              <a:xfrm>
                <a:off x="6436797" y="3871817"/>
                <a:ext cx="56466" cy="111252"/>
              </a:xfrm>
              <a:custGeom>
                <a:avLst/>
                <a:gdLst>
                  <a:gd name="connsiteX0" fmla="*/ 12263 w 56466"/>
                  <a:gd name="connsiteY0" fmla="*/ 48387 h 111252"/>
                  <a:gd name="connsiteX1" fmla="*/ 0 w 56466"/>
                  <a:gd name="connsiteY1" fmla="*/ 48387 h 111252"/>
                  <a:gd name="connsiteX2" fmla="*/ 0 w 56466"/>
                  <a:gd name="connsiteY2" fmla="*/ 34195 h 111252"/>
                  <a:gd name="connsiteX3" fmla="*/ 12263 w 56466"/>
                  <a:gd name="connsiteY3" fmla="*/ 34195 h 111252"/>
                  <a:gd name="connsiteX4" fmla="*/ 12263 w 56466"/>
                  <a:gd name="connsiteY4" fmla="*/ 26575 h 111252"/>
                  <a:gd name="connsiteX5" fmla="*/ 40306 w 56466"/>
                  <a:gd name="connsiteY5" fmla="*/ 0 h 111252"/>
                  <a:gd name="connsiteX6" fmla="*/ 55231 w 56466"/>
                  <a:gd name="connsiteY6" fmla="*/ 2191 h 111252"/>
                  <a:gd name="connsiteX7" fmla="*/ 55231 w 56466"/>
                  <a:gd name="connsiteY7" fmla="*/ 16097 h 111252"/>
                  <a:gd name="connsiteX8" fmla="*/ 43348 w 56466"/>
                  <a:gd name="connsiteY8" fmla="*/ 14192 h 111252"/>
                  <a:gd name="connsiteX9" fmla="*/ 29659 w 56466"/>
                  <a:gd name="connsiteY9" fmla="*/ 27337 h 111252"/>
                  <a:gd name="connsiteX10" fmla="*/ 29659 w 56466"/>
                  <a:gd name="connsiteY10" fmla="*/ 34195 h 111252"/>
                  <a:gd name="connsiteX11" fmla="*/ 56467 w 56466"/>
                  <a:gd name="connsiteY11" fmla="*/ 34195 h 111252"/>
                  <a:gd name="connsiteX12" fmla="*/ 56467 w 56466"/>
                  <a:gd name="connsiteY12" fmla="*/ 48387 h 111252"/>
                  <a:gd name="connsiteX13" fmla="*/ 29659 w 56466"/>
                  <a:gd name="connsiteY13" fmla="*/ 48387 h 111252"/>
                  <a:gd name="connsiteX14" fmla="*/ 29659 w 56466"/>
                  <a:gd name="connsiteY14" fmla="*/ 111252 h 111252"/>
                  <a:gd name="connsiteX15" fmla="*/ 12168 w 56466"/>
                  <a:gd name="connsiteY15" fmla="*/ 111252 h 111252"/>
                  <a:gd name="connsiteX16" fmla="*/ 12168 w 56466"/>
                  <a:gd name="connsiteY16" fmla="*/ 48387 h 11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466" h="111252">
                    <a:moveTo>
                      <a:pt x="12263" y="48387"/>
                    </a:moveTo>
                    <a:lnTo>
                      <a:pt x="0" y="48387"/>
                    </a:lnTo>
                    <a:lnTo>
                      <a:pt x="0" y="34195"/>
                    </a:lnTo>
                    <a:lnTo>
                      <a:pt x="12263" y="34195"/>
                    </a:lnTo>
                    <a:lnTo>
                      <a:pt x="12263" y="26575"/>
                    </a:lnTo>
                    <a:cubicBezTo>
                      <a:pt x="12263" y="9430"/>
                      <a:pt x="23670" y="0"/>
                      <a:pt x="40306" y="0"/>
                    </a:cubicBezTo>
                    <a:cubicBezTo>
                      <a:pt x="47151" y="0"/>
                      <a:pt x="52759" y="1238"/>
                      <a:pt x="55231" y="2191"/>
                    </a:cubicBezTo>
                    <a:lnTo>
                      <a:pt x="55231" y="16097"/>
                    </a:lnTo>
                    <a:cubicBezTo>
                      <a:pt x="52759" y="15335"/>
                      <a:pt x="48672" y="14192"/>
                      <a:pt x="43348" y="14192"/>
                    </a:cubicBezTo>
                    <a:cubicBezTo>
                      <a:pt x="34507" y="14192"/>
                      <a:pt x="29659" y="18860"/>
                      <a:pt x="29659" y="27337"/>
                    </a:cubicBezTo>
                    <a:lnTo>
                      <a:pt x="29659" y="34195"/>
                    </a:lnTo>
                    <a:lnTo>
                      <a:pt x="56467" y="34195"/>
                    </a:lnTo>
                    <a:lnTo>
                      <a:pt x="56467" y="48387"/>
                    </a:lnTo>
                    <a:lnTo>
                      <a:pt x="29659" y="48387"/>
                    </a:lnTo>
                    <a:lnTo>
                      <a:pt x="29659" y="111252"/>
                    </a:lnTo>
                    <a:lnTo>
                      <a:pt x="12168" y="111252"/>
                    </a:lnTo>
                    <a:lnTo>
                      <a:pt x="12168" y="48387"/>
                    </a:lnTo>
                    <a:close/>
                  </a:path>
                </a:pathLst>
              </a:custGeom>
              <a:grpFill/>
              <a:ln w="9497" cap="flat">
                <a:noFill/>
                <a:prstDash val="solid"/>
                <a:miter/>
              </a:ln>
            </p:spPr>
            <p:txBody>
              <a:bodyPr rtlCol="0" anchor="ctr"/>
              <a:lstStyle/>
              <a:p>
                <a:endParaRPr lang="en-GB"/>
              </a:p>
            </p:txBody>
          </p:sp>
          <p:sp>
            <p:nvSpPr>
              <p:cNvPr id="56" name="Freeform 55">
                <a:extLst>
                  <a:ext uri="{FF2B5EF4-FFF2-40B4-BE49-F238E27FC236}">
                    <a16:creationId xmlns:a16="http://schemas.microsoft.com/office/drawing/2014/main" id="{080AF2F7-B171-C017-AC0B-E7AADA87852D}"/>
                  </a:ext>
                </a:extLst>
              </p:cNvPr>
              <p:cNvSpPr/>
              <p:nvPr/>
            </p:nvSpPr>
            <p:spPr>
              <a:xfrm>
                <a:off x="6497732" y="3904773"/>
                <a:ext cx="80517" cy="79533"/>
              </a:xfrm>
              <a:custGeom>
                <a:avLst/>
                <a:gdLst>
                  <a:gd name="connsiteX0" fmla="*/ 0 w 80517"/>
                  <a:gd name="connsiteY0" fmla="*/ 39910 h 79533"/>
                  <a:gd name="connsiteX1" fmla="*/ 40211 w 80517"/>
                  <a:gd name="connsiteY1" fmla="*/ 0 h 79533"/>
                  <a:gd name="connsiteX2" fmla="*/ 80518 w 80517"/>
                  <a:gd name="connsiteY2" fmla="*/ 39910 h 79533"/>
                  <a:gd name="connsiteX3" fmla="*/ 40211 w 80517"/>
                  <a:gd name="connsiteY3" fmla="*/ 79534 h 79533"/>
                  <a:gd name="connsiteX4" fmla="*/ 0 w 80517"/>
                  <a:gd name="connsiteY4" fmla="*/ 39910 h 79533"/>
                  <a:gd name="connsiteX5" fmla="*/ 63121 w 80517"/>
                  <a:gd name="connsiteY5" fmla="*/ 39910 h 79533"/>
                  <a:gd name="connsiteX6" fmla="*/ 40211 w 80517"/>
                  <a:gd name="connsiteY6" fmla="*/ 14288 h 79533"/>
                  <a:gd name="connsiteX7" fmla="*/ 17492 w 80517"/>
                  <a:gd name="connsiteY7" fmla="*/ 39910 h 79533"/>
                  <a:gd name="connsiteX8" fmla="*/ 40211 w 80517"/>
                  <a:gd name="connsiteY8" fmla="*/ 65151 h 79533"/>
                  <a:gd name="connsiteX9" fmla="*/ 63121 w 80517"/>
                  <a:gd name="connsiteY9" fmla="*/ 39910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17" h="79533">
                    <a:moveTo>
                      <a:pt x="0" y="39910"/>
                    </a:moveTo>
                    <a:cubicBezTo>
                      <a:pt x="0" y="15240"/>
                      <a:pt x="15780" y="0"/>
                      <a:pt x="40211" y="0"/>
                    </a:cubicBezTo>
                    <a:cubicBezTo>
                      <a:pt x="64642" y="0"/>
                      <a:pt x="80518" y="15335"/>
                      <a:pt x="80518" y="39910"/>
                    </a:cubicBezTo>
                    <a:cubicBezTo>
                      <a:pt x="80518" y="64484"/>
                      <a:pt x="64737" y="79534"/>
                      <a:pt x="40211" y="79534"/>
                    </a:cubicBezTo>
                    <a:cubicBezTo>
                      <a:pt x="15685" y="79534"/>
                      <a:pt x="0" y="64389"/>
                      <a:pt x="0" y="39910"/>
                    </a:cubicBezTo>
                    <a:close/>
                    <a:moveTo>
                      <a:pt x="63121" y="39910"/>
                    </a:moveTo>
                    <a:cubicBezTo>
                      <a:pt x="63121" y="24098"/>
                      <a:pt x="54376" y="14288"/>
                      <a:pt x="40211" y="14288"/>
                    </a:cubicBezTo>
                    <a:cubicBezTo>
                      <a:pt x="26047" y="14288"/>
                      <a:pt x="17492" y="24098"/>
                      <a:pt x="17492" y="39910"/>
                    </a:cubicBezTo>
                    <a:cubicBezTo>
                      <a:pt x="17492" y="55721"/>
                      <a:pt x="26047" y="65151"/>
                      <a:pt x="40211" y="65151"/>
                    </a:cubicBezTo>
                    <a:cubicBezTo>
                      <a:pt x="54376" y="65151"/>
                      <a:pt x="63121" y="55435"/>
                      <a:pt x="63121" y="39910"/>
                    </a:cubicBezTo>
                    <a:close/>
                  </a:path>
                </a:pathLst>
              </a:custGeom>
              <a:grpFill/>
              <a:ln w="9497" cap="flat">
                <a:noFill/>
                <a:prstDash val="solid"/>
                <a:miter/>
              </a:ln>
            </p:spPr>
            <p:txBody>
              <a:bodyPr rtlCol="0" anchor="ctr"/>
              <a:lstStyle/>
              <a:p>
                <a:endParaRPr lang="en-GB"/>
              </a:p>
            </p:txBody>
          </p:sp>
          <p:sp>
            <p:nvSpPr>
              <p:cNvPr id="57" name="Freeform 56">
                <a:extLst>
                  <a:ext uri="{FF2B5EF4-FFF2-40B4-BE49-F238E27FC236}">
                    <a16:creationId xmlns:a16="http://schemas.microsoft.com/office/drawing/2014/main" id="{B441E1A2-4EE7-47FA-4D3F-E9D4109D00A2}"/>
                  </a:ext>
                </a:extLst>
              </p:cNvPr>
              <p:cNvSpPr/>
              <p:nvPr/>
            </p:nvSpPr>
            <p:spPr>
              <a:xfrm>
                <a:off x="6593174" y="3904773"/>
                <a:ext cx="70250" cy="78295"/>
              </a:xfrm>
              <a:custGeom>
                <a:avLst/>
                <a:gdLst>
                  <a:gd name="connsiteX0" fmla="*/ 0 w 70250"/>
                  <a:gd name="connsiteY0" fmla="*/ 1238 h 78295"/>
                  <a:gd name="connsiteX1" fmla="*/ 17491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0 w 70250"/>
                  <a:gd name="connsiteY8" fmla="*/ 34004 h 78295"/>
                  <a:gd name="connsiteX9" fmla="*/ 38975 w 70250"/>
                  <a:gd name="connsiteY9" fmla="*/ 14954 h 78295"/>
                  <a:gd name="connsiteX10" fmla="*/ 17491 w 70250"/>
                  <a:gd name="connsiteY10" fmla="*/ 44577 h 78295"/>
                  <a:gd name="connsiteX11" fmla="*/ 17491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1"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8975" y="14954"/>
                    </a:cubicBezTo>
                    <a:cubicBezTo>
                      <a:pt x="25762" y="14954"/>
                      <a:pt x="17491" y="26194"/>
                      <a:pt x="17491" y="44577"/>
                    </a:cubicBezTo>
                    <a:lnTo>
                      <a:pt x="17491" y="78296"/>
                    </a:lnTo>
                    <a:lnTo>
                      <a:pt x="0" y="78296"/>
                    </a:lnTo>
                    <a:lnTo>
                      <a:pt x="0" y="1238"/>
                    </a:lnTo>
                    <a:close/>
                  </a:path>
                </a:pathLst>
              </a:custGeom>
              <a:grpFill/>
              <a:ln w="9497" cap="flat">
                <a:noFill/>
                <a:prstDash val="solid"/>
                <a:miter/>
              </a:ln>
            </p:spPr>
            <p:txBody>
              <a:bodyPr rtlCol="0" anchor="ctr"/>
              <a:lstStyle/>
              <a:p>
                <a:endParaRPr lang="en-GB"/>
              </a:p>
            </p:txBody>
          </p:sp>
          <p:sp>
            <p:nvSpPr>
              <p:cNvPr id="58" name="Freeform 57">
                <a:extLst>
                  <a:ext uri="{FF2B5EF4-FFF2-40B4-BE49-F238E27FC236}">
                    <a16:creationId xmlns:a16="http://schemas.microsoft.com/office/drawing/2014/main" id="{5BB78B42-8975-7EF1-BF92-041EF96904FF}"/>
                  </a:ext>
                </a:extLst>
              </p:cNvPr>
              <p:cNvSpPr/>
              <p:nvPr/>
            </p:nvSpPr>
            <p:spPr>
              <a:xfrm>
                <a:off x="6678445"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293"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2"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GB"/>
              </a:p>
            </p:txBody>
          </p:sp>
          <p:sp>
            <p:nvSpPr>
              <p:cNvPr id="59" name="Freeform 58">
                <a:extLst>
                  <a:ext uri="{FF2B5EF4-FFF2-40B4-BE49-F238E27FC236}">
                    <a16:creationId xmlns:a16="http://schemas.microsoft.com/office/drawing/2014/main" id="{EAE599BD-013C-6049-7404-24BA1420AEDD}"/>
                  </a:ext>
                </a:extLst>
              </p:cNvPr>
              <p:cNvSpPr/>
              <p:nvPr/>
            </p:nvSpPr>
            <p:spPr>
              <a:xfrm>
                <a:off x="6819708" y="3879818"/>
                <a:ext cx="17871" cy="103250"/>
              </a:xfrm>
              <a:custGeom>
                <a:avLst/>
                <a:gdLst>
                  <a:gd name="connsiteX0" fmla="*/ 0 w 17871"/>
                  <a:gd name="connsiteY0" fmla="*/ 0 h 103250"/>
                  <a:gd name="connsiteX1" fmla="*/ 17872 w 17871"/>
                  <a:gd name="connsiteY1" fmla="*/ 0 h 103250"/>
                  <a:gd name="connsiteX2" fmla="*/ 17872 w 17871"/>
                  <a:gd name="connsiteY2" fmla="*/ 17145 h 103250"/>
                  <a:gd name="connsiteX3" fmla="*/ 0 w 17871"/>
                  <a:gd name="connsiteY3" fmla="*/ 17145 h 103250"/>
                  <a:gd name="connsiteX4" fmla="*/ 0 w 17871"/>
                  <a:gd name="connsiteY4" fmla="*/ 0 h 103250"/>
                  <a:gd name="connsiteX5" fmla="*/ 190 w 17871"/>
                  <a:gd name="connsiteY5" fmla="*/ 26194 h 103250"/>
                  <a:gd name="connsiteX6" fmla="*/ 17682 w 17871"/>
                  <a:gd name="connsiteY6" fmla="*/ 26194 h 103250"/>
                  <a:gd name="connsiteX7" fmla="*/ 17682 w 17871"/>
                  <a:gd name="connsiteY7" fmla="*/ 103251 h 103250"/>
                  <a:gd name="connsiteX8" fmla="*/ 190 w 17871"/>
                  <a:gd name="connsiteY8" fmla="*/ 103251 h 103250"/>
                  <a:gd name="connsiteX9" fmla="*/ 190 w 17871"/>
                  <a:gd name="connsiteY9" fmla="*/ 26194 h 10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71" h="103250">
                    <a:moveTo>
                      <a:pt x="0" y="0"/>
                    </a:moveTo>
                    <a:lnTo>
                      <a:pt x="17872" y="0"/>
                    </a:lnTo>
                    <a:lnTo>
                      <a:pt x="17872" y="17145"/>
                    </a:lnTo>
                    <a:lnTo>
                      <a:pt x="0" y="17145"/>
                    </a:lnTo>
                    <a:lnTo>
                      <a:pt x="0" y="0"/>
                    </a:lnTo>
                    <a:close/>
                    <a:moveTo>
                      <a:pt x="190" y="26194"/>
                    </a:moveTo>
                    <a:lnTo>
                      <a:pt x="17682" y="26194"/>
                    </a:lnTo>
                    <a:lnTo>
                      <a:pt x="17682" y="103251"/>
                    </a:lnTo>
                    <a:lnTo>
                      <a:pt x="190" y="103251"/>
                    </a:lnTo>
                    <a:lnTo>
                      <a:pt x="190" y="26194"/>
                    </a:lnTo>
                    <a:close/>
                  </a:path>
                </a:pathLst>
              </a:custGeom>
              <a:grpFill/>
              <a:ln w="9497" cap="flat">
                <a:noFill/>
                <a:prstDash val="solid"/>
                <a:miter/>
              </a:ln>
            </p:spPr>
            <p:txBody>
              <a:bodyPr rtlCol="0" anchor="ctr"/>
              <a:lstStyle/>
              <a:p>
                <a:endParaRPr lang="en-GB"/>
              </a:p>
            </p:txBody>
          </p:sp>
          <p:sp>
            <p:nvSpPr>
              <p:cNvPr id="60" name="Freeform 59">
                <a:extLst>
                  <a:ext uri="{FF2B5EF4-FFF2-40B4-BE49-F238E27FC236}">
                    <a16:creationId xmlns:a16="http://schemas.microsoft.com/office/drawing/2014/main" id="{6304FD5C-322F-F659-9C31-0B9BDCD8B430}"/>
                  </a:ext>
                </a:extLst>
              </p:cNvPr>
              <p:cNvSpPr/>
              <p:nvPr/>
            </p:nvSpPr>
            <p:spPr>
              <a:xfrm>
                <a:off x="6855546" y="3904773"/>
                <a:ext cx="80612" cy="78390"/>
              </a:xfrm>
              <a:custGeom>
                <a:avLst/>
                <a:gdLst>
                  <a:gd name="connsiteX0" fmla="*/ 0 w 80612"/>
                  <a:gd name="connsiteY0" fmla="*/ 1238 h 78390"/>
                  <a:gd name="connsiteX1" fmla="*/ 17492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2 w 80612"/>
                  <a:gd name="connsiteY10" fmla="*/ 41053 h 78390"/>
                  <a:gd name="connsiteX11" fmla="*/ 17492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2"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2" y="24194"/>
                      <a:pt x="17492" y="41053"/>
                    </a:cubicBezTo>
                    <a:lnTo>
                      <a:pt x="17492" y="78391"/>
                    </a:lnTo>
                    <a:lnTo>
                      <a:pt x="0" y="78391"/>
                    </a:lnTo>
                    <a:lnTo>
                      <a:pt x="0" y="1333"/>
                    </a:lnTo>
                    <a:close/>
                  </a:path>
                </a:pathLst>
              </a:custGeom>
              <a:grpFill/>
              <a:ln w="9497" cap="flat">
                <a:noFill/>
                <a:prstDash val="solid"/>
                <a:miter/>
              </a:ln>
            </p:spPr>
            <p:txBody>
              <a:bodyPr rtlCol="0" anchor="ctr"/>
              <a:lstStyle/>
              <a:p>
                <a:endParaRPr lang="en-GB"/>
              </a:p>
            </p:txBody>
          </p:sp>
          <p:sp>
            <p:nvSpPr>
              <p:cNvPr id="61" name="Freeform 60">
                <a:extLst>
                  <a:ext uri="{FF2B5EF4-FFF2-40B4-BE49-F238E27FC236}">
                    <a16:creationId xmlns:a16="http://schemas.microsoft.com/office/drawing/2014/main" id="{934DA847-CB10-0230-A051-E5260873F2B7}"/>
                  </a:ext>
                </a:extLst>
              </p:cNvPr>
              <p:cNvSpPr/>
              <p:nvPr/>
            </p:nvSpPr>
            <p:spPr>
              <a:xfrm>
                <a:off x="6950133" y="3890581"/>
                <a:ext cx="82133" cy="125730"/>
              </a:xfrm>
              <a:custGeom>
                <a:avLst/>
                <a:gdLst>
                  <a:gd name="connsiteX0" fmla="*/ 82039 w 82133"/>
                  <a:gd name="connsiteY0" fmla="*/ 99822 h 125730"/>
                  <a:gd name="connsiteX1" fmla="*/ 41542 w 82133"/>
                  <a:gd name="connsiteY1" fmla="*/ 125730 h 125730"/>
                  <a:gd name="connsiteX2" fmla="*/ 0 w 82133"/>
                  <a:gd name="connsiteY2" fmla="*/ 103918 h 125730"/>
                  <a:gd name="connsiteX3" fmla="*/ 14925 w 82133"/>
                  <a:gd name="connsiteY3" fmla="*/ 89916 h 125730"/>
                  <a:gd name="connsiteX4" fmla="*/ 14925 w 82133"/>
                  <a:gd name="connsiteY4" fmla="*/ 89725 h 125730"/>
                  <a:gd name="connsiteX5" fmla="*/ 8175 w 82133"/>
                  <a:gd name="connsiteY5" fmla="*/ 77057 h 125730"/>
                  <a:gd name="connsiteX6" fmla="*/ 15305 w 82133"/>
                  <a:gd name="connsiteY6" fmla="*/ 63913 h 125730"/>
                  <a:gd name="connsiteX7" fmla="*/ 15305 w 82133"/>
                  <a:gd name="connsiteY7" fmla="*/ 63627 h 125730"/>
                  <a:gd name="connsiteX8" fmla="*/ 3422 w 82133"/>
                  <a:gd name="connsiteY8" fmla="*/ 41624 h 125730"/>
                  <a:gd name="connsiteX9" fmla="*/ 37740 w 82133"/>
                  <a:gd name="connsiteY9" fmla="*/ 14192 h 125730"/>
                  <a:gd name="connsiteX10" fmla="*/ 59224 w 82133"/>
                  <a:gd name="connsiteY10" fmla="*/ 19145 h 125730"/>
                  <a:gd name="connsiteX11" fmla="*/ 59414 w 82133"/>
                  <a:gd name="connsiteY11" fmla="*/ 18955 h 125730"/>
                  <a:gd name="connsiteX12" fmla="*/ 55706 w 82133"/>
                  <a:gd name="connsiteY12" fmla="*/ 10192 h 125730"/>
                  <a:gd name="connsiteX13" fmla="*/ 70821 w 82133"/>
                  <a:gd name="connsiteY13" fmla="*/ 0 h 125730"/>
                  <a:gd name="connsiteX14" fmla="*/ 78616 w 82133"/>
                  <a:gd name="connsiteY14" fmla="*/ 762 h 125730"/>
                  <a:gd name="connsiteX15" fmla="*/ 78616 w 82133"/>
                  <a:gd name="connsiteY15" fmla="*/ 13049 h 125730"/>
                  <a:gd name="connsiteX16" fmla="*/ 73483 w 82133"/>
                  <a:gd name="connsiteY16" fmla="*/ 12287 h 125730"/>
                  <a:gd name="connsiteX17" fmla="*/ 65878 w 82133"/>
                  <a:gd name="connsiteY17" fmla="*/ 18669 h 125730"/>
                  <a:gd name="connsiteX18" fmla="*/ 67589 w 82133"/>
                  <a:gd name="connsiteY18" fmla="*/ 26479 h 125730"/>
                  <a:gd name="connsiteX19" fmla="*/ 72152 w 82133"/>
                  <a:gd name="connsiteY19" fmla="*/ 41434 h 125730"/>
                  <a:gd name="connsiteX20" fmla="*/ 37930 w 82133"/>
                  <a:gd name="connsiteY20" fmla="*/ 68866 h 125730"/>
                  <a:gd name="connsiteX21" fmla="*/ 24336 w 82133"/>
                  <a:gd name="connsiteY21" fmla="*/ 67151 h 125730"/>
                  <a:gd name="connsiteX22" fmla="*/ 22435 w 82133"/>
                  <a:gd name="connsiteY22" fmla="*/ 73057 h 125730"/>
                  <a:gd name="connsiteX23" fmla="*/ 31180 w 82133"/>
                  <a:gd name="connsiteY23" fmla="*/ 80105 h 125730"/>
                  <a:gd name="connsiteX24" fmla="*/ 56087 w 82133"/>
                  <a:gd name="connsiteY24" fmla="*/ 80105 h 125730"/>
                  <a:gd name="connsiteX25" fmla="*/ 82134 w 82133"/>
                  <a:gd name="connsiteY25" fmla="*/ 99631 h 125730"/>
                  <a:gd name="connsiteX26" fmla="*/ 64547 w 82133"/>
                  <a:gd name="connsiteY26" fmla="*/ 101822 h 125730"/>
                  <a:gd name="connsiteX27" fmla="*/ 52379 w 82133"/>
                  <a:gd name="connsiteY27" fmla="*/ 93821 h 125730"/>
                  <a:gd name="connsiteX28" fmla="*/ 31466 w 82133"/>
                  <a:gd name="connsiteY28" fmla="*/ 93821 h 125730"/>
                  <a:gd name="connsiteX29" fmla="*/ 17111 w 82133"/>
                  <a:gd name="connsiteY29" fmla="*/ 102394 h 125730"/>
                  <a:gd name="connsiteX30" fmla="*/ 41257 w 82133"/>
                  <a:gd name="connsiteY30" fmla="*/ 113348 h 125730"/>
                  <a:gd name="connsiteX31" fmla="*/ 64452 w 82133"/>
                  <a:gd name="connsiteY31" fmla="*/ 101822 h 125730"/>
                  <a:gd name="connsiteX32" fmla="*/ 20153 w 82133"/>
                  <a:gd name="connsiteY32" fmla="*/ 41624 h 125730"/>
                  <a:gd name="connsiteX33" fmla="*/ 37740 w 82133"/>
                  <a:gd name="connsiteY33" fmla="*/ 56579 h 125730"/>
                  <a:gd name="connsiteX34" fmla="*/ 55326 w 82133"/>
                  <a:gd name="connsiteY34" fmla="*/ 41624 h 125730"/>
                  <a:gd name="connsiteX35" fmla="*/ 37740 w 82133"/>
                  <a:gd name="connsiteY35" fmla="*/ 26670 h 125730"/>
                  <a:gd name="connsiteX36" fmla="*/ 20153 w 82133"/>
                  <a:gd name="connsiteY36" fmla="*/ 41624 h 12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133" h="125730">
                    <a:moveTo>
                      <a:pt x="82039" y="99822"/>
                    </a:moveTo>
                    <a:cubicBezTo>
                      <a:pt x="82039" y="116015"/>
                      <a:pt x="66924" y="125730"/>
                      <a:pt x="41542" y="125730"/>
                    </a:cubicBezTo>
                    <a:cubicBezTo>
                      <a:pt x="16160" y="125730"/>
                      <a:pt x="0" y="117729"/>
                      <a:pt x="0" y="103918"/>
                    </a:cubicBezTo>
                    <a:cubicBezTo>
                      <a:pt x="0" y="96107"/>
                      <a:pt x="5799" y="90297"/>
                      <a:pt x="14925" y="89916"/>
                    </a:cubicBezTo>
                    <a:lnTo>
                      <a:pt x="14925" y="89725"/>
                    </a:lnTo>
                    <a:cubicBezTo>
                      <a:pt x="10552" y="86773"/>
                      <a:pt x="8175" y="82582"/>
                      <a:pt x="8175" y="77057"/>
                    </a:cubicBezTo>
                    <a:cubicBezTo>
                      <a:pt x="8175" y="70485"/>
                      <a:pt x="11122" y="66008"/>
                      <a:pt x="15305" y="63913"/>
                    </a:cubicBezTo>
                    <a:lnTo>
                      <a:pt x="15305" y="63627"/>
                    </a:lnTo>
                    <a:cubicBezTo>
                      <a:pt x="7700" y="58960"/>
                      <a:pt x="3422" y="51340"/>
                      <a:pt x="3422" y="41624"/>
                    </a:cubicBezTo>
                    <a:cubicBezTo>
                      <a:pt x="3422" y="24765"/>
                      <a:pt x="16541" y="14192"/>
                      <a:pt x="37740" y="14192"/>
                    </a:cubicBezTo>
                    <a:cubicBezTo>
                      <a:pt x="46485" y="14192"/>
                      <a:pt x="53615" y="15907"/>
                      <a:pt x="59224" y="19145"/>
                    </a:cubicBezTo>
                    <a:lnTo>
                      <a:pt x="59414" y="18955"/>
                    </a:lnTo>
                    <a:cubicBezTo>
                      <a:pt x="57037" y="16478"/>
                      <a:pt x="55706" y="13525"/>
                      <a:pt x="55706" y="10192"/>
                    </a:cubicBezTo>
                    <a:cubicBezTo>
                      <a:pt x="55706" y="3905"/>
                      <a:pt x="61600" y="0"/>
                      <a:pt x="70821" y="0"/>
                    </a:cubicBezTo>
                    <a:cubicBezTo>
                      <a:pt x="74529" y="0"/>
                      <a:pt x="76715" y="286"/>
                      <a:pt x="78616" y="762"/>
                    </a:cubicBezTo>
                    <a:lnTo>
                      <a:pt x="78616" y="13049"/>
                    </a:lnTo>
                    <a:cubicBezTo>
                      <a:pt x="77380" y="12573"/>
                      <a:pt x="75669" y="12287"/>
                      <a:pt x="73483" y="12287"/>
                    </a:cubicBezTo>
                    <a:cubicBezTo>
                      <a:pt x="68350" y="12287"/>
                      <a:pt x="65878" y="14478"/>
                      <a:pt x="65878" y="18669"/>
                    </a:cubicBezTo>
                    <a:cubicBezTo>
                      <a:pt x="65878" y="20860"/>
                      <a:pt x="66638" y="23527"/>
                      <a:pt x="67589" y="26479"/>
                    </a:cubicBezTo>
                    <a:cubicBezTo>
                      <a:pt x="70536" y="30575"/>
                      <a:pt x="72152" y="35719"/>
                      <a:pt x="72152" y="41434"/>
                    </a:cubicBezTo>
                    <a:cubicBezTo>
                      <a:pt x="72152" y="58483"/>
                      <a:pt x="59034" y="68866"/>
                      <a:pt x="37930" y="68866"/>
                    </a:cubicBezTo>
                    <a:cubicBezTo>
                      <a:pt x="32987" y="68866"/>
                      <a:pt x="28423" y="68199"/>
                      <a:pt x="24336" y="67151"/>
                    </a:cubicBezTo>
                    <a:cubicBezTo>
                      <a:pt x="23385" y="68199"/>
                      <a:pt x="22435" y="70390"/>
                      <a:pt x="22435" y="73057"/>
                    </a:cubicBezTo>
                    <a:cubicBezTo>
                      <a:pt x="22435" y="77438"/>
                      <a:pt x="25572" y="80105"/>
                      <a:pt x="31180" y="80105"/>
                    </a:cubicBezTo>
                    <a:lnTo>
                      <a:pt x="56087" y="80105"/>
                    </a:lnTo>
                    <a:cubicBezTo>
                      <a:pt x="72627" y="80105"/>
                      <a:pt x="82134" y="87249"/>
                      <a:pt x="82134" y="99631"/>
                    </a:cubicBezTo>
                    <a:close/>
                    <a:moveTo>
                      <a:pt x="64547" y="101822"/>
                    </a:moveTo>
                    <a:cubicBezTo>
                      <a:pt x="64547" y="96679"/>
                      <a:pt x="60650" y="93821"/>
                      <a:pt x="52379" y="93821"/>
                    </a:cubicBezTo>
                    <a:lnTo>
                      <a:pt x="31466" y="93821"/>
                    </a:lnTo>
                    <a:cubicBezTo>
                      <a:pt x="22720" y="93821"/>
                      <a:pt x="17111" y="96488"/>
                      <a:pt x="17111" y="102394"/>
                    </a:cubicBezTo>
                    <a:cubicBezTo>
                      <a:pt x="17111" y="109728"/>
                      <a:pt x="26427" y="113348"/>
                      <a:pt x="41257" y="113348"/>
                    </a:cubicBezTo>
                    <a:cubicBezTo>
                      <a:pt x="57608" y="113348"/>
                      <a:pt x="64452" y="108680"/>
                      <a:pt x="64452" y="101822"/>
                    </a:cubicBezTo>
                    <a:close/>
                    <a:moveTo>
                      <a:pt x="20153" y="41624"/>
                    </a:moveTo>
                    <a:cubicBezTo>
                      <a:pt x="20153" y="50864"/>
                      <a:pt x="26902" y="56579"/>
                      <a:pt x="37740" y="56579"/>
                    </a:cubicBezTo>
                    <a:cubicBezTo>
                      <a:pt x="48577" y="56579"/>
                      <a:pt x="55326" y="50768"/>
                      <a:pt x="55326" y="41624"/>
                    </a:cubicBezTo>
                    <a:cubicBezTo>
                      <a:pt x="55326" y="32480"/>
                      <a:pt x="48672" y="26670"/>
                      <a:pt x="37740" y="26670"/>
                    </a:cubicBezTo>
                    <a:cubicBezTo>
                      <a:pt x="26808" y="26670"/>
                      <a:pt x="20153" y="32480"/>
                      <a:pt x="20153" y="41624"/>
                    </a:cubicBezTo>
                    <a:close/>
                  </a:path>
                </a:pathLst>
              </a:custGeom>
              <a:grpFill/>
              <a:ln w="9497" cap="flat">
                <a:noFill/>
                <a:prstDash val="solid"/>
                <a:miter/>
              </a:ln>
            </p:spPr>
            <p:txBody>
              <a:bodyPr rtlCol="0" anchor="ctr"/>
              <a:lstStyle/>
              <a:p>
                <a:endParaRPr lang="en-GB"/>
              </a:p>
            </p:txBody>
          </p:sp>
          <p:sp>
            <p:nvSpPr>
              <p:cNvPr id="62" name="Freeform 61">
                <a:extLst>
                  <a:ext uri="{FF2B5EF4-FFF2-40B4-BE49-F238E27FC236}">
                    <a16:creationId xmlns:a16="http://schemas.microsoft.com/office/drawing/2014/main" id="{8F103FE6-3BAF-D7E1-B45B-7A593E98E1C3}"/>
                  </a:ext>
                </a:extLst>
              </p:cNvPr>
              <p:cNvSpPr/>
              <p:nvPr/>
            </p:nvSpPr>
            <p:spPr>
              <a:xfrm>
                <a:off x="7081699"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388"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1"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GB"/>
              </a:p>
            </p:txBody>
          </p:sp>
          <p:sp>
            <p:nvSpPr>
              <p:cNvPr id="63" name="Freeform 62">
                <a:extLst>
                  <a:ext uri="{FF2B5EF4-FFF2-40B4-BE49-F238E27FC236}">
                    <a16:creationId xmlns:a16="http://schemas.microsoft.com/office/drawing/2014/main" id="{6F60A1C0-2DF7-457D-D7C2-74B4B5BB9C10}"/>
                  </a:ext>
                </a:extLst>
              </p:cNvPr>
              <p:cNvSpPr/>
              <p:nvPr/>
            </p:nvSpPr>
            <p:spPr>
              <a:xfrm>
                <a:off x="7220394" y="3904773"/>
                <a:ext cx="74813" cy="79533"/>
              </a:xfrm>
              <a:custGeom>
                <a:avLst/>
                <a:gdLst>
                  <a:gd name="connsiteX0" fmla="*/ 0 w 74813"/>
                  <a:gd name="connsiteY0" fmla="*/ 56198 h 79533"/>
                  <a:gd name="connsiteX1" fmla="*/ 28804 w 74813"/>
                  <a:gd name="connsiteY1" fmla="*/ 35243 h 79533"/>
                  <a:gd name="connsiteX2" fmla="*/ 57322 w 74813"/>
                  <a:gd name="connsiteY2" fmla="*/ 35243 h 79533"/>
                  <a:gd name="connsiteX3" fmla="*/ 57322 w 74813"/>
                  <a:gd name="connsiteY3" fmla="*/ 29813 h 79533"/>
                  <a:gd name="connsiteX4" fmla="*/ 37074 w 74813"/>
                  <a:gd name="connsiteY4" fmla="*/ 13145 h 79533"/>
                  <a:gd name="connsiteX5" fmla="*/ 18537 w 74813"/>
                  <a:gd name="connsiteY5" fmla="*/ 26289 h 79533"/>
                  <a:gd name="connsiteX6" fmla="*/ 18727 w 74813"/>
                  <a:gd name="connsiteY6" fmla="*/ 29242 h 79533"/>
                  <a:gd name="connsiteX7" fmla="*/ 2662 w 74813"/>
                  <a:gd name="connsiteY7" fmla="*/ 29242 h 79533"/>
                  <a:gd name="connsiteX8" fmla="*/ 2377 w 74813"/>
                  <a:gd name="connsiteY8" fmla="*/ 24670 h 79533"/>
                  <a:gd name="connsiteX9" fmla="*/ 37740 w 74813"/>
                  <a:gd name="connsiteY9" fmla="*/ 0 h 79533"/>
                  <a:gd name="connsiteX10" fmla="*/ 74814 w 74813"/>
                  <a:gd name="connsiteY10" fmla="*/ 31337 h 79533"/>
                  <a:gd name="connsiteX11" fmla="*/ 74814 w 74813"/>
                  <a:gd name="connsiteY11" fmla="*/ 78296 h 79533"/>
                  <a:gd name="connsiteX12" fmla="*/ 57322 w 74813"/>
                  <a:gd name="connsiteY12" fmla="*/ 78296 h 79533"/>
                  <a:gd name="connsiteX13" fmla="*/ 58083 w 74813"/>
                  <a:gd name="connsiteY13" fmla="*/ 61246 h 79533"/>
                  <a:gd name="connsiteX14" fmla="*/ 57893 w 74813"/>
                  <a:gd name="connsiteY14" fmla="*/ 61246 h 79533"/>
                  <a:gd name="connsiteX15" fmla="*/ 29279 w 74813"/>
                  <a:gd name="connsiteY15" fmla="*/ 79534 h 79533"/>
                  <a:gd name="connsiteX16" fmla="*/ 0 w 74813"/>
                  <a:gd name="connsiteY16" fmla="*/ 56102 h 79533"/>
                  <a:gd name="connsiteX17" fmla="*/ 57322 w 74813"/>
                  <a:gd name="connsiteY17" fmla="*/ 47339 h 79533"/>
                  <a:gd name="connsiteX18" fmla="*/ 57322 w 74813"/>
                  <a:gd name="connsiteY18" fmla="*/ 45910 h 79533"/>
                  <a:gd name="connsiteX19" fmla="*/ 30420 w 74813"/>
                  <a:gd name="connsiteY19" fmla="*/ 45910 h 79533"/>
                  <a:gd name="connsiteX20" fmla="*/ 16066 w 74813"/>
                  <a:gd name="connsiteY20" fmla="*/ 55435 h 79533"/>
                  <a:gd name="connsiteX21" fmla="*/ 32891 w 74813"/>
                  <a:gd name="connsiteY21" fmla="*/ 66485 h 79533"/>
                  <a:gd name="connsiteX22" fmla="*/ 57322 w 74813"/>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813" h="79533">
                    <a:moveTo>
                      <a:pt x="0" y="56198"/>
                    </a:moveTo>
                    <a:cubicBezTo>
                      <a:pt x="0" y="44482"/>
                      <a:pt x="8270" y="35243"/>
                      <a:pt x="28804" y="35243"/>
                    </a:cubicBezTo>
                    <a:lnTo>
                      <a:pt x="57322" y="35243"/>
                    </a:lnTo>
                    <a:lnTo>
                      <a:pt x="57322" y="29813"/>
                    </a:lnTo>
                    <a:cubicBezTo>
                      <a:pt x="57322" y="18288"/>
                      <a:pt x="50668" y="13145"/>
                      <a:pt x="37074" y="13145"/>
                    </a:cubicBezTo>
                    <a:cubicBezTo>
                      <a:pt x="25287" y="13145"/>
                      <a:pt x="18537" y="17717"/>
                      <a:pt x="18537" y="26289"/>
                    </a:cubicBezTo>
                    <a:cubicBezTo>
                      <a:pt x="18537" y="26765"/>
                      <a:pt x="18537" y="28004"/>
                      <a:pt x="18727" y="29242"/>
                    </a:cubicBezTo>
                    <a:lnTo>
                      <a:pt x="2662" y="29242"/>
                    </a:lnTo>
                    <a:cubicBezTo>
                      <a:pt x="2472" y="28099"/>
                      <a:pt x="2377" y="26099"/>
                      <a:pt x="2377" y="24670"/>
                    </a:cubicBezTo>
                    <a:cubicBezTo>
                      <a:pt x="2377" y="9239"/>
                      <a:pt x="15780" y="0"/>
                      <a:pt x="37740" y="0"/>
                    </a:cubicBezTo>
                    <a:cubicBezTo>
                      <a:pt x="61125" y="0"/>
                      <a:pt x="74814" y="11049"/>
                      <a:pt x="74814" y="31337"/>
                    </a:cubicBezTo>
                    <a:lnTo>
                      <a:pt x="74814" y="78296"/>
                    </a:lnTo>
                    <a:lnTo>
                      <a:pt x="57322" y="78296"/>
                    </a:lnTo>
                    <a:cubicBezTo>
                      <a:pt x="57608" y="74581"/>
                      <a:pt x="58083" y="67532"/>
                      <a:pt x="58083" y="61246"/>
                    </a:cubicBezTo>
                    <a:lnTo>
                      <a:pt x="57893" y="61246"/>
                    </a:lnTo>
                    <a:cubicBezTo>
                      <a:pt x="55421" y="72676"/>
                      <a:pt x="46200" y="79534"/>
                      <a:pt x="29279" y="79534"/>
                    </a:cubicBezTo>
                    <a:cubicBezTo>
                      <a:pt x="12358" y="79534"/>
                      <a:pt x="0" y="71152"/>
                      <a:pt x="0" y="56102"/>
                    </a:cubicBezTo>
                    <a:close/>
                    <a:moveTo>
                      <a:pt x="57322" y="47339"/>
                    </a:moveTo>
                    <a:lnTo>
                      <a:pt x="57322" y="45910"/>
                    </a:lnTo>
                    <a:lnTo>
                      <a:pt x="30420" y="45910"/>
                    </a:lnTo>
                    <a:cubicBezTo>
                      <a:pt x="20438" y="45910"/>
                      <a:pt x="16066" y="49340"/>
                      <a:pt x="16066" y="55435"/>
                    </a:cubicBezTo>
                    <a:cubicBezTo>
                      <a:pt x="16066" y="62484"/>
                      <a:pt x="22340" y="66485"/>
                      <a:pt x="32891" y="66485"/>
                    </a:cubicBezTo>
                    <a:cubicBezTo>
                      <a:pt x="48006" y="66485"/>
                      <a:pt x="57322" y="59150"/>
                      <a:pt x="57322" y="47244"/>
                    </a:cubicBezTo>
                    <a:close/>
                  </a:path>
                </a:pathLst>
              </a:custGeom>
              <a:grpFill/>
              <a:ln w="9497" cap="flat">
                <a:noFill/>
                <a:prstDash val="solid"/>
                <a:miter/>
              </a:ln>
            </p:spPr>
            <p:txBody>
              <a:bodyPr rtlCol="0" anchor="ctr"/>
              <a:lstStyle/>
              <a:p>
                <a:endParaRPr lang="en-GB"/>
              </a:p>
            </p:txBody>
          </p:sp>
          <p:sp>
            <p:nvSpPr>
              <p:cNvPr id="64" name="Freeform 63">
                <a:extLst>
                  <a:ext uri="{FF2B5EF4-FFF2-40B4-BE49-F238E27FC236}">
                    <a16:creationId xmlns:a16="http://schemas.microsoft.com/office/drawing/2014/main" id="{9F310CF3-21C8-4F2F-1D1A-A66CE5F79D61}"/>
                  </a:ext>
                </a:extLst>
              </p:cNvPr>
              <p:cNvSpPr/>
              <p:nvPr/>
            </p:nvSpPr>
            <p:spPr>
              <a:xfrm>
                <a:off x="7311844" y="3904773"/>
                <a:ext cx="70251" cy="78295"/>
              </a:xfrm>
              <a:custGeom>
                <a:avLst/>
                <a:gdLst>
                  <a:gd name="connsiteX0" fmla="*/ 0 w 70251"/>
                  <a:gd name="connsiteY0" fmla="*/ 1238 h 78295"/>
                  <a:gd name="connsiteX1" fmla="*/ 17491 w 70251"/>
                  <a:gd name="connsiteY1" fmla="*/ 1238 h 78295"/>
                  <a:gd name="connsiteX2" fmla="*/ 16826 w 70251"/>
                  <a:gd name="connsiteY2" fmla="*/ 23432 h 78295"/>
                  <a:gd name="connsiteX3" fmla="*/ 17016 w 70251"/>
                  <a:gd name="connsiteY3" fmla="*/ 23432 h 78295"/>
                  <a:gd name="connsiteX4" fmla="*/ 44394 w 70251"/>
                  <a:gd name="connsiteY4" fmla="*/ 0 h 78295"/>
                  <a:gd name="connsiteX5" fmla="*/ 70251 w 70251"/>
                  <a:gd name="connsiteY5" fmla="*/ 30099 h 78295"/>
                  <a:gd name="connsiteX6" fmla="*/ 69490 w 70251"/>
                  <a:gd name="connsiteY6" fmla="*/ 44482 h 78295"/>
                  <a:gd name="connsiteX7" fmla="*/ 53615 w 70251"/>
                  <a:gd name="connsiteY7" fmla="*/ 44482 h 78295"/>
                  <a:gd name="connsiteX8" fmla="*/ 54280 w 70251"/>
                  <a:gd name="connsiteY8" fmla="*/ 34004 h 78295"/>
                  <a:gd name="connsiteX9" fmla="*/ 39071 w 70251"/>
                  <a:gd name="connsiteY9" fmla="*/ 14954 h 78295"/>
                  <a:gd name="connsiteX10" fmla="*/ 17587 w 70251"/>
                  <a:gd name="connsiteY10" fmla="*/ 44577 h 78295"/>
                  <a:gd name="connsiteX11" fmla="*/ 17587 w 70251"/>
                  <a:gd name="connsiteY11" fmla="*/ 78296 h 78295"/>
                  <a:gd name="connsiteX12" fmla="*/ 95 w 70251"/>
                  <a:gd name="connsiteY12" fmla="*/ 78296 h 78295"/>
                  <a:gd name="connsiteX13" fmla="*/ 95 w 70251"/>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1" h="78295">
                    <a:moveTo>
                      <a:pt x="0" y="1238"/>
                    </a:moveTo>
                    <a:lnTo>
                      <a:pt x="17491" y="1238"/>
                    </a:lnTo>
                    <a:lnTo>
                      <a:pt x="16826" y="23432"/>
                    </a:lnTo>
                    <a:lnTo>
                      <a:pt x="17016" y="23432"/>
                    </a:lnTo>
                    <a:cubicBezTo>
                      <a:pt x="20629"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9071" y="14954"/>
                    </a:cubicBezTo>
                    <a:cubicBezTo>
                      <a:pt x="25857" y="14954"/>
                      <a:pt x="17587" y="26194"/>
                      <a:pt x="17587" y="44577"/>
                    </a:cubicBezTo>
                    <a:lnTo>
                      <a:pt x="17587" y="78296"/>
                    </a:lnTo>
                    <a:lnTo>
                      <a:pt x="95" y="78296"/>
                    </a:lnTo>
                    <a:lnTo>
                      <a:pt x="95" y="1238"/>
                    </a:lnTo>
                    <a:close/>
                  </a:path>
                </a:pathLst>
              </a:custGeom>
              <a:grpFill/>
              <a:ln w="9497" cap="flat">
                <a:noFill/>
                <a:prstDash val="solid"/>
                <a:miter/>
              </a:ln>
            </p:spPr>
            <p:txBody>
              <a:bodyPr rtlCol="0" anchor="ctr"/>
              <a:lstStyle/>
              <a:p>
                <a:endParaRPr lang="en-GB"/>
              </a:p>
            </p:txBody>
          </p:sp>
          <p:sp>
            <p:nvSpPr>
              <p:cNvPr id="65" name="Freeform 64">
                <a:extLst>
                  <a:ext uri="{FF2B5EF4-FFF2-40B4-BE49-F238E27FC236}">
                    <a16:creationId xmlns:a16="http://schemas.microsoft.com/office/drawing/2014/main" id="{3A8E0584-2159-E422-D859-3468305CC3DE}"/>
                  </a:ext>
                </a:extLst>
              </p:cNvPr>
              <p:cNvSpPr/>
              <p:nvPr/>
            </p:nvSpPr>
            <p:spPr>
              <a:xfrm>
                <a:off x="7397495" y="3874865"/>
                <a:ext cx="83749" cy="108204"/>
              </a:xfrm>
              <a:custGeom>
                <a:avLst/>
                <a:gdLst>
                  <a:gd name="connsiteX0" fmla="*/ 0 w 83749"/>
                  <a:gd name="connsiteY0" fmla="*/ 95 h 108204"/>
                  <a:gd name="connsiteX1" fmla="*/ 17491 w 83749"/>
                  <a:gd name="connsiteY1" fmla="*/ 95 h 108204"/>
                  <a:gd name="connsiteX2" fmla="*/ 17491 w 83749"/>
                  <a:gd name="connsiteY2" fmla="*/ 71533 h 108204"/>
                  <a:gd name="connsiteX3" fmla="*/ 17681 w 83749"/>
                  <a:gd name="connsiteY3" fmla="*/ 71533 h 108204"/>
                  <a:gd name="connsiteX4" fmla="*/ 59129 w 83749"/>
                  <a:gd name="connsiteY4" fmla="*/ 31147 h 108204"/>
                  <a:gd name="connsiteX5" fmla="*/ 81753 w 83749"/>
                  <a:gd name="connsiteY5" fmla="*/ 31147 h 108204"/>
                  <a:gd name="connsiteX6" fmla="*/ 45725 w 83749"/>
                  <a:gd name="connsiteY6" fmla="*/ 64675 h 108204"/>
                  <a:gd name="connsiteX7" fmla="*/ 83750 w 83749"/>
                  <a:gd name="connsiteY7" fmla="*/ 108204 h 108204"/>
                  <a:gd name="connsiteX8" fmla="*/ 60079 w 83749"/>
                  <a:gd name="connsiteY8" fmla="*/ 108204 h 108204"/>
                  <a:gd name="connsiteX9" fmla="*/ 32987 w 83749"/>
                  <a:gd name="connsiteY9" fmla="*/ 75724 h 108204"/>
                  <a:gd name="connsiteX10" fmla="*/ 17587 w 83749"/>
                  <a:gd name="connsiteY10" fmla="*/ 89916 h 108204"/>
                  <a:gd name="connsiteX11" fmla="*/ 17587 w 83749"/>
                  <a:gd name="connsiteY11" fmla="*/ 108204 h 108204"/>
                  <a:gd name="connsiteX12" fmla="*/ 95 w 83749"/>
                  <a:gd name="connsiteY12" fmla="*/ 108204 h 108204"/>
                  <a:gd name="connsiteX13" fmla="*/ 95 w 83749"/>
                  <a:gd name="connsiteY13" fmla="*/ 0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49" h="108204">
                    <a:moveTo>
                      <a:pt x="0" y="95"/>
                    </a:moveTo>
                    <a:lnTo>
                      <a:pt x="17491" y="95"/>
                    </a:lnTo>
                    <a:lnTo>
                      <a:pt x="17491" y="71533"/>
                    </a:lnTo>
                    <a:lnTo>
                      <a:pt x="17681" y="71533"/>
                    </a:lnTo>
                    <a:lnTo>
                      <a:pt x="59129" y="31147"/>
                    </a:lnTo>
                    <a:lnTo>
                      <a:pt x="81753" y="31147"/>
                    </a:lnTo>
                    <a:lnTo>
                      <a:pt x="45725" y="64675"/>
                    </a:lnTo>
                    <a:lnTo>
                      <a:pt x="83750" y="108204"/>
                    </a:lnTo>
                    <a:lnTo>
                      <a:pt x="60079" y="108204"/>
                    </a:lnTo>
                    <a:lnTo>
                      <a:pt x="32987" y="75724"/>
                    </a:lnTo>
                    <a:lnTo>
                      <a:pt x="17587" y="89916"/>
                    </a:lnTo>
                    <a:lnTo>
                      <a:pt x="17587" y="108204"/>
                    </a:lnTo>
                    <a:lnTo>
                      <a:pt x="95" y="108204"/>
                    </a:lnTo>
                    <a:lnTo>
                      <a:pt x="95" y="0"/>
                    </a:lnTo>
                    <a:close/>
                  </a:path>
                </a:pathLst>
              </a:custGeom>
              <a:grpFill/>
              <a:ln w="9497" cap="flat">
                <a:noFill/>
                <a:prstDash val="solid"/>
                <a:miter/>
              </a:ln>
            </p:spPr>
            <p:txBody>
              <a:bodyPr rtlCol="0" anchor="ctr"/>
              <a:lstStyle/>
              <a:p>
                <a:endParaRPr lang="en-GB"/>
              </a:p>
            </p:txBody>
          </p:sp>
          <p:sp>
            <p:nvSpPr>
              <p:cNvPr id="66" name="Freeform 65">
                <a:extLst>
                  <a:ext uri="{FF2B5EF4-FFF2-40B4-BE49-F238E27FC236}">
                    <a16:creationId xmlns:a16="http://schemas.microsoft.com/office/drawing/2014/main" id="{0168D24B-86E8-9D58-52E4-7C405086BDB1}"/>
                  </a:ext>
                </a:extLst>
              </p:cNvPr>
              <p:cNvSpPr/>
              <p:nvPr/>
            </p:nvSpPr>
            <p:spPr>
              <a:xfrm>
                <a:off x="7484762" y="3904868"/>
                <a:ext cx="75194" cy="79533"/>
              </a:xfrm>
              <a:custGeom>
                <a:avLst/>
                <a:gdLst>
                  <a:gd name="connsiteX0" fmla="*/ 75099 w 75194"/>
                  <a:gd name="connsiteY0" fmla="*/ 43148 h 79533"/>
                  <a:gd name="connsiteX1" fmla="*/ 17491 w 75194"/>
                  <a:gd name="connsiteY1" fmla="*/ 43148 h 79533"/>
                  <a:gd name="connsiteX2" fmla="*/ 39736 w 75194"/>
                  <a:gd name="connsiteY2" fmla="*/ 65913 h 79533"/>
                  <a:gd name="connsiteX3" fmla="*/ 59414 w 75194"/>
                  <a:gd name="connsiteY3" fmla="*/ 51911 h 79533"/>
                  <a:gd name="connsiteX4" fmla="*/ 75194 w 75194"/>
                  <a:gd name="connsiteY4" fmla="*/ 51911 h 79533"/>
                  <a:gd name="connsiteX5" fmla="*/ 39546 w 75194"/>
                  <a:gd name="connsiteY5" fmla="*/ 79534 h 79533"/>
                  <a:gd name="connsiteX6" fmla="*/ 0 w 75194"/>
                  <a:gd name="connsiteY6" fmla="*/ 40386 h 79533"/>
                  <a:gd name="connsiteX7" fmla="*/ 39546 w 75194"/>
                  <a:gd name="connsiteY7" fmla="*/ 0 h 79533"/>
                  <a:gd name="connsiteX8" fmla="*/ 75194 w 75194"/>
                  <a:gd name="connsiteY8" fmla="*/ 36957 h 79533"/>
                  <a:gd name="connsiteX9" fmla="*/ 75194 w 75194"/>
                  <a:gd name="connsiteY9" fmla="*/ 43244 h 79533"/>
                  <a:gd name="connsiteX10" fmla="*/ 59319 w 75194"/>
                  <a:gd name="connsiteY10" fmla="*/ 31433 h 79533"/>
                  <a:gd name="connsiteX11" fmla="*/ 39546 w 75194"/>
                  <a:gd name="connsiteY11" fmla="*/ 13525 h 79533"/>
                  <a:gd name="connsiteX12" fmla="*/ 17872 w 75194"/>
                  <a:gd name="connsiteY12" fmla="*/ 32575 h 79533"/>
                  <a:gd name="connsiteX13" fmla="*/ 59319 w 75194"/>
                  <a:gd name="connsiteY13" fmla="*/ 32575 h 79533"/>
                  <a:gd name="connsiteX14" fmla="*/ 59319 w 75194"/>
                  <a:gd name="connsiteY14" fmla="*/ 31528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194" h="79533">
                    <a:moveTo>
                      <a:pt x="75099" y="43148"/>
                    </a:moveTo>
                    <a:lnTo>
                      <a:pt x="17491" y="43148"/>
                    </a:lnTo>
                    <a:cubicBezTo>
                      <a:pt x="18442" y="58007"/>
                      <a:pt x="26712" y="65913"/>
                      <a:pt x="39736" y="65913"/>
                    </a:cubicBezTo>
                    <a:cubicBezTo>
                      <a:pt x="50953" y="65913"/>
                      <a:pt x="58558" y="60960"/>
                      <a:pt x="59414" y="51911"/>
                    </a:cubicBezTo>
                    <a:lnTo>
                      <a:pt x="75194" y="51911"/>
                    </a:lnTo>
                    <a:cubicBezTo>
                      <a:pt x="74529" y="69056"/>
                      <a:pt x="60555" y="79534"/>
                      <a:pt x="39546" y="79534"/>
                    </a:cubicBezTo>
                    <a:cubicBezTo>
                      <a:pt x="15210" y="79534"/>
                      <a:pt x="0" y="64579"/>
                      <a:pt x="0" y="40386"/>
                    </a:cubicBezTo>
                    <a:cubicBezTo>
                      <a:pt x="0" y="16193"/>
                      <a:pt x="15305" y="0"/>
                      <a:pt x="39546" y="0"/>
                    </a:cubicBezTo>
                    <a:cubicBezTo>
                      <a:pt x="61315" y="0"/>
                      <a:pt x="75194" y="12954"/>
                      <a:pt x="75194" y="36957"/>
                    </a:cubicBezTo>
                    <a:lnTo>
                      <a:pt x="75194" y="43244"/>
                    </a:lnTo>
                    <a:close/>
                    <a:moveTo>
                      <a:pt x="59319" y="31433"/>
                    </a:moveTo>
                    <a:cubicBezTo>
                      <a:pt x="59319" y="19907"/>
                      <a:pt x="52189" y="13525"/>
                      <a:pt x="39546" y="13525"/>
                    </a:cubicBezTo>
                    <a:cubicBezTo>
                      <a:pt x="26903" y="13525"/>
                      <a:pt x="19963" y="19812"/>
                      <a:pt x="17872" y="32575"/>
                    </a:cubicBezTo>
                    <a:lnTo>
                      <a:pt x="59319" y="32575"/>
                    </a:lnTo>
                    <a:lnTo>
                      <a:pt x="59319" y="31528"/>
                    </a:lnTo>
                    <a:close/>
                  </a:path>
                </a:pathLst>
              </a:custGeom>
              <a:grpFill/>
              <a:ln w="9497" cap="flat">
                <a:noFill/>
                <a:prstDash val="solid"/>
                <a:miter/>
              </a:ln>
            </p:spPr>
            <p:txBody>
              <a:bodyPr rtlCol="0" anchor="ctr"/>
              <a:lstStyle/>
              <a:p>
                <a:endParaRPr lang="en-GB"/>
              </a:p>
            </p:txBody>
          </p:sp>
          <p:sp>
            <p:nvSpPr>
              <p:cNvPr id="67" name="Freeform 66">
                <a:extLst>
                  <a:ext uri="{FF2B5EF4-FFF2-40B4-BE49-F238E27FC236}">
                    <a16:creationId xmlns:a16="http://schemas.microsoft.com/office/drawing/2014/main" id="{E0AA1177-A2B6-2DF4-B398-68D44041F905}"/>
                  </a:ext>
                </a:extLst>
              </p:cNvPr>
              <p:cNvSpPr/>
              <p:nvPr/>
            </p:nvSpPr>
            <p:spPr>
              <a:xfrm>
                <a:off x="7567751"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1"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GB"/>
              </a:p>
            </p:txBody>
          </p:sp>
          <p:sp>
            <p:nvSpPr>
              <p:cNvPr id="68" name="Freeform 67">
                <a:extLst>
                  <a:ext uri="{FF2B5EF4-FFF2-40B4-BE49-F238E27FC236}">
                    <a16:creationId xmlns:a16="http://schemas.microsoft.com/office/drawing/2014/main" id="{85E55E13-CAC8-1B6B-7357-760B433448C9}"/>
                  </a:ext>
                </a:extLst>
              </p:cNvPr>
              <p:cNvSpPr/>
              <p:nvPr/>
            </p:nvSpPr>
            <p:spPr>
              <a:xfrm>
                <a:off x="763334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3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2"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0"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3" y="79629"/>
                    </a:cubicBezTo>
                    <a:cubicBezTo>
                      <a:pt x="9601" y="79629"/>
                      <a:pt x="95" y="67723"/>
                      <a:pt x="95" y="52673"/>
                    </a:cubicBezTo>
                    <a:close/>
                  </a:path>
                </a:pathLst>
              </a:custGeom>
              <a:grpFill/>
              <a:ln w="9497" cap="flat">
                <a:noFill/>
                <a:prstDash val="solid"/>
                <a:miter/>
              </a:ln>
            </p:spPr>
            <p:txBody>
              <a:bodyPr rtlCol="0" anchor="ctr"/>
              <a:lstStyle/>
              <a:p>
                <a:endParaRPr lang="en-GB"/>
              </a:p>
            </p:txBody>
          </p:sp>
        </p:grpSp>
      </p:grpSp>
      <p:sp>
        <p:nvSpPr>
          <p:cNvPr id="6" name="Text Placeholder 11">
            <a:extLst>
              <a:ext uri="{FF2B5EF4-FFF2-40B4-BE49-F238E27FC236}">
                <a16:creationId xmlns:a16="http://schemas.microsoft.com/office/drawing/2014/main" id="{73F1465B-DCD7-D8DE-E996-85AAEEA5F162}"/>
              </a:ext>
            </a:extLst>
          </p:cNvPr>
          <p:cNvSpPr>
            <a:spLocks noGrp="1"/>
          </p:cNvSpPr>
          <p:nvPr>
            <p:ph type="body" sz="quarter" idx="23" hasCustomPrompt="1"/>
          </p:nvPr>
        </p:nvSpPr>
        <p:spPr>
          <a:xfrm>
            <a:off x="658812" y="2233414"/>
            <a:ext cx="5113337" cy="447092"/>
          </a:xfrm>
          <a:prstGeom prst="rect">
            <a:avLst/>
          </a:prstGeom>
        </p:spPr>
        <p:txBody>
          <a:bodyPr lIns="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2400" b="1" i="0">
                <a:solidFill>
                  <a:srgbClr val="00625F"/>
                </a:solidFill>
                <a:latin typeface="+mj-lt"/>
                <a:cs typeface="Arial" panose="020B0604020202020204" pitchFamily="34" charset="0"/>
              </a:defRPr>
            </a:lvl1pPr>
          </a:lstStyle>
          <a:p>
            <a:pPr lvl="0"/>
            <a:r>
              <a:rPr lang="en-GB"/>
              <a:t>Name Surname</a:t>
            </a:r>
          </a:p>
        </p:txBody>
      </p:sp>
      <p:sp>
        <p:nvSpPr>
          <p:cNvPr id="7" name="Text Placeholder 11">
            <a:extLst>
              <a:ext uri="{FF2B5EF4-FFF2-40B4-BE49-F238E27FC236}">
                <a16:creationId xmlns:a16="http://schemas.microsoft.com/office/drawing/2014/main" id="{543309CC-19B6-EFAE-49E9-CE4FB8FFC6C8}"/>
              </a:ext>
            </a:extLst>
          </p:cNvPr>
          <p:cNvSpPr>
            <a:spLocks noGrp="1"/>
          </p:cNvSpPr>
          <p:nvPr>
            <p:ph type="body" sz="quarter" idx="24" hasCustomPrompt="1"/>
          </p:nvPr>
        </p:nvSpPr>
        <p:spPr>
          <a:xfrm>
            <a:off x="658812" y="2794364"/>
            <a:ext cx="5113337" cy="962820"/>
          </a:xfrm>
          <a:prstGeom prst="rect">
            <a:avLst/>
          </a:prstGeom>
        </p:spPr>
        <p:txBody>
          <a:bodyPr lIns="0">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1"/>
                </a:solidFill>
              </a:defRPr>
            </a:lvl1pPr>
          </a:lstStyle>
          <a:p>
            <a:pPr lvl="0"/>
            <a:r>
              <a:rPr lang="en-GB"/>
              <a:t>Name of Job Position</a:t>
            </a:r>
          </a:p>
          <a:p>
            <a:pPr lvl="0"/>
            <a:r>
              <a:rPr lang="en-GB" err="1"/>
              <a:t>name@idhtrade.org</a:t>
            </a:r>
            <a:endParaRPr lang="en-GB"/>
          </a:p>
        </p:txBody>
      </p:sp>
    </p:spTree>
    <p:extLst>
      <p:ext uri="{BB962C8B-B14F-4D97-AF65-F5344CB8AC3E}">
        <p14:creationId xmlns:p14="http://schemas.microsoft.com/office/powerpoint/2010/main" val="12932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400" fill="hold"/>
                                        <p:tgtEl>
                                          <p:spTgt spid="2"/>
                                        </p:tgtEl>
                                        <p:attrNameLst>
                                          <p:attrName>ppt_w</p:attrName>
                                        </p:attrNameLst>
                                      </p:cBhvr>
                                      <p:tavLst>
                                        <p:tav tm="0">
                                          <p:val>
                                            <p:strVal val="#ppt_w*0.70"/>
                                          </p:val>
                                        </p:tav>
                                        <p:tav tm="100000">
                                          <p:val>
                                            <p:strVal val="#ppt_w"/>
                                          </p:val>
                                        </p:tav>
                                      </p:tavLst>
                                    </p:anim>
                                    <p:anim calcmode="lin" valueType="num">
                                      <p:cBhvr>
                                        <p:cTn id="8" dur="400" fill="hold"/>
                                        <p:tgtEl>
                                          <p:spTgt spid="2"/>
                                        </p:tgtEl>
                                        <p:attrNameLst>
                                          <p:attrName>ppt_h</p:attrName>
                                        </p:attrNameLst>
                                      </p:cBhvr>
                                      <p:tavLst>
                                        <p:tav tm="0">
                                          <p:val>
                                            <p:strVal val="#ppt_h"/>
                                          </p:val>
                                        </p:tav>
                                        <p:tav tm="100000">
                                          <p:val>
                                            <p:strVal val="#ppt_h"/>
                                          </p:val>
                                        </p:tav>
                                      </p:tavLst>
                                    </p:anim>
                                    <p:animEffect transition="in" filter="fade">
                                      <p:cBhvr>
                                        <p:cTn id="9" dur="400"/>
                                        <p:tgtEl>
                                          <p:spTgt spid="2"/>
                                        </p:tgtEl>
                                      </p:cBhvr>
                                    </p:animEffect>
                                  </p:childTnLst>
                                </p:cTn>
                              </p:par>
                              <p:par>
                                <p:cTn id="10" presetID="10" presetClass="entr" presetSubtype="0" fill="hold" grpId="0" nodeType="withEffect">
                                  <p:stCondLst>
                                    <p:cond delay="5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750"/>
                                        <p:tgtEl>
                                          <p:spTgt spid="6"/>
                                        </p:tgtEl>
                                      </p:cBhvr>
                                    </p:animEffect>
                                  </p:childTnLst>
                                </p:cTn>
                              </p:par>
                              <p:par>
                                <p:cTn id="13" presetID="10" presetClass="entr" presetSubtype="0" fill="hold" grpId="0" nodeType="withEffect">
                                  <p:stCondLst>
                                    <p:cond delay="7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750"/>
                                        <p:tgtEl>
                                          <p:spTgt spid="7"/>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750"/>
                                        <p:tgtEl>
                                          <p:spTgt spid="5"/>
                                        </p:tgtEl>
                                      </p:cBhvr>
                                    </p:animEffect>
                                  </p:childTnLst>
                                </p:cTn>
                              </p:par>
                              <p:par>
                                <p:cTn id="19" presetID="10" presetClass="entr" presetSubtype="0" fill="hold" grpId="0" nodeType="withEffect">
                                  <p:stCondLst>
                                    <p:cond delay="125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750"/>
                                        <p:tgtEl>
                                          <p:spTgt spid="9"/>
                                        </p:tgtEl>
                                      </p:cBhvr>
                                    </p:animEffect>
                                  </p:childTnLst>
                                </p:cTn>
                              </p:par>
                              <p:par>
                                <p:cTn id="22" presetID="2" presetClass="entr" presetSubtype="4" decel="100000" fill="hold" nodeType="withEffect">
                                  <p:stCondLst>
                                    <p:cond delay="1500"/>
                                  </p:stCondLst>
                                  <p:childTnLst>
                                    <p:set>
                                      <p:cBhvr>
                                        <p:cTn id="23" dur="1" fill="hold">
                                          <p:stCondLst>
                                            <p:cond delay="0"/>
                                          </p:stCondLst>
                                        </p:cTn>
                                        <p:tgtEl>
                                          <p:spTgt spid="47"/>
                                        </p:tgtEl>
                                        <p:attrNameLst>
                                          <p:attrName>style.visibility</p:attrName>
                                        </p:attrNameLst>
                                      </p:cBhvr>
                                      <p:to>
                                        <p:strVal val="visible"/>
                                      </p:to>
                                    </p:set>
                                    <p:anim calcmode="lin" valueType="num">
                                      <p:cBhvr additive="base">
                                        <p:cTn id="24" dur="750" fill="hold"/>
                                        <p:tgtEl>
                                          <p:spTgt spid="47"/>
                                        </p:tgtEl>
                                        <p:attrNameLst>
                                          <p:attrName>ppt_x</p:attrName>
                                        </p:attrNameLst>
                                      </p:cBhvr>
                                      <p:tavLst>
                                        <p:tav tm="0">
                                          <p:val>
                                            <p:strVal val="#ppt_x"/>
                                          </p:val>
                                        </p:tav>
                                        <p:tav tm="100000">
                                          <p:val>
                                            <p:strVal val="#ppt_x"/>
                                          </p:val>
                                        </p:tav>
                                      </p:tavLst>
                                    </p:anim>
                                    <p:anim calcmode="lin" valueType="num">
                                      <p:cBhvr additive="base">
                                        <p:cTn id="25" dur="750" fill="hold"/>
                                        <p:tgtEl>
                                          <p:spTgt spid="47"/>
                                        </p:tgtEl>
                                        <p:attrNameLst>
                                          <p:attrName>ppt_y</p:attrName>
                                        </p:attrNameLst>
                                      </p:cBhvr>
                                      <p:tavLst>
                                        <p:tav tm="0">
                                          <p:val>
                                            <p:strVal val="1+#ppt_h/2"/>
                                          </p:val>
                                        </p:tav>
                                        <p:tav tm="100000">
                                          <p:val>
                                            <p:strVal val="#ppt_y"/>
                                          </p:val>
                                        </p:tav>
                                      </p:tavLst>
                                    </p:anim>
                                  </p:childTnLst>
                                </p:cTn>
                              </p:par>
                              <p:par>
                                <p:cTn id="26" presetID="2" presetClass="entr" presetSubtype="2" decel="100000" fill="hold" grpId="0" nodeType="withEffect">
                                  <p:stCondLst>
                                    <p:cond delay="1750"/>
                                  </p:stCondLst>
                                  <p:childTnLst>
                                    <p:set>
                                      <p:cBhvr>
                                        <p:cTn id="27" dur="1" fill="hold">
                                          <p:stCondLst>
                                            <p:cond delay="0"/>
                                          </p:stCondLst>
                                        </p:cTn>
                                        <p:tgtEl>
                                          <p:spTgt spid="46"/>
                                        </p:tgtEl>
                                        <p:attrNameLst>
                                          <p:attrName>style.visibility</p:attrName>
                                        </p:attrNameLst>
                                      </p:cBhvr>
                                      <p:to>
                                        <p:strVal val="visible"/>
                                      </p:to>
                                    </p:set>
                                    <p:anim calcmode="lin" valueType="num">
                                      <p:cBhvr additive="base">
                                        <p:cTn id="28" dur="1000" fill="hold"/>
                                        <p:tgtEl>
                                          <p:spTgt spid="46"/>
                                        </p:tgtEl>
                                        <p:attrNameLst>
                                          <p:attrName>ppt_x</p:attrName>
                                        </p:attrNameLst>
                                      </p:cBhvr>
                                      <p:tavLst>
                                        <p:tav tm="0">
                                          <p:val>
                                            <p:strVal val="1+#ppt_w/2"/>
                                          </p:val>
                                        </p:tav>
                                        <p:tav tm="100000">
                                          <p:val>
                                            <p:strVal val="#ppt_x"/>
                                          </p:val>
                                        </p:tav>
                                      </p:tavLst>
                                    </p:anim>
                                    <p:anim calcmode="lin" valueType="num">
                                      <p:cBhvr additive="base">
                                        <p:cTn id="29" dur="1000" fill="hold"/>
                                        <p:tgtEl>
                                          <p:spTgt spid="46"/>
                                        </p:tgtEl>
                                        <p:attrNameLst>
                                          <p:attrName>ppt_y</p:attrName>
                                        </p:attrNameLst>
                                      </p:cBhvr>
                                      <p:tavLst>
                                        <p:tav tm="0">
                                          <p:val>
                                            <p:strVal val="#ppt_y"/>
                                          </p:val>
                                        </p:tav>
                                        <p:tav tm="100000">
                                          <p:val>
                                            <p:strVal val="#ppt_y"/>
                                          </p:val>
                                        </p:tav>
                                      </p:tavLst>
                                    </p:anim>
                                  </p:childTnLst>
                                </p:cTn>
                              </p:par>
                              <p:par>
                                <p:cTn id="30" presetID="10" presetClass="entr" presetSubtype="0" fill="hold" grpId="0" nodeType="withEffect">
                                  <p:stCondLst>
                                    <p:cond delay="2500"/>
                                  </p:stCondLst>
                                  <p:childTnLst>
                                    <p:set>
                                      <p:cBhvr>
                                        <p:cTn id="31" dur="1" fill="hold">
                                          <p:stCondLst>
                                            <p:cond delay="0"/>
                                          </p:stCondLst>
                                        </p:cTn>
                                        <p:tgtEl>
                                          <p:spTgt spid="4">
                                            <p:txEl>
                                              <p:pRg st="0" end="0"/>
                                            </p:txEl>
                                          </p:spTgt>
                                        </p:tgtEl>
                                        <p:attrNameLst>
                                          <p:attrName>style.visibility</p:attrName>
                                        </p:attrNameLst>
                                      </p:cBhvr>
                                      <p:to>
                                        <p:strVal val="visible"/>
                                      </p:to>
                                    </p:set>
                                    <p:animEffect transition="in" filter="fade">
                                      <p:cBhvr>
                                        <p:cTn id="32" dur="750"/>
                                        <p:tgtEl>
                                          <p:spTgt spid="4">
                                            <p:txEl>
                                              <p:pRg st="0" end="0"/>
                                            </p:txEl>
                                          </p:spTgt>
                                        </p:tgtEl>
                                      </p:cBhvr>
                                    </p:animEffect>
                                  </p:childTnLst>
                                </p:cTn>
                              </p:par>
                              <p:par>
                                <p:cTn id="33" presetID="10" presetClass="entr" presetSubtype="0" fill="hold" nodeType="withEffect">
                                  <p:stCondLst>
                                    <p:cond delay="275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750"/>
                                        <p:tgtEl>
                                          <p:spTgt spid="16"/>
                                        </p:tgtEl>
                                      </p:cBhvr>
                                    </p:animEffect>
                                  </p:childTnLst>
                                </p:cTn>
                              </p:par>
                              <p:par>
                                <p:cTn id="36" presetID="10" presetClass="entr" presetSubtype="0" fill="hold" nodeType="withEffect">
                                  <p:stCondLst>
                                    <p:cond delay="300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7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2" grpId="0">
        <p:tmplLst>
          <p:tmpl>
            <p:tnLst>
              <p:par>
                <p:cTn presetID="55" presetClass="entr" presetSubtype="0" fill="hold" nodeType="withEffect">
                  <p:stCondLst>
                    <p:cond delay="0"/>
                  </p:stCondLst>
                  <p:iterate type="lt">
                    <p:tmPct val="10000"/>
                  </p:iterate>
                  <p:childTnLst>
                    <p:set>
                      <p:cBhvr>
                        <p:cTn dur="1" fill="hold">
                          <p:stCondLst>
                            <p:cond delay="0"/>
                          </p:stCondLst>
                        </p:cTn>
                        <p:tgtEl>
                          <p:spTgt spid="2"/>
                        </p:tgtEl>
                        <p:attrNameLst>
                          <p:attrName>style.visibility</p:attrName>
                        </p:attrNameLst>
                      </p:cBhvr>
                      <p:to>
                        <p:strVal val="visible"/>
                      </p:to>
                    </p:set>
                    <p:anim calcmode="lin" valueType="num">
                      <p:cBhvr>
                        <p:cTn dur="400" fill="hold"/>
                        <p:tgtEl>
                          <p:spTgt spid="2"/>
                        </p:tgtEl>
                        <p:attrNameLst>
                          <p:attrName>ppt_w</p:attrName>
                        </p:attrNameLst>
                      </p:cBhvr>
                      <p:tavLst>
                        <p:tav tm="0">
                          <p:val>
                            <p:strVal val="#ppt_w*0.70"/>
                          </p:val>
                        </p:tav>
                        <p:tav tm="100000">
                          <p:val>
                            <p:strVal val="#ppt_w"/>
                          </p:val>
                        </p:tav>
                      </p:tavLst>
                    </p:anim>
                    <p:anim calcmode="lin" valueType="num">
                      <p:cBhvr>
                        <p:cTn dur="400" fill="hold"/>
                        <p:tgtEl>
                          <p:spTgt spid="2"/>
                        </p:tgtEl>
                        <p:attrNameLst>
                          <p:attrName>ppt_h</p:attrName>
                        </p:attrNameLst>
                      </p:cBhvr>
                      <p:tavLst>
                        <p:tav tm="0">
                          <p:val>
                            <p:strVal val="#ppt_h"/>
                          </p:val>
                        </p:tav>
                        <p:tav tm="100000">
                          <p:val>
                            <p:strVal val="#ppt_h"/>
                          </p:val>
                        </p:tav>
                      </p:tavLst>
                    </p:anim>
                    <p:animEffect transition="in" filter="fade">
                      <p:cBhvr>
                        <p:cTn dur="400"/>
                        <p:tgtEl>
                          <p:spTgt spid="2"/>
                        </p:tgtEl>
                      </p:cBhvr>
                    </p:animEffect>
                  </p:childTnLst>
                </p:cTn>
              </p:par>
            </p:tnLst>
          </p:tmpl>
        </p:tmplLst>
      </p:bldP>
      <p:bldP spid="4" grpId="0" build="p">
        <p:tmplLst>
          <p:tmpl lvl="1">
            <p:tnLst>
              <p:par>
                <p:cTn presetID="10" presetClass="entr" presetSubtype="0" fill="hold" nodeType="withEffect">
                  <p:stCondLst>
                    <p:cond delay="250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9" grpId="0">
        <p:tmplLst>
          <p:tmpl>
            <p:tnLst>
              <p:par>
                <p:cTn presetID="10" presetClass="entr" presetSubtype="0" fill="hold" nodeType="withEffect">
                  <p:stCondLst>
                    <p:cond delay="125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6" grpId="0">
        <p:tmplLst>
          <p:tmpl>
            <p:tnLst>
              <p:par>
                <p:cTn presetID="10" presetClass="entr" presetSubtype="0" fill="hold" nodeType="withEffect">
                  <p:stCondLst>
                    <p:cond delay="500"/>
                  </p:stCondLst>
                  <p:childTnLst>
                    <p:set>
                      <p:cBhvr>
                        <p:cTn dur="1" fill="hold">
                          <p:stCondLst>
                            <p:cond delay="0"/>
                          </p:stCondLst>
                        </p:cTn>
                        <p:tgtEl>
                          <p:spTgt spid="6"/>
                        </p:tgtEl>
                        <p:attrNameLst>
                          <p:attrName>style.visibility</p:attrName>
                        </p:attrNameLst>
                      </p:cBhvr>
                      <p:to>
                        <p:strVal val="visible"/>
                      </p:to>
                    </p:set>
                    <p:animEffect transition="in" filter="fade">
                      <p:cBhvr>
                        <p:cTn dur="750"/>
                        <p:tgtEl>
                          <p:spTgt spid="6"/>
                        </p:tgtEl>
                      </p:cBhvr>
                    </p:animEffect>
                  </p:childTnLst>
                </p:cTn>
              </p:par>
            </p:tnLst>
          </p:tmpl>
        </p:tmplLst>
      </p:bldP>
      <p:bldP spid="7" grpId="0">
        <p:tmplLst>
          <p:tmpl>
            <p:tnLst>
              <p:par>
                <p:cTn presetID="10" presetClass="entr" presetSubtype="0" fill="hold" nodeType="withEffect">
                  <p:stCondLst>
                    <p:cond delay="750"/>
                  </p:stCondLst>
                  <p:childTnLst>
                    <p:set>
                      <p:cBhvr>
                        <p:cTn dur="1" fill="hold">
                          <p:stCondLst>
                            <p:cond delay="0"/>
                          </p:stCondLst>
                        </p:cTn>
                        <p:tgtEl>
                          <p:spTgt spid="7"/>
                        </p:tgtEl>
                        <p:attrNameLst>
                          <p:attrName>style.visibility</p:attrName>
                        </p:attrNameLst>
                      </p:cBhvr>
                      <p:to>
                        <p:strVal val="visible"/>
                      </p:to>
                    </p:set>
                    <p:animEffect transition="in" filter="fade">
                      <p:cBhvr>
                        <p:cTn dur="750"/>
                        <p:tgtEl>
                          <p:spTgt spid="7"/>
                        </p:tgtEl>
                      </p:cBhvr>
                    </p:animEffect>
                  </p:childTnLst>
                </p:cTn>
              </p:par>
            </p:tnLst>
          </p:tmpl>
        </p:tmplLst>
      </p:bldP>
    </p:bldLst>
  </p:timing>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6F3918CB-A61A-8A43-05DE-7D51ECBE796D}"/>
              </a:ext>
            </a:extLst>
          </p:cNvPr>
          <p:cNvSpPr>
            <a:spLocks noGrp="1"/>
          </p:cNvSpPr>
          <p:nvPr>
            <p:ph type="sldNum" sz="quarter" idx="18"/>
          </p:nvPr>
        </p:nvSpPr>
        <p:spPr/>
        <p:txBody>
          <a:bodyPr/>
          <a:lstStyle/>
          <a:p>
            <a:fld id="{0994303E-A424-9540-91A8-53B791C91E8F}" type="slidenum">
              <a:rPr lang="en-GB" smtClean="0"/>
              <a:pPr/>
              <a:t>‹#›</a:t>
            </a:fld>
            <a:endParaRPr lang="en-GB" dirty="0"/>
          </a:p>
        </p:txBody>
      </p:sp>
      <p:sp>
        <p:nvSpPr>
          <p:cNvPr id="14" name="Title 13">
            <a:extLst>
              <a:ext uri="{FF2B5EF4-FFF2-40B4-BE49-F238E27FC236}">
                <a16:creationId xmlns:a16="http://schemas.microsoft.com/office/drawing/2014/main" id="{B2461144-37F7-1B8E-8C8F-A142D7874919}"/>
              </a:ext>
            </a:extLst>
          </p:cNvPr>
          <p:cNvSpPr>
            <a:spLocks noGrp="1"/>
          </p:cNvSpPr>
          <p:nvPr>
            <p:ph type="title" hasCustomPrompt="1"/>
          </p:nvPr>
        </p:nvSpPr>
        <p:spPr/>
        <p:txBody>
          <a:bodyPr/>
          <a:lstStyle/>
          <a:p>
            <a:r>
              <a:rPr lang="en-GB" dirty="0"/>
              <a:t>Regular heading </a:t>
            </a:r>
            <a:r>
              <a:rPr lang="en-GB"/>
              <a:t>goes here</a:t>
            </a:r>
            <a:endParaRPr lang="en-GB" dirty="0"/>
          </a:p>
        </p:txBody>
      </p:sp>
      <p:sp>
        <p:nvSpPr>
          <p:cNvPr id="2" name="Text Placeholder 9">
            <a:extLst>
              <a:ext uri="{FF2B5EF4-FFF2-40B4-BE49-F238E27FC236}">
                <a16:creationId xmlns:a16="http://schemas.microsoft.com/office/drawing/2014/main" id="{54B0AF49-A51C-151B-05A9-7178FFC369D8}"/>
              </a:ext>
            </a:extLst>
          </p:cNvPr>
          <p:cNvSpPr>
            <a:spLocks noGrp="1"/>
          </p:cNvSpPr>
          <p:nvPr>
            <p:ph type="body" sz="quarter" idx="19" hasCustomPrompt="1"/>
          </p:nvPr>
        </p:nvSpPr>
        <p:spPr>
          <a:xfrm>
            <a:off x="674159" y="1051658"/>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dirty="0"/>
              <a:t>Subheading </a:t>
            </a:r>
            <a:r>
              <a:rPr lang="en-GB"/>
              <a:t>goes here</a:t>
            </a:r>
            <a:endParaRPr lang="en-GB" dirty="0"/>
          </a:p>
        </p:txBody>
      </p:sp>
    </p:spTree>
    <p:extLst>
      <p:ext uri="{BB962C8B-B14F-4D97-AF65-F5344CB8AC3E}">
        <p14:creationId xmlns:p14="http://schemas.microsoft.com/office/powerpoint/2010/main" val="344945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Gree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1720F34-EE38-1EB6-D2BC-389D6E7C2435}"/>
              </a:ext>
            </a:extLst>
          </p:cNvPr>
          <p:cNvSpPr>
            <a:spLocks noGrp="1"/>
          </p:cNvSpPr>
          <p:nvPr>
            <p:ph type="sldNum" sz="quarter" idx="25"/>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3110838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hapter Title">
    <p:spTree>
      <p:nvGrpSpPr>
        <p:cNvPr id="1" name=""/>
        <p:cNvGrpSpPr/>
        <p:nvPr/>
      </p:nvGrpSpPr>
      <p:grpSpPr>
        <a:xfrm>
          <a:off x="0" y="0"/>
          <a:ext cx="0" cy="0"/>
          <a:chOff x="0" y="0"/>
          <a:chExt cx="0" cy="0"/>
        </a:xfrm>
      </p:grpSpPr>
      <p:sp>
        <p:nvSpPr>
          <p:cNvPr id="3" name="Graphic 48">
            <a:extLst>
              <a:ext uri="{FF2B5EF4-FFF2-40B4-BE49-F238E27FC236}">
                <a16:creationId xmlns:a16="http://schemas.microsoft.com/office/drawing/2014/main" id="{75DAC041-23E1-D93E-FCC2-75B842262D09}"/>
              </a:ext>
            </a:extLst>
          </p:cNvPr>
          <p:cNvSpPr/>
          <p:nvPr userDrawn="1"/>
        </p:nvSpPr>
        <p:spPr>
          <a:xfrm>
            <a:off x="674768" y="802691"/>
            <a:ext cx="5097382" cy="4749380"/>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2"/>
          </a:solidFill>
          <a:ln w="9449" cap="flat">
            <a:noFill/>
            <a:prstDash val="solid"/>
            <a:miter/>
          </a:ln>
        </p:spPr>
        <p:txBody>
          <a:bodyPr rtlCol="0" anchor="ctr"/>
          <a:lstStyle/>
          <a:p>
            <a:endParaRPr lang="en-GB" dirty="0"/>
          </a:p>
        </p:txBody>
      </p:sp>
      <p:sp>
        <p:nvSpPr>
          <p:cNvPr id="2" name="Title Placeholder 1">
            <a:extLst>
              <a:ext uri="{FF2B5EF4-FFF2-40B4-BE49-F238E27FC236}">
                <a16:creationId xmlns:a16="http://schemas.microsoft.com/office/drawing/2014/main" id="{21ABC006-C4FF-A1F4-36AF-0C94003C2FA9}"/>
              </a:ext>
            </a:extLst>
          </p:cNvPr>
          <p:cNvSpPr>
            <a:spLocks noGrp="1"/>
          </p:cNvSpPr>
          <p:nvPr>
            <p:ph type="title" hasCustomPrompt="1"/>
          </p:nvPr>
        </p:nvSpPr>
        <p:spPr>
          <a:xfrm>
            <a:off x="6419849" y="549275"/>
            <a:ext cx="5113339" cy="5256213"/>
          </a:xfrm>
          <a:prstGeom prst="rect">
            <a:avLst/>
          </a:prstGeom>
        </p:spPr>
        <p:txBody>
          <a:bodyPr vert="horz" lIns="0" tIns="0" rIns="0" bIns="0" rtlCol="0" anchor="ctr">
            <a:normAutofit/>
          </a:bodyPr>
          <a:lstStyle>
            <a:lvl1pPr>
              <a:lnSpc>
                <a:spcPct val="90000"/>
              </a:lnSpc>
              <a:defRPr sz="6500" b="1">
                <a:solidFill>
                  <a:schemeClr val="accent2"/>
                </a:solidFill>
              </a:defRPr>
            </a:lvl1pPr>
          </a:lstStyle>
          <a:p>
            <a:r>
              <a:rPr lang="en-GB" dirty="0"/>
              <a:t>Chapter Slide Title</a:t>
            </a:r>
          </a:p>
        </p:txBody>
      </p:sp>
      <p:sp>
        <p:nvSpPr>
          <p:cNvPr id="4" name="Text Placeholder 3">
            <a:extLst>
              <a:ext uri="{FF2B5EF4-FFF2-40B4-BE49-F238E27FC236}">
                <a16:creationId xmlns:a16="http://schemas.microsoft.com/office/drawing/2014/main" id="{F9D378FF-8076-D182-237A-7F57163EC86A}"/>
              </a:ext>
            </a:extLst>
          </p:cNvPr>
          <p:cNvSpPr>
            <a:spLocks noGrp="1"/>
          </p:cNvSpPr>
          <p:nvPr>
            <p:ph type="body" sz="quarter" idx="10" hasCustomPrompt="1"/>
          </p:nvPr>
        </p:nvSpPr>
        <p:spPr>
          <a:xfrm>
            <a:off x="674768" y="1880701"/>
            <a:ext cx="5097382" cy="2593361"/>
          </a:xfrm>
          <a:prstGeom prst="rect">
            <a:avLst/>
          </a:prstGeom>
        </p:spPr>
        <p:txBody>
          <a:bodyPr anchor="ctr">
            <a:noAutofit/>
          </a:bodyPr>
          <a:lstStyle>
            <a:lvl1pPr marL="0" indent="0" algn="ctr">
              <a:lnSpc>
                <a:spcPct val="100000"/>
              </a:lnSpc>
              <a:spcBef>
                <a:spcPts val="0"/>
              </a:spcBef>
              <a:buNone/>
              <a:defRPr sz="25000"/>
            </a:lvl1pPr>
          </a:lstStyle>
          <a:p>
            <a:pPr lvl="0"/>
            <a:r>
              <a:rPr lang="en-GB" dirty="0"/>
              <a:t>01</a:t>
            </a:r>
          </a:p>
        </p:txBody>
      </p:sp>
    </p:spTree>
    <p:extLst>
      <p:ext uri="{BB962C8B-B14F-4D97-AF65-F5344CB8AC3E}">
        <p14:creationId xmlns:p14="http://schemas.microsoft.com/office/powerpoint/2010/main" val="69498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55" presetClass="entr" presetSubtype="0" fill="hold" grpId="0" nodeType="withEffect">
                                  <p:stCondLst>
                                    <p:cond delay="750"/>
                                  </p:stCondLst>
                                  <p:iterate type="lt">
                                    <p:tmPct val="25000"/>
                                  </p:iterate>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cBhvr>
                                        <p:cTn id="11" dur="400" fill="hold"/>
                                        <p:tgtEl>
                                          <p:spTgt spid="4">
                                            <p:txEl>
                                              <p:pRg st="0" end="0"/>
                                            </p:txEl>
                                          </p:spTgt>
                                        </p:tgtEl>
                                        <p:attrNameLst>
                                          <p:attrName>ppt_w</p:attrName>
                                        </p:attrNameLst>
                                      </p:cBhvr>
                                      <p:tavLst>
                                        <p:tav tm="0">
                                          <p:val>
                                            <p:strVal val="#ppt_w*0.70"/>
                                          </p:val>
                                        </p:tav>
                                        <p:tav tm="100000">
                                          <p:val>
                                            <p:strVal val="#ppt_w"/>
                                          </p:val>
                                        </p:tav>
                                      </p:tavLst>
                                    </p:anim>
                                    <p:anim calcmode="lin" valueType="num">
                                      <p:cBhvr>
                                        <p:cTn id="12" dur="400" fill="hold"/>
                                        <p:tgtEl>
                                          <p:spTgt spid="4">
                                            <p:txEl>
                                              <p:pRg st="0" end="0"/>
                                            </p:txEl>
                                          </p:spTgt>
                                        </p:tgtEl>
                                        <p:attrNameLst>
                                          <p:attrName>ppt_h</p:attrName>
                                        </p:attrNameLst>
                                      </p:cBhvr>
                                      <p:tavLst>
                                        <p:tav tm="0">
                                          <p:val>
                                            <p:strVal val="#ppt_h"/>
                                          </p:val>
                                        </p:tav>
                                        <p:tav tm="100000">
                                          <p:val>
                                            <p:strVal val="#ppt_h"/>
                                          </p:val>
                                        </p:tav>
                                      </p:tavLst>
                                    </p:anim>
                                    <p:animEffect transition="in" filter="fade">
                                      <p:cBhvr>
                                        <p:cTn id="13" dur="400"/>
                                        <p:tgtEl>
                                          <p:spTgt spid="4">
                                            <p:txEl>
                                              <p:pRg st="0" end="0"/>
                                            </p:txEl>
                                          </p:spTgt>
                                        </p:tgtEl>
                                      </p:cBhvr>
                                    </p:animEffect>
                                  </p:childTnLst>
                                </p:cTn>
                              </p:par>
                              <p:par>
                                <p:cTn id="14" presetID="55" presetClass="entr" presetSubtype="0" fill="hold" grpId="0" nodeType="withEffect">
                                  <p:stCondLst>
                                    <p:cond delay="1000"/>
                                  </p:stCondLst>
                                  <p:iterate type="lt">
                                    <p:tmPct val="10000"/>
                                  </p:iterate>
                                  <p:childTnLst>
                                    <p:set>
                                      <p:cBhvr>
                                        <p:cTn id="15" dur="1" fill="hold">
                                          <p:stCondLst>
                                            <p:cond delay="0"/>
                                          </p:stCondLst>
                                        </p:cTn>
                                        <p:tgtEl>
                                          <p:spTgt spid="2"/>
                                        </p:tgtEl>
                                        <p:attrNameLst>
                                          <p:attrName>style.visibility</p:attrName>
                                        </p:attrNameLst>
                                      </p:cBhvr>
                                      <p:to>
                                        <p:strVal val="visible"/>
                                      </p:to>
                                    </p:set>
                                    <p:anim calcmode="lin" valueType="num">
                                      <p:cBhvr>
                                        <p:cTn id="16" dur="400" fill="hold"/>
                                        <p:tgtEl>
                                          <p:spTgt spid="2"/>
                                        </p:tgtEl>
                                        <p:attrNameLst>
                                          <p:attrName>ppt_w</p:attrName>
                                        </p:attrNameLst>
                                      </p:cBhvr>
                                      <p:tavLst>
                                        <p:tav tm="0">
                                          <p:val>
                                            <p:strVal val="#ppt_w*0.70"/>
                                          </p:val>
                                        </p:tav>
                                        <p:tav tm="100000">
                                          <p:val>
                                            <p:strVal val="#ppt_w"/>
                                          </p:val>
                                        </p:tav>
                                      </p:tavLst>
                                    </p:anim>
                                    <p:anim calcmode="lin" valueType="num">
                                      <p:cBhvr>
                                        <p:cTn id="17" dur="400" fill="hold"/>
                                        <p:tgtEl>
                                          <p:spTgt spid="2"/>
                                        </p:tgtEl>
                                        <p:attrNameLst>
                                          <p:attrName>ppt_h</p:attrName>
                                        </p:attrNameLst>
                                      </p:cBhvr>
                                      <p:tavLst>
                                        <p:tav tm="0">
                                          <p:val>
                                            <p:strVal val="#ppt_h"/>
                                          </p:val>
                                        </p:tav>
                                        <p:tav tm="100000">
                                          <p:val>
                                            <p:strVal val="#ppt_h"/>
                                          </p:val>
                                        </p:tav>
                                      </p:tavLst>
                                    </p:anim>
                                    <p:animEffect transition="in" filter="fade">
                                      <p:cBhvr>
                                        <p:cTn id="18"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p:bldP spid="4" grpId="0" build="p">
        <p:tmplLst>
          <p:tmpl lvl="1">
            <p:tnLst>
              <p:par>
                <p:cTn presetID="55" presetClass="entr" presetSubtype="0" fill="hold" nodeType="withEffect">
                  <p:stCondLst>
                    <p:cond delay="750"/>
                  </p:stCondLst>
                  <p:iterate type="lt">
                    <p:tmPct val="25000"/>
                  </p:iterate>
                  <p:childTnLst>
                    <p:set>
                      <p:cBhvr>
                        <p:cTn dur="1" fill="hold">
                          <p:stCondLst>
                            <p:cond delay="0"/>
                          </p:stCondLst>
                        </p:cTn>
                        <p:tgtEl>
                          <p:spTgt spid="4"/>
                        </p:tgtEl>
                        <p:attrNameLst>
                          <p:attrName>style.visibility</p:attrName>
                        </p:attrNameLst>
                      </p:cBhvr>
                      <p:to>
                        <p:strVal val="visible"/>
                      </p:to>
                    </p:set>
                    <p:anim calcmode="lin" valueType="num">
                      <p:cBhvr>
                        <p:cTn dur="400" fill="hold"/>
                        <p:tgtEl>
                          <p:spTgt spid="4"/>
                        </p:tgtEl>
                        <p:attrNameLst>
                          <p:attrName>ppt_w</p:attrName>
                        </p:attrNameLst>
                      </p:cBhvr>
                      <p:tavLst>
                        <p:tav tm="0">
                          <p:val>
                            <p:strVal val="#ppt_w*0.70"/>
                          </p:val>
                        </p:tav>
                        <p:tav tm="100000">
                          <p:val>
                            <p:strVal val="#ppt_w"/>
                          </p:val>
                        </p:tav>
                      </p:tavLst>
                    </p:anim>
                    <p:anim calcmode="lin" valueType="num">
                      <p:cBhvr>
                        <p:cTn dur="400" fill="hold"/>
                        <p:tgtEl>
                          <p:spTgt spid="4"/>
                        </p:tgtEl>
                        <p:attrNameLst>
                          <p:attrName>ppt_h</p:attrName>
                        </p:attrNameLst>
                      </p:cBhvr>
                      <p:tavLst>
                        <p:tav tm="0">
                          <p:val>
                            <p:strVal val="#ppt_h"/>
                          </p:val>
                        </p:tav>
                        <p:tav tm="100000">
                          <p:val>
                            <p:strVal val="#ppt_h"/>
                          </p:val>
                        </p:tav>
                      </p:tavLst>
                    </p:anim>
                    <p:animEffect transition="in" filter="fade">
                      <p:cBhvr>
                        <p:cTn dur="400"/>
                        <p:tgtEl>
                          <p:spTgt spid="4"/>
                        </p:tgtEl>
                      </p:cBhvr>
                    </p:animEffect>
                  </p:childTnLst>
                </p:cTn>
              </p:par>
            </p:tnLst>
          </p:tmpl>
        </p:tmplLst>
      </p:bldP>
    </p:bldLst>
  </p:timing>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nt Main (White)">
    <p:spTree>
      <p:nvGrpSpPr>
        <p:cNvPr id="1" name=""/>
        <p:cNvGrpSpPr/>
        <p:nvPr/>
      </p:nvGrpSpPr>
      <p:grpSpPr>
        <a:xfrm>
          <a:off x="0" y="0"/>
          <a:ext cx="0" cy="0"/>
          <a:chOff x="0" y="0"/>
          <a:chExt cx="0" cy="0"/>
        </a:xfrm>
      </p:grpSpPr>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674159" y="1834335"/>
            <a:ext cx="5097991" cy="3971154"/>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a:p>
            <a:pPr lvl="0"/>
            <a:r>
              <a:rPr lang="en-GB" dirty="0"/>
              <a:t>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err="1"/>
              <a:t>facilisi</a:t>
            </a:r>
            <a:r>
              <a:rPr lang="en-GB"/>
              <a:t>.</a:t>
            </a:r>
            <a:endParaRPr lang="en-GB" dirty="0"/>
          </a:p>
        </p:txBody>
      </p:sp>
      <p:sp>
        <p:nvSpPr>
          <p:cNvPr id="12" name="Text Placeholder 11">
            <a:extLst>
              <a:ext uri="{FF2B5EF4-FFF2-40B4-BE49-F238E27FC236}">
                <a16:creationId xmlns:a16="http://schemas.microsoft.com/office/drawing/2014/main" id="{1B152CED-AC0C-A42F-8D63-98D6B0437716}"/>
              </a:ext>
            </a:extLst>
          </p:cNvPr>
          <p:cNvSpPr>
            <a:spLocks noGrp="1"/>
          </p:cNvSpPr>
          <p:nvPr>
            <p:ph type="body" sz="quarter" idx="19" hasCustomPrompt="1"/>
          </p:nvPr>
        </p:nvSpPr>
        <p:spPr>
          <a:xfrm>
            <a:off x="6435196" y="1834335"/>
            <a:ext cx="5097991" cy="3971153"/>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a:p>
            <a:pPr lvl="0"/>
            <a:r>
              <a:rPr lang="en-GB" dirty="0"/>
              <a:t>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err="1"/>
              <a:t>facilisi</a:t>
            </a:r>
            <a:r>
              <a:rPr lang="en-GB"/>
              <a:t>.</a:t>
            </a:r>
            <a:endParaRPr lang="en-GB" dirty="0"/>
          </a:p>
        </p:txBody>
      </p:sp>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p>
            <a:r>
              <a:rPr lang="en-GB" dirty="0"/>
              <a:t>Regular heading </a:t>
            </a:r>
            <a:r>
              <a:rPr lang="en-GB"/>
              <a:t>goes here</a:t>
            </a:r>
            <a:endParaRPr lang="en-GB" dirty="0"/>
          </a:p>
        </p:txBody>
      </p:sp>
      <p:sp>
        <p:nvSpPr>
          <p:cNvPr id="3" name="Text Placeholder 9">
            <a:extLst>
              <a:ext uri="{FF2B5EF4-FFF2-40B4-BE49-F238E27FC236}">
                <a16:creationId xmlns:a16="http://schemas.microsoft.com/office/drawing/2014/main" id="{D0777F17-9557-2ACF-0685-37E0811D52CC}"/>
              </a:ext>
            </a:extLst>
          </p:cNvPr>
          <p:cNvSpPr>
            <a:spLocks noGrp="1"/>
          </p:cNvSpPr>
          <p:nvPr>
            <p:ph type="body" sz="quarter" idx="18" hasCustomPrompt="1"/>
          </p:nvPr>
        </p:nvSpPr>
        <p:spPr>
          <a:xfrm>
            <a:off x="674159" y="1051658"/>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dirty="0"/>
              <a:t>Subheading </a:t>
            </a:r>
            <a:r>
              <a:rPr lang="en-GB"/>
              <a:t>goes here</a:t>
            </a:r>
            <a:endParaRPr lang="en-GB" dirty="0"/>
          </a:p>
        </p:txBody>
      </p:sp>
    </p:spTree>
    <p:extLst>
      <p:ext uri="{BB962C8B-B14F-4D97-AF65-F5344CB8AC3E}">
        <p14:creationId xmlns:p14="http://schemas.microsoft.com/office/powerpoint/2010/main" val="1147292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 Ripple Right (White)">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id="{240D5921-FD2C-1B1F-1965-9B2EA10E80F6}"/>
              </a:ext>
            </a:extLst>
          </p:cNvPr>
          <p:cNvSpPr/>
          <p:nvPr userDrawn="1"/>
        </p:nvSpPr>
        <p:spPr>
          <a:xfrm>
            <a:off x="7594280"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47DA86"/>
          </a:solidFill>
          <a:ln w="6350" cap="flat">
            <a:noFill/>
            <a:prstDash val="solid"/>
            <a:miter/>
          </a:ln>
        </p:spPr>
        <p:txBody>
          <a:bodyPr rtlCol="0" anchor="ctr"/>
          <a:lstStyle/>
          <a:p>
            <a:endParaRPr lang="en-GB" dirty="0"/>
          </a:p>
        </p:txBody>
      </p:sp>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658813" y="549275"/>
            <a:ext cx="6456691" cy="2544379"/>
          </a:xfrm>
          <a:prstGeom prst="rect">
            <a:avLst/>
          </a:prstGeom>
        </p:spPr>
        <p:txBody>
          <a:bodyPr anchor="b" anchorCtr="0">
            <a:normAutofit/>
          </a:bodyPr>
          <a:lstStyle>
            <a:lvl1pPr marL="0" indent="0">
              <a:lnSpc>
                <a:spcPct val="90000"/>
              </a:lnSpc>
              <a:spcBef>
                <a:spcPts val="0"/>
              </a:spcBef>
              <a:buNone/>
              <a:defRPr sz="6500" b="1">
                <a:solidFill>
                  <a:srgbClr val="00625F"/>
                </a:solidFill>
                <a:latin typeface="+mj-lt"/>
              </a:defRPr>
            </a:lvl1pPr>
          </a:lstStyle>
          <a:p>
            <a:pPr lvl="0"/>
            <a:r>
              <a:rPr lang="en-GB" dirty="0"/>
              <a:t>A captivating headline</a:t>
            </a:r>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658812" y="3336415"/>
            <a:ext cx="6456691" cy="2469073"/>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9" name="Slide Number Placeholder 8">
            <a:extLst>
              <a:ext uri="{FF2B5EF4-FFF2-40B4-BE49-F238E27FC236}">
                <a16:creationId xmlns:a16="http://schemas.microsoft.com/office/drawing/2014/main" id="{F0B64AC3-B172-225E-8183-2CA74D21EC95}"/>
              </a:ext>
            </a:extLst>
          </p:cNvPr>
          <p:cNvSpPr>
            <a:spLocks noGrp="1"/>
          </p:cNvSpPr>
          <p:nvPr>
            <p:ph type="sldNum" sz="quarter" idx="18"/>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589557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 Ripple Left (White)">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5076496" y="549275"/>
            <a:ext cx="6456691" cy="2544379"/>
          </a:xfrm>
          <a:prstGeom prst="rect">
            <a:avLst/>
          </a:prstGeom>
        </p:spPr>
        <p:txBody>
          <a:bodyPr anchor="b" anchorCtr="0">
            <a:normAutofit/>
          </a:bodyPr>
          <a:lstStyle>
            <a:lvl1pPr marL="0" indent="0">
              <a:lnSpc>
                <a:spcPct val="90000"/>
              </a:lnSpc>
              <a:spcBef>
                <a:spcPts val="0"/>
              </a:spcBef>
              <a:buNone/>
              <a:defRPr sz="6500" b="1">
                <a:solidFill>
                  <a:srgbClr val="00625F"/>
                </a:solidFill>
                <a:latin typeface="+mj-lt"/>
              </a:defRPr>
            </a:lvl1pPr>
          </a:lstStyle>
          <a:p>
            <a:pPr lvl="0"/>
            <a:r>
              <a:rPr lang="en-GB" dirty="0"/>
              <a:t>A captivating headline</a:t>
            </a:r>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5076495" y="3344507"/>
            <a:ext cx="6456693" cy="2460981"/>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2" name="Graphic 2">
            <a:extLst>
              <a:ext uri="{FF2B5EF4-FFF2-40B4-BE49-F238E27FC236}">
                <a16:creationId xmlns:a16="http://schemas.microsoft.com/office/drawing/2014/main" id="{29BBB147-539D-C22A-2D6B-0E01233A8860}"/>
              </a:ext>
            </a:extLst>
          </p:cNvPr>
          <p:cNvSpPr/>
          <p:nvPr userDrawn="1"/>
        </p:nvSpPr>
        <p:spPr>
          <a:xfrm>
            <a:off x="-3526153"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47DA86"/>
          </a:solidFill>
          <a:ln w="6350" cap="flat">
            <a:noFill/>
            <a:prstDash val="solid"/>
            <a:miter/>
          </a:ln>
        </p:spPr>
        <p:txBody>
          <a:bodyPr rtlCol="0" anchor="ctr"/>
          <a:lstStyle/>
          <a:p>
            <a:endParaRPr lang="en-GB" dirty="0"/>
          </a:p>
        </p:txBody>
      </p:sp>
      <p:sp>
        <p:nvSpPr>
          <p:cNvPr id="10" name="Slide Number Placeholder 9">
            <a:extLst>
              <a:ext uri="{FF2B5EF4-FFF2-40B4-BE49-F238E27FC236}">
                <a16:creationId xmlns:a16="http://schemas.microsoft.com/office/drawing/2014/main" id="{ECDB104C-CD58-B53E-A4FC-1E3DE5A83378}"/>
              </a:ext>
            </a:extLst>
          </p:cNvPr>
          <p:cNvSpPr>
            <a:spLocks noGrp="1"/>
          </p:cNvSpPr>
          <p:nvPr>
            <p:ph type="sldNum" sz="quarter" idx="18"/>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60932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ent Left Small Image (White)">
    <p:spTree>
      <p:nvGrpSpPr>
        <p:cNvPr id="1" name=""/>
        <p:cNvGrpSpPr/>
        <p:nvPr/>
      </p:nvGrpSpPr>
      <p:grpSpPr>
        <a:xfrm>
          <a:off x="0" y="0"/>
          <a:ext cx="0" cy="0"/>
          <a:chOff x="0" y="0"/>
          <a:chExt cx="0" cy="0"/>
        </a:xfrm>
      </p:grpSpPr>
      <p:sp>
        <p:nvSpPr>
          <p:cNvPr id="8" name="Vrije vorm: vorm 7">
            <a:extLst>
              <a:ext uri="{FF2B5EF4-FFF2-40B4-BE49-F238E27FC236}">
                <a16:creationId xmlns:a16="http://schemas.microsoft.com/office/drawing/2014/main" id="{E5E52AD9-93AF-F1B4-26FB-87DD4E9BFE6E}"/>
              </a:ext>
            </a:extLst>
          </p:cNvPr>
          <p:cNvSpPr>
            <a:spLocks noGrp="1"/>
          </p:cNvSpPr>
          <p:nvPr>
            <p:ph type="pic" sz="quarter" idx="19"/>
          </p:nvPr>
        </p:nvSpPr>
        <p:spPr>
          <a:xfrm>
            <a:off x="0" y="-1"/>
            <a:ext cx="4165141" cy="6860681"/>
          </a:xfrm>
          <a:custGeom>
            <a:avLst/>
            <a:gdLst>
              <a:gd name="connsiteX0" fmla="*/ 885066 w 4165141"/>
              <a:gd name="connsiteY0" fmla="*/ 1 h 6860681"/>
              <a:gd name="connsiteX1" fmla="*/ 1285270 w 4165141"/>
              <a:gd name="connsiteY1" fmla="*/ 180595 h 6860681"/>
              <a:gd name="connsiteX2" fmla="*/ 3154938 w 4165141"/>
              <a:gd name="connsiteY2" fmla="*/ 2390776 h 6860681"/>
              <a:gd name="connsiteX3" fmla="*/ 3072512 w 4165141"/>
              <a:gd name="connsiteY3" fmla="*/ 5293107 h 6860681"/>
              <a:gd name="connsiteX4" fmla="*/ 1746072 w 4165141"/>
              <a:gd name="connsiteY4" fmla="*/ 6858001 h 6860681"/>
              <a:gd name="connsiteX5" fmla="*/ 2102429 w 4165141"/>
              <a:gd name="connsiteY5" fmla="*/ 6858001 h 6860681"/>
              <a:gd name="connsiteX6" fmla="*/ 3753372 w 4165141"/>
              <a:gd name="connsiteY6" fmla="*/ 3013902 h 6860681"/>
              <a:gd name="connsiteX7" fmla="*/ 1857243 w 4165141"/>
              <a:gd name="connsiteY7" fmla="*/ 154751 h 6860681"/>
              <a:gd name="connsiteX8" fmla="*/ 1571383 w 4165141"/>
              <a:gd name="connsiteY8" fmla="*/ 1 h 6860681"/>
              <a:gd name="connsiteX9" fmla="*/ 0 w 4165141"/>
              <a:gd name="connsiteY9" fmla="*/ 0 h 6860681"/>
              <a:gd name="connsiteX10" fmla="*/ 2372706 w 4165141"/>
              <a:gd name="connsiteY10" fmla="*/ 0 h 6860681"/>
              <a:gd name="connsiteX11" fmla="*/ 3921754 w 4165141"/>
              <a:gd name="connsiteY11" fmla="*/ 5161393 h 6860681"/>
              <a:gd name="connsiteX12" fmla="*/ 2580100 w 4165141"/>
              <a:gd name="connsiteY12" fmla="*/ 6860681 h 6860681"/>
              <a:gd name="connsiteX13" fmla="*/ 150053 w 4165141"/>
              <a:gd name="connsiteY13" fmla="*/ 6860681 h 6860681"/>
              <a:gd name="connsiteX14" fmla="*/ 0 w 4165141"/>
              <a:gd name="connsiteY14" fmla="*/ 6860681 h 686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65141" h="6860681">
                <a:moveTo>
                  <a:pt x="885066" y="1"/>
                </a:moveTo>
                <a:cubicBezTo>
                  <a:pt x="1020921" y="51563"/>
                  <a:pt x="1154491" y="111761"/>
                  <a:pt x="1285270" y="180595"/>
                </a:cubicBezTo>
                <a:cubicBezTo>
                  <a:pt x="2151542" y="635700"/>
                  <a:pt x="2814953" y="1420941"/>
                  <a:pt x="3154938" y="2390776"/>
                </a:cubicBezTo>
                <a:cubicBezTo>
                  <a:pt x="3495749" y="3362644"/>
                  <a:pt x="3466497" y="4393376"/>
                  <a:pt x="3072512" y="5293107"/>
                </a:cubicBezTo>
                <a:cubicBezTo>
                  <a:pt x="2787667" y="5943665"/>
                  <a:pt x="2329023" y="6480621"/>
                  <a:pt x="1746072" y="6858001"/>
                </a:cubicBezTo>
                <a:lnTo>
                  <a:pt x="2102429" y="6858001"/>
                </a:lnTo>
                <a:cubicBezTo>
                  <a:pt x="3294220" y="6005133"/>
                  <a:pt x="3974192" y="4511613"/>
                  <a:pt x="3753372" y="3013902"/>
                </a:cubicBezTo>
                <a:cubicBezTo>
                  <a:pt x="3581222" y="1810831"/>
                  <a:pt x="2890082" y="768669"/>
                  <a:pt x="1857243" y="154751"/>
                </a:cubicBezTo>
                <a:cubicBezTo>
                  <a:pt x="1763522" y="99125"/>
                  <a:pt x="1668150" y="47499"/>
                  <a:pt x="1571383" y="1"/>
                </a:cubicBezTo>
                <a:close/>
                <a:moveTo>
                  <a:pt x="0" y="0"/>
                </a:moveTo>
                <a:lnTo>
                  <a:pt x="2372706" y="0"/>
                </a:lnTo>
                <a:cubicBezTo>
                  <a:pt x="4025896" y="1030183"/>
                  <a:pt x="4517711" y="3349918"/>
                  <a:pt x="3921754" y="5161393"/>
                </a:cubicBezTo>
                <a:cubicBezTo>
                  <a:pt x="3672765" y="5932457"/>
                  <a:pt x="3188188" y="6494906"/>
                  <a:pt x="2580100" y="6860681"/>
                </a:cubicBezTo>
                <a:cubicBezTo>
                  <a:pt x="2580100" y="6860681"/>
                  <a:pt x="1284075" y="6860681"/>
                  <a:pt x="150053" y="6860681"/>
                </a:cubicBezTo>
                <a:lnTo>
                  <a:pt x="0" y="6860681"/>
                </a:lnTo>
                <a:close/>
              </a:path>
            </a:pathLst>
          </a:custGeom>
          <a:ln>
            <a:noFill/>
          </a:ln>
        </p:spPr>
        <p:txBody>
          <a:bodyPr wrap="square" anchor="ctr">
            <a:noAutofit/>
          </a:bodyPr>
          <a:lstStyle>
            <a:lvl1pPr marL="0" indent="0" algn="ctr">
              <a:buNone/>
              <a:defRPr>
                <a:solidFill>
                  <a:srgbClr val="00625F"/>
                </a:solidFill>
              </a:defRPr>
            </a:lvl1pPr>
          </a:lstStyle>
          <a:p>
            <a:r>
              <a:rPr lang="en-US" dirty="0"/>
              <a:t>Click icon to add picture</a:t>
            </a:r>
          </a:p>
        </p:txBody>
      </p:sp>
      <p:sp>
        <p:nvSpPr>
          <p:cNvPr id="23" name="Text Placeholder 11">
            <a:extLst>
              <a:ext uri="{FF2B5EF4-FFF2-40B4-BE49-F238E27FC236}">
                <a16:creationId xmlns:a16="http://schemas.microsoft.com/office/drawing/2014/main" id="{0A4BC4EF-459A-7845-F619-515A9AFC49DB}"/>
              </a:ext>
            </a:extLst>
          </p:cNvPr>
          <p:cNvSpPr>
            <a:spLocks noGrp="1"/>
          </p:cNvSpPr>
          <p:nvPr>
            <p:ph type="body" sz="quarter" idx="17" hasCustomPrompt="1"/>
          </p:nvPr>
        </p:nvSpPr>
        <p:spPr>
          <a:xfrm>
            <a:off x="4608095" y="2033337"/>
            <a:ext cx="6925095" cy="3772152"/>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2" name="Text Placeholder 11">
            <a:extLst>
              <a:ext uri="{FF2B5EF4-FFF2-40B4-BE49-F238E27FC236}">
                <a16:creationId xmlns:a16="http://schemas.microsoft.com/office/drawing/2014/main" id="{1B2E71AF-560B-8492-C46B-152A4A3B96DE}"/>
              </a:ext>
            </a:extLst>
          </p:cNvPr>
          <p:cNvSpPr>
            <a:spLocks noGrp="1"/>
          </p:cNvSpPr>
          <p:nvPr>
            <p:ph type="body" sz="quarter" idx="18" hasCustomPrompt="1"/>
          </p:nvPr>
        </p:nvSpPr>
        <p:spPr>
          <a:xfrm>
            <a:off x="4606005" y="549275"/>
            <a:ext cx="6925095" cy="978736"/>
          </a:xfrm>
          <a:prstGeom prst="rect">
            <a:avLst/>
          </a:prstGeom>
        </p:spPr>
        <p:txBody>
          <a:bodyPr anchor="b" anchorCtr="0">
            <a:noAutofit/>
          </a:bodyPr>
          <a:lstStyle>
            <a:lvl1pPr marL="0" indent="0">
              <a:lnSpc>
                <a:spcPct val="90000"/>
              </a:lnSpc>
              <a:buNone/>
              <a:defRPr sz="4000" b="1">
                <a:solidFill>
                  <a:srgbClr val="00625F"/>
                </a:solidFill>
              </a:defRPr>
            </a:lvl1pPr>
          </a:lstStyle>
          <a:p>
            <a:pPr lvl="0"/>
            <a:r>
              <a:rPr lang="en-GB" dirty="0"/>
              <a:t>A captivating headline</a:t>
            </a:r>
          </a:p>
        </p:txBody>
      </p:sp>
      <p:sp>
        <p:nvSpPr>
          <p:cNvPr id="2" name="Slide Number Placeholder 1">
            <a:extLst>
              <a:ext uri="{FF2B5EF4-FFF2-40B4-BE49-F238E27FC236}">
                <a16:creationId xmlns:a16="http://schemas.microsoft.com/office/drawing/2014/main" id="{878DEAD0-851B-701E-F00F-E5C521AB6691}"/>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5" name="Graphic 8">
            <a:extLst>
              <a:ext uri="{FF2B5EF4-FFF2-40B4-BE49-F238E27FC236}">
                <a16:creationId xmlns:a16="http://schemas.microsoft.com/office/drawing/2014/main" id="{6090EEAA-C762-8742-6743-DFD85CA10FA8}"/>
              </a:ext>
            </a:extLst>
          </p:cNvPr>
          <p:cNvSpPr>
            <a:spLocks noChangeAspect="1"/>
          </p:cNvSpPr>
          <p:nvPr userDrawn="1"/>
        </p:nvSpPr>
        <p:spPr>
          <a:xfrm flipH="1">
            <a:off x="881744"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GB" dirty="0"/>
          </a:p>
        </p:txBody>
      </p:sp>
    </p:spTree>
    <p:extLst>
      <p:ext uri="{BB962C8B-B14F-4D97-AF65-F5344CB8AC3E}">
        <p14:creationId xmlns:p14="http://schemas.microsoft.com/office/powerpoint/2010/main" val="416047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 Left Image Medium (White)">
    <p:spTree>
      <p:nvGrpSpPr>
        <p:cNvPr id="1" name=""/>
        <p:cNvGrpSpPr/>
        <p:nvPr/>
      </p:nvGrpSpPr>
      <p:grpSpPr>
        <a:xfrm>
          <a:off x="0" y="0"/>
          <a:ext cx="0" cy="0"/>
          <a:chOff x="0" y="0"/>
          <a:chExt cx="0" cy="0"/>
        </a:xfrm>
      </p:grpSpPr>
      <p:sp>
        <p:nvSpPr>
          <p:cNvPr id="23" name="Text Placeholder 11">
            <a:extLst>
              <a:ext uri="{FF2B5EF4-FFF2-40B4-BE49-F238E27FC236}">
                <a16:creationId xmlns:a16="http://schemas.microsoft.com/office/drawing/2014/main" id="{0A4BC4EF-459A-7845-F619-515A9AFC49DB}"/>
              </a:ext>
            </a:extLst>
          </p:cNvPr>
          <p:cNvSpPr>
            <a:spLocks noGrp="1"/>
          </p:cNvSpPr>
          <p:nvPr>
            <p:ph type="body" sz="quarter" idx="17" hasCustomPrompt="1"/>
          </p:nvPr>
        </p:nvSpPr>
        <p:spPr>
          <a:xfrm>
            <a:off x="5662040" y="2033337"/>
            <a:ext cx="5871150" cy="3772152"/>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2" name="Text Placeholder 11">
            <a:extLst>
              <a:ext uri="{FF2B5EF4-FFF2-40B4-BE49-F238E27FC236}">
                <a16:creationId xmlns:a16="http://schemas.microsoft.com/office/drawing/2014/main" id="{1B2E71AF-560B-8492-C46B-152A4A3B96DE}"/>
              </a:ext>
            </a:extLst>
          </p:cNvPr>
          <p:cNvSpPr>
            <a:spLocks noGrp="1"/>
          </p:cNvSpPr>
          <p:nvPr>
            <p:ph type="body" sz="quarter" idx="18" hasCustomPrompt="1"/>
          </p:nvPr>
        </p:nvSpPr>
        <p:spPr>
          <a:xfrm>
            <a:off x="5659950" y="549275"/>
            <a:ext cx="5871150" cy="978736"/>
          </a:xfrm>
          <a:prstGeom prst="rect">
            <a:avLst/>
          </a:prstGeom>
        </p:spPr>
        <p:txBody>
          <a:bodyPr anchor="b" anchorCtr="0">
            <a:noAutofit/>
          </a:bodyPr>
          <a:lstStyle>
            <a:lvl1pPr marL="0" indent="0">
              <a:lnSpc>
                <a:spcPct val="90000"/>
              </a:lnSpc>
              <a:buNone/>
              <a:defRPr sz="4000" b="1">
                <a:solidFill>
                  <a:srgbClr val="00625F"/>
                </a:solidFill>
              </a:defRPr>
            </a:lvl1pPr>
          </a:lstStyle>
          <a:p>
            <a:pPr lvl="0"/>
            <a:r>
              <a:rPr lang="en-GB" dirty="0"/>
              <a:t>A captivating headline</a:t>
            </a:r>
          </a:p>
        </p:txBody>
      </p:sp>
      <p:sp>
        <p:nvSpPr>
          <p:cNvPr id="2" name="Slide Number Placeholder 1">
            <a:extLst>
              <a:ext uri="{FF2B5EF4-FFF2-40B4-BE49-F238E27FC236}">
                <a16:creationId xmlns:a16="http://schemas.microsoft.com/office/drawing/2014/main" id="{878DEAD0-851B-701E-F00F-E5C521AB6691}"/>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5" name="Graphic 8">
            <a:extLst>
              <a:ext uri="{FF2B5EF4-FFF2-40B4-BE49-F238E27FC236}">
                <a16:creationId xmlns:a16="http://schemas.microsoft.com/office/drawing/2014/main" id="{6090EEAA-C762-8742-6743-DFD85CA10FA8}"/>
              </a:ext>
            </a:extLst>
          </p:cNvPr>
          <p:cNvSpPr>
            <a:spLocks noChangeAspect="1"/>
          </p:cNvSpPr>
          <p:nvPr userDrawn="1"/>
        </p:nvSpPr>
        <p:spPr>
          <a:xfrm flipH="1">
            <a:off x="1809730"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GB" dirty="0"/>
          </a:p>
        </p:txBody>
      </p:sp>
      <p:sp>
        <p:nvSpPr>
          <p:cNvPr id="8" name="Vrije vorm: vorm 7">
            <a:extLst>
              <a:ext uri="{FF2B5EF4-FFF2-40B4-BE49-F238E27FC236}">
                <a16:creationId xmlns:a16="http://schemas.microsoft.com/office/drawing/2014/main" id="{3D46CD41-B2FD-91E1-6F8C-5A2BAECD2FF0}"/>
              </a:ext>
            </a:extLst>
          </p:cNvPr>
          <p:cNvSpPr>
            <a:spLocks noGrp="1"/>
          </p:cNvSpPr>
          <p:nvPr>
            <p:ph type="pic" sz="quarter" idx="19"/>
          </p:nvPr>
        </p:nvSpPr>
        <p:spPr>
          <a:xfrm>
            <a:off x="1" y="-1"/>
            <a:ext cx="5091571" cy="6860681"/>
          </a:xfrm>
          <a:custGeom>
            <a:avLst/>
            <a:gdLst>
              <a:gd name="connsiteX0" fmla="*/ 1811496 w 5091571"/>
              <a:gd name="connsiteY0" fmla="*/ 1 h 6860681"/>
              <a:gd name="connsiteX1" fmla="*/ 2211700 w 5091571"/>
              <a:gd name="connsiteY1" fmla="*/ 180595 h 6860681"/>
              <a:gd name="connsiteX2" fmla="*/ 4081368 w 5091571"/>
              <a:gd name="connsiteY2" fmla="*/ 2390776 h 6860681"/>
              <a:gd name="connsiteX3" fmla="*/ 3998942 w 5091571"/>
              <a:gd name="connsiteY3" fmla="*/ 5293107 h 6860681"/>
              <a:gd name="connsiteX4" fmla="*/ 2672502 w 5091571"/>
              <a:gd name="connsiteY4" fmla="*/ 6858001 h 6860681"/>
              <a:gd name="connsiteX5" fmla="*/ 3028859 w 5091571"/>
              <a:gd name="connsiteY5" fmla="*/ 6858001 h 6860681"/>
              <a:gd name="connsiteX6" fmla="*/ 4679802 w 5091571"/>
              <a:gd name="connsiteY6" fmla="*/ 3013902 h 6860681"/>
              <a:gd name="connsiteX7" fmla="*/ 2783673 w 5091571"/>
              <a:gd name="connsiteY7" fmla="*/ 154751 h 6860681"/>
              <a:gd name="connsiteX8" fmla="*/ 2497813 w 5091571"/>
              <a:gd name="connsiteY8" fmla="*/ 1 h 6860681"/>
              <a:gd name="connsiteX9" fmla="*/ 0 w 5091571"/>
              <a:gd name="connsiteY9" fmla="*/ 0 h 6860681"/>
              <a:gd name="connsiteX10" fmla="*/ 3299136 w 5091571"/>
              <a:gd name="connsiteY10" fmla="*/ 0 h 6860681"/>
              <a:gd name="connsiteX11" fmla="*/ 4848184 w 5091571"/>
              <a:gd name="connsiteY11" fmla="*/ 5161393 h 6860681"/>
              <a:gd name="connsiteX12" fmla="*/ 3506530 w 5091571"/>
              <a:gd name="connsiteY12" fmla="*/ 6860681 h 6860681"/>
              <a:gd name="connsiteX13" fmla="*/ 50463 w 5091571"/>
              <a:gd name="connsiteY13" fmla="*/ 6860681 h 6860681"/>
              <a:gd name="connsiteX14" fmla="*/ 0 w 5091571"/>
              <a:gd name="connsiteY14" fmla="*/ 6860681 h 686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91571" h="6860681">
                <a:moveTo>
                  <a:pt x="1811496" y="1"/>
                </a:moveTo>
                <a:cubicBezTo>
                  <a:pt x="1947351" y="51563"/>
                  <a:pt x="2080921" y="111761"/>
                  <a:pt x="2211700" y="180595"/>
                </a:cubicBezTo>
                <a:cubicBezTo>
                  <a:pt x="3077972" y="635700"/>
                  <a:pt x="3741383" y="1420941"/>
                  <a:pt x="4081368" y="2390776"/>
                </a:cubicBezTo>
                <a:cubicBezTo>
                  <a:pt x="4422179" y="3362644"/>
                  <a:pt x="4392927" y="4393376"/>
                  <a:pt x="3998942" y="5293107"/>
                </a:cubicBezTo>
                <a:cubicBezTo>
                  <a:pt x="3714097" y="5943665"/>
                  <a:pt x="3255453" y="6480621"/>
                  <a:pt x="2672502" y="6858001"/>
                </a:cubicBezTo>
                <a:lnTo>
                  <a:pt x="3028859" y="6858001"/>
                </a:lnTo>
                <a:cubicBezTo>
                  <a:pt x="4220650" y="6005133"/>
                  <a:pt x="4900622" y="4511613"/>
                  <a:pt x="4679802" y="3013902"/>
                </a:cubicBezTo>
                <a:cubicBezTo>
                  <a:pt x="4507652" y="1810831"/>
                  <a:pt x="3816512" y="768669"/>
                  <a:pt x="2783673" y="154751"/>
                </a:cubicBezTo>
                <a:cubicBezTo>
                  <a:pt x="2689952" y="99125"/>
                  <a:pt x="2594580" y="47499"/>
                  <a:pt x="2497813" y="1"/>
                </a:cubicBezTo>
                <a:close/>
                <a:moveTo>
                  <a:pt x="0" y="0"/>
                </a:moveTo>
                <a:lnTo>
                  <a:pt x="3299136" y="0"/>
                </a:lnTo>
                <a:cubicBezTo>
                  <a:pt x="4952326" y="1030183"/>
                  <a:pt x="5444141" y="3349918"/>
                  <a:pt x="4848184" y="5161393"/>
                </a:cubicBezTo>
                <a:cubicBezTo>
                  <a:pt x="4599195" y="5932457"/>
                  <a:pt x="4114618" y="6494906"/>
                  <a:pt x="3506530" y="6860681"/>
                </a:cubicBezTo>
                <a:cubicBezTo>
                  <a:pt x="3506530" y="6860681"/>
                  <a:pt x="1202486" y="6860681"/>
                  <a:pt x="50463" y="6860681"/>
                </a:cubicBezTo>
                <a:lnTo>
                  <a:pt x="0" y="6860681"/>
                </a:lnTo>
                <a:close/>
              </a:path>
            </a:pathLst>
          </a:custGeom>
          <a:ln>
            <a:noFill/>
          </a:ln>
        </p:spPr>
        <p:txBody>
          <a:bodyPr wrap="square" anchor="ctr">
            <a:noAutofit/>
          </a:bodyPr>
          <a:lstStyle>
            <a:lvl1pPr marL="0" indent="0" algn="ctr">
              <a:buNone/>
              <a:defRPr>
                <a:solidFill>
                  <a:srgbClr val="00625F"/>
                </a:solidFill>
              </a:defRPr>
            </a:lvl1pPr>
          </a:lstStyle>
          <a:p>
            <a:r>
              <a:rPr lang="en-US" dirty="0"/>
              <a:t>Click icon to add picture</a:t>
            </a:r>
          </a:p>
        </p:txBody>
      </p:sp>
    </p:spTree>
    <p:extLst>
      <p:ext uri="{BB962C8B-B14F-4D97-AF65-F5344CB8AC3E}">
        <p14:creationId xmlns:p14="http://schemas.microsoft.com/office/powerpoint/2010/main" val="2525858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without image)">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ACE6FAF9-7846-146C-6D08-D1DF65DF7E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Text Placeholder 11">
            <a:extLst>
              <a:ext uri="{FF2B5EF4-FFF2-40B4-BE49-F238E27FC236}">
                <a16:creationId xmlns:a16="http://schemas.microsoft.com/office/drawing/2014/main" id="{140D1306-286B-D86B-C6B5-BC2A0E54B29C}"/>
              </a:ext>
            </a:extLst>
          </p:cNvPr>
          <p:cNvSpPr>
            <a:spLocks noGrp="1"/>
          </p:cNvSpPr>
          <p:nvPr>
            <p:ph type="body" sz="quarter" idx="16" hasCustomPrompt="1"/>
          </p:nvPr>
        </p:nvSpPr>
        <p:spPr>
          <a:xfrm>
            <a:off x="658812" y="1166813"/>
            <a:ext cx="10874375" cy="1868632"/>
          </a:xfrm>
        </p:spPr>
        <p:txBody>
          <a:bodyPr anchor="b">
            <a:normAutofit/>
          </a:bodyPr>
          <a:lstStyle>
            <a:lvl1pPr marL="0" indent="0">
              <a:lnSpc>
                <a:spcPct val="90000"/>
              </a:lnSpc>
              <a:spcBef>
                <a:spcPts val="0"/>
              </a:spcBef>
              <a:spcAft>
                <a:spcPts val="0"/>
              </a:spcAft>
              <a:buNone/>
              <a:defRPr sz="6500" b="1">
                <a:solidFill>
                  <a:srgbClr val="FFFFFF"/>
                </a:solidFill>
                <a:latin typeface="+mj-lt"/>
              </a:defRPr>
            </a:lvl1pPr>
          </a:lstStyle>
          <a:p>
            <a:pPr lvl="0"/>
            <a:r>
              <a:rPr lang="en-GB" dirty="0"/>
              <a:t>Presentation title goes in this space here</a:t>
            </a:r>
          </a:p>
        </p:txBody>
      </p:sp>
      <p:sp>
        <p:nvSpPr>
          <p:cNvPr id="16" name="Text Placeholder 11">
            <a:extLst>
              <a:ext uri="{FF2B5EF4-FFF2-40B4-BE49-F238E27FC236}">
                <a16:creationId xmlns:a16="http://schemas.microsoft.com/office/drawing/2014/main" id="{74A8F2DB-B148-88A1-2854-99FF5E6E5E58}"/>
              </a:ext>
            </a:extLst>
          </p:cNvPr>
          <p:cNvSpPr>
            <a:spLocks noGrp="1"/>
          </p:cNvSpPr>
          <p:nvPr>
            <p:ph type="body" sz="quarter" idx="17" hasCustomPrompt="1"/>
          </p:nvPr>
        </p:nvSpPr>
        <p:spPr>
          <a:xfrm>
            <a:off x="658813" y="3263962"/>
            <a:ext cx="5113337" cy="626878"/>
          </a:xfrm>
        </p:spPr>
        <p:txBody>
          <a:bodyPr>
            <a:normAutofit/>
          </a:bodyPr>
          <a:lstStyle>
            <a:lvl1pPr marL="0" indent="0">
              <a:buNone/>
              <a:defRPr sz="2800" b="0">
                <a:solidFill>
                  <a:srgbClr val="47D985"/>
                </a:solidFill>
              </a:defRPr>
            </a:lvl1pPr>
          </a:lstStyle>
          <a:p>
            <a:pPr lvl="0"/>
            <a:r>
              <a:rPr lang="en-GB" dirty="0"/>
              <a:t>25.08.2022</a:t>
            </a:r>
          </a:p>
        </p:txBody>
      </p:sp>
      <p:grpSp>
        <p:nvGrpSpPr>
          <p:cNvPr id="7" name="Graphic 77">
            <a:extLst>
              <a:ext uri="{FF2B5EF4-FFF2-40B4-BE49-F238E27FC236}">
                <a16:creationId xmlns:a16="http://schemas.microsoft.com/office/drawing/2014/main" id="{C014E542-CDFB-7E1A-E7C4-08753D29D426}"/>
              </a:ext>
            </a:extLst>
          </p:cNvPr>
          <p:cNvGrpSpPr>
            <a:grpSpLocks noChangeAspect="1"/>
          </p:cNvGrpSpPr>
          <p:nvPr userDrawn="1"/>
        </p:nvGrpSpPr>
        <p:grpSpPr>
          <a:xfrm>
            <a:off x="658812" y="4884015"/>
            <a:ext cx="2549217" cy="933156"/>
            <a:chOff x="4489439" y="2838428"/>
            <a:chExt cx="3217768" cy="1177883"/>
          </a:xfrm>
          <a:solidFill>
            <a:schemeClr val="bg1"/>
          </a:solidFill>
        </p:grpSpPr>
        <p:sp>
          <p:nvSpPr>
            <p:cNvPr id="28" name="Freeform 5">
              <a:extLst>
                <a:ext uri="{FF2B5EF4-FFF2-40B4-BE49-F238E27FC236}">
                  <a16:creationId xmlns:a16="http://schemas.microsoft.com/office/drawing/2014/main" id="{FD128CD8-58A7-1CDD-7EA4-3325A1AAC7E1}"/>
                </a:ext>
              </a:extLst>
            </p:cNvPr>
            <p:cNvSpPr/>
            <p:nvPr/>
          </p:nvSpPr>
          <p:spPr>
            <a:xfrm>
              <a:off x="4489439" y="2838428"/>
              <a:ext cx="3217388" cy="1177883"/>
            </a:xfrm>
            <a:custGeom>
              <a:avLst/>
              <a:gdLst>
                <a:gd name="connsiteX0" fmla="*/ 1527089 w 3217388"/>
                <a:gd name="connsiteY0" fmla="*/ 295107 h 1177883"/>
                <a:gd name="connsiteX1" fmla="*/ 1705520 w 3217388"/>
                <a:gd name="connsiteY1" fmla="*/ 295107 h 1177883"/>
                <a:gd name="connsiteX2" fmla="*/ 1705520 w 3217388"/>
                <a:gd name="connsiteY2" fmla="*/ 947283 h 1177883"/>
                <a:gd name="connsiteX3" fmla="*/ 1527089 w 3217388"/>
                <a:gd name="connsiteY3" fmla="*/ 947283 h 1177883"/>
                <a:gd name="connsiteX4" fmla="*/ 1527089 w 3217388"/>
                <a:gd name="connsiteY4" fmla="*/ 295107 h 1177883"/>
                <a:gd name="connsiteX5" fmla="*/ 2318481 w 3217388"/>
                <a:gd name="connsiteY5" fmla="*/ 4403 h 1177883"/>
                <a:gd name="connsiteX6" fmla="*/ 2318481 w 3217388"/>
                <a:gd name="connsiteY6" fmla="*/ 386070 h 1177883"/>
                <a:gd name="connsiteX7" fmla="*/ 2100884 w 3217388"/>
                <a:gd name="connsiteY7" fmla="*/ 274533 h 1177883"/>
                <a:gd name="connsiteX8" fmla="*/ 1939848 w 3217388"/>
                <a:gd name="connsiteY8" fmla="*/ 318919 h 1177883"/>
                <a:gd name="connsiteX9" fmla="*/ 1819785 w 3217388"/>
                <a:gd name="connsiteY9" fmla="*/ 441792 h 1177883"/>
                <a:gd name="connsiteX10" fmla="*/ 1776817 w 3217388"/>
                <a:gd name="connsiteY10" fmla="*/ 620576 h 1177883"/>
                <a:gd name="connsiteX11" fmla="*/ 1819785 w 3217388"/>
                <a:gd name="connsiteY11" fmla="*/ 800027 h 1177883"/>
                <a:gd name="connsiteX12" fmla="*/ 1940419 w 3217388"/>
                <a:gd name="connsiteY12" fmla="*/ 922899 h 1177883"/>
                <a:gd name="connsiteX13" fmla="*/ 2111816 w 3217388"/>
                <a:gd name="connsiteY13" fmla="*/ 966619 h 1177883"/>
                <a:gd name="connsiteX14" fmla="*/ 2318481 w 3217388"/>
                <a:gd name="connsiteY14" fmla="*/ 864606 h 1177883"/>
                <a:gd name="connsiteX15" fmla="*/ 2318481 w 3217388"/>
                <a:gd name="connsiteY15" fmla="*/ 947283 h 1177883"/>
                <a:gd name="connsiteX16" fmla="*/ 2496913 w 3217388"/>
                <a:gd name="connsiteY16" fmla="*/ 947283 h 1177883"/>
                <a:gd name="connsiteX17" fmla="*/ 2496913 w 3217388"/>
                <a:gd name="connsiteY17" fmla="*/ 4403 h 1177883"/>
                <a:gd name="connsiteX18" fmla="*/ 2318481 w 3217388"/>
                <a:gd name="connsiteY18" fmla="*/ 4403 h 1177883"/>
                <a:gd name="connsiteX19" fmla="*/ 2146323 w 3217388"/>
                <a:gd name="connsiteY19" fmla="*/ 813648 h 1177883"/>
                <a:gd name="connsiteX20" fmla="*/ 1957815 w 3217388"/>
                <a:gd name="connsiteY20" fmla="*/ 620576 h 1177883"/>
                <a:gd name="connsiteX21" fmla="*/ 2146323 w 3217388"/>
                <a:gd name="connsiteY21" fmla="*/ 427504 h 1177883"/>
                <a:gd name="connsiteX22" fmla="*/ 2334832 w 3217388"/>
                <a:gd name="connsiteY22" fmla="*/ 620576 h 1177883"/>
                <a:gd name="connsiteX23" fmla="*/ 2146323 w 3217388"/>
                <a:gd name="connsiteY23" fmla="*/ 813648 h 1177883"/>
                <a:gd name="connsiteX24" fmla="*/ 3186113 w 3217388"/>
                <a:gd name="connsiteY24" fmla="*/ 403787 h 1177883"/>
                <a:gd name="connsiteX25" fmla="*/ 3097515 w 3217388"/>
                <a:gd name="connsiteY25" fmla="*/ 307298 h 1177883"/>
                <a:gd name="connsiteX26" fmla="*/ 2959485 w 3217388"/>
                <a:gd name="connsiteY26" fmla="*/ 274533 h 1177883"/>
                <a:gd name="connsiteX27" fmla="*/ 2759189 w 3217388"/>
                <a:gd name="connsiteY27" fmla="*/ 385975 h 1177883"/>
                <a:gd name="connsiteX28" fmla="*/ 2759189 w 3217388"/>
                <a:gd name="connsiteY28" fmla="*/ 4403 h 1177883"/>
                <a:gd name="connsiteX29" fmla="*/ 2580567 w 3217388"/>
                <a:gd name="connsiteY29" fmla="*/ 4403 h 1177883"/>
                <a:gd name="connsiteX30" fmla="*/ 2580567 w 3217388"/>
                <a:gd name="connsiteY30" fmla="*/ 947283 h 1177883"/>
                <a:gd name="connsiteX31" fmla="*/ 2759094 w 3217388"/>
                <a:gd name="connsiteY31" fmla="*/ 947283 h 1177883"/>
                <a:gd name="connsiteX32" fmla="*/ 2759094 w 3217388"/>
                <a:gd name="connsiteY32" fmla="*/ 598097 h 1177883"/>
                <a:gd name="connsiteX33" fmla="*/ 2902162 w 3217388"/>
                <a:gd name="connsiteY33" fmla="*/ 429219 h 1177883"/>
                <a:gd name="connsiteX34" fmla="*/ 3038957 w 3217388"/>
                <a:gd name="connsiteY34" fmla="*/ 598097 h 1177883"/>
                <a:gd name="connsiteX35" fmla="*/ 3038957 w 3217388"/>
                <a:gd name="connsiteY35" fmla="*/ 947283 h 1177883"/>
                <a:gd name="connsiteX36" fmla="*/ 3217388 w 3217388"/>
                <a:gd name="connsiteY36" fmla="*/ 947283 h 1177883"/>
                <a:gd name="connsiteX37" fmla="*/ 3217388 w 3217388"/>
                <a:gd name="connsiteY37" fmla="*/ 560092 h 1177883"/>
                <a:gd name="connsiteX38" fmla="*/ 3185923 w 3217388"/>
                <a:gd name="connsiteY38" fmla="*/ 403787 h 1177883"/>
                <a:gd name="connsiteX39" fmla="*/ 1731282 w 3217388"/>
                <a:gd name="connsiteY39" fmla="*/ 100701 h 1177883"/>
                <a:gd name="connsiteX40" fmla="*/ 1615972 w 3217388"/>
                <a:gd name="connsiteY40" fmla="*/ 216906 h 1177883"/>
                <a:gd name="connsiteX41" fmla="*/ 1507221 w 3217388"/>
                <a:gd name="connsiteY41" fmla="*/ 156803 h 1177883"/>
                <a:gd name="connsiteX42" fmla="*/ 1560836 w 3217388"/>
                <a:gd name="connsiteY42" fmla="*/ 8499 h 1177883"/>
                <a:gd name="connsiteX43" fmla="*/ 1731187 w 3217388"/>
                <a:gd name="connsiteY43" fmla="*/ 100606 h 1177883"/>
                <a:gd name="connsiteX44" fmla="*/ 1731187 w 3217388"/>
                <a:gd name="connsiteY44" fmla="*/ 100606 h 1177883"/>
                <a:gd name="connsiteX45" fmla="*/ 243274 w 3217388"/>
                <a:gd name="connsiteY45" fmla="*/ 1020912 h 1177883"/>
                <a:gd name="connsiteX46" fmla="*/ 250974 w 3217388"/>
                <a:gd name="connsiteY46" fmla="*/ 1046439 h 1177883"/>
                <a:gd name="connsiteX47" fmla="*/ 217798 w 3217388"/>
                <a:gd name="connsiteY47" fmla="*/ 1047010 h 1177883"/>
                <a:gd name="connsiteX48" fmla="*/ 198975 w 3217388"/>
                <a:gd name="connsiteY48" fmla="*/ 1012625 h 1177883"/>
                <a:gd name="connsiteX49" fmla="*/ 243274 w 3217388"/>
                <a:gd name="connsiteY49" fmla="*/ 1020912 h 1177883"/>
                <a:gd name="connsiteX50" fmla="*/ 848820 w 3217388"/>
                <a:gd name="connsiteY50" fmla="*/ 564283 h 1177883"/>
                <a:gd name="connsiteX51" fmla="*/ 826290 w 3217388"/>
                <a:gd name="connsiteY51" fmla="*/ 650103 h 1177883"/>
                <a:gd name="connsiteX52" fmla="*/ 712121 w 3217388"/>
                <a:gd name="connsiteY52" fmla="*/ 716302 h 1177883"/>
                <a:gd name="connsiteX53" fmla="*/ 683507 w 3217388"/>
                <a:gd name="connsiteY53" fmla="*/ 719255 h 1177883"/>
                <a:gd name="connsiteX54" fmla="*/ 564489 w 3217388"/>
                <a:gd name="connsiteY54" fmla="*/ 646103 h 1177883"/>
                <a:gd name="connsiteX55" fmla="*/ 631223 w 3217388"/>
                <a:gd name="connsiteY55" fmla="*/ 446173 h 1177883"/>
                <a:gd name="connsiteX56" fmla="*/ 765451 w 3217388"/>
                <a:gd name="connsiteY56" fmla="*/ 454841 h 1177883"/>
                <a:gd name="connsiteX57" fmla="*/ 848915 w 3217388"/>
                <a:gd name="connsiteY57" fmla="*/ 563997 h 1177883"/>
                <a:gd name="connsiteX58" fmla="*/ 848915 w 3217388"/>
                <a:gd name="connsiteY58" fmla="*/ 564188 h 1177883"/>
                <a:gd name="connsiteX59" fmla="*/ 808039 w 3217388"/>
                <a:gd name="connsiteY59" fmla="*/ 570760 h 1177883"/>
                <a:gd name="connsiteX60" fmla="*/ 718680 w 3217388"/>
                <a:gd name="connsiteY60" fmla="*/ 484749 h 1177883"/>
                <a:gd name="connsiteX61" fmla="*/ 692158 w 3217388"/>
                <a:gd name="connsiteY61" fmla="*/ 481511 h 1177883"/>
                <a:gd name="connsiteX62" fmla="*/ 624759 w 3217388"/>
                <a:gd name="connsiteY62" fmla="*/ 514182 h 1177883"/>
                <a:gd name="connsiteX63" fmla="*/ 612211 w 3217388"/>
                <a:gd name="connsiteY63" fmla="*/ 626291 h 1177883"/>
                <a:gd name="connsiteX64" fmla="*/ 684933 w 3217388"/>
                <a:gd name="connsiteY64" fmla="*/ 671058 h 1177883"/>
                <a:gd name="connsiteX65" fmla="*/ 788076 w 3217388"/>
                <a:gd name="connsiteY65" fmla="*/ 630006 h 1177883"/>
                <a:gd name="connsiteX66" fmla="*/ 807943 w 3217388"/>
                <a:gd name="connsiteY66" fmla="*/ 570665 h 1177883"/>
                <a:gd name="connsiteX67" fmla="*/ 893024 w 3217388"/>
                <a:gd name="connsiteY67" fmla="*/ 502656 h 1177883"/>
                <a:gd name="connsiteX68" fmla="*/ 838173 w 3217388"/>
                <a:gd name="connsiteY68" fmla="*/ 782977 h 1177883"/>
                <a:gd name="connsiteX69" fmla="*/ 677043 w 3217388"/>
                <a:gd name="connsiteY69" fmla="*/ 846414 h 1177883"/>
                <a:gd name="connsiteX70" fmla="*/ 622097 w 3217388"/>
                <a:gd name="connsiteY70" fmla="*/ 840508 h 1177883"/>
                <a:gd name="connsiteX71" fmla="*/ 418569 w 3217388"/>
                <a:gd name="connsiteY71" fmla="*/ 675059 h 1177883"/>
                <a:gd name="connsiteX72" fmla="*/ 419710 w 3217388"/>
                <a:gd name="connsiteY72" fmla="*/ 475224 h 1177883"/>
                <a:gd name="connsiteX73" fmla="*/ 569147 w 3217388"/>
                <a:gd name="connsiteY73" fmla="*/ 334254 h 1177883"/>
                <a:gd name="connsiteX74" fmla="*/ 753663 w 3217388"/>
                <a:gd name="connsiteY74" fmla="*/ 342922 h 1177883"/>
                <a:gd name="connsiteX75" fmla="*/ 893024 w 3217388"/>
                <a:gd name="connsiteY75" fmla="*/ 502561 h 1177883"/>
                <a:gd name="connsiteX76" fmla="*/ 880381 w 3217388"/>
                <a:gd name="connsiteY76" fmla="*/ 507323 h 1177883"/>
                <a:gd name="connsiteX77" fmla="*/ 880381 w 3217388"/>
                <a:gd name="connsiteY77" fmla="*/ 507323 h 1177883"/>
                <a:gd name="connsiteX78" fmla="*/ 670198 w 3217388"/>
                <a:gd name="connsiteY78" fmla="*/ 370449 h 1177883"/>
                <a:gd name="connsiteX79" fmla="*/ 669153 w 3217388"/>
                <a:gd name="connsiteY79" fmla="*/ 370449 h 1177883"/>
                <a:gd name="connsiteX80" fmla="*/ 485588 w 3217388"/>
                <a:gd name="connsiteY80" fmla="*/ 460746 h 1177883"/>
                <a:gd name="connsiteX81" fmla="*/ 448704 w 3217388"/>
                <a:gd name="connsiteY81" fmla="*/ 664391 h 1177883"/>
                <a:gd name="connsiteX82" fmla="*/ 557170 w 3217388"/>
                <a:gd name="connsiteY82" fmla="*/ 793264 h 1177883"/>
                <a:gd name="connsiteX83" fmla="*/ 734270 w 3217388"/>
                <a:gd name="connsiteY83" fmla="*/ 794121 h 1177883"/>
                <a:gd name="connsiteX84" fmla="*/ 880381 w 3217388"/>
                <a:gd name="connsiteY84" fmla="*/ 507419 h 1177883"/>
                <a:gd name="connsiteX85" fmla="*/ 634645 w 3217388"/>
                <a:gd name="connsiteY85" fmla="*/ 996051 h 1177883"/>
                <a:gd name="connsiteX86" fmla="*/ 488535 w 3217388"/>
                <a:gd name="connsiteY86" fmla="*/ 966524 h 1177883"/>
                <a:gd name="connsiteX87" fmla="*/ 255062 w 3217388"/>
                <a:gd name="connsiteY87" fmla="*/ 426742 h 1177883"/>
                <a:gd name="connsiteX88" fmla="*/ 580460 w 3217388"/>
                <a:gd name="connsiteY88" fmla="*/ 157280 h 1177883"/>
                <a:gd name="connsiteX89" fmla="*/ 969359 w 3217388"/>
                <a:gd name="connsiteY89" fmla="*/ 317490 h 1177883"/>
                <a:gd name="connsiteX90" fmla="*/ 1014704 w 3217388"/>
                <a:gd name="connsiteY90" fmla="*/ 721255 h 1177883"/>
                <a:gd name="connsiteX91" fmla="*/ 785129 w 3217388"/>
                <a:gd name="connsiteY91" fmla="*/ 964714 h 1177883"/>
                <a:gd name="connsiteX92" fmla="*/ 634645 w 3217388"/>
                <a:gd name="connsiteY92" fmla="*/ 996051 h 1177883"/>
                <a:gd name="connsiteX93" fmla="*/ 1002631 w 3217388"/>
                <a:gd name="connsiteY93" fmla="*/ 716493 h 1177883"/>
                <a:gd name="connsiteX94" fmla="*/ 945593 w 3217388"/>
                <a:gd name="connsiteY94" fmla="*/ 359496 h 1177883"/>
                <a:gd name="connsiteX95" fmla="*/ 637212 w 3217388"/>
                <a:gd name="connsiteY95" fmla="*/ 204333 h 1177883"/>
                <a:gd name="connsiteX96" fmla="*/ 590156 w 3217388"/>
                <a:gd name="connsiteY96" fmla="*/ 207191 h 1177883"/>
                <a:gd name="connsiteX97" fmla="*/ 284151 w 3217388"/>
                <a:gd name="connsiteY97" fmla="*/ 438077 h 1177883"/>
                <a:gd name="connsiteX98" fmla="*/ 376456 w 3217388"/>
                <a:gd name="connsiteY98" fmla="*/ 851748 h 1177883"/>
                <a:gd name="connsiteX99" fmla="*/ 744632 w 3217388"/>
                <a:gd name="connsiteY99" fmla="*/ 937568 h 1177883"/>
                <a:gd name="connsiteX100" fmla="*/ 1002536 w 3217388"/>
                <a:gd name="connsiteY100" fmla="*/ 716493 h 1177883"/>
                <a:gd name="connsiteX101" fmla="*/ 1002536 w 3217388"/>
                <a:gd name="connsiteY101" fmla="*/ 716493 h 1177883"/>
                <a:gd name="connsiteX102" fmla="*/ 43834 w 3217388"/>
                <a:gd name="connsiteY102" fmla="*/ 569617 h 1177883"/>
                <a:gd name="connsiteX103" fmla="*/ 240328 w 3217388"/>
                <a:gd name="connsiteY103" fmla="*/ 192998 h 1177883"/>
                <a:gd name="connsiteX104" fmla="*/ 636451 w 3217388"/>
                <a:gd name="connsiteY104" fmla="*/ 44408 h 1177883"/>
                <a:gd name="connsiteX105" fmla="*/ 1012897 w 3217388"/>
                <a:gd name="connsiteY105" fmla="*/ 220240 h 1177883"/>
                <a:gd name="connsiteX106" fmla="*/ 1019742 w 3217388"/>
                <a:gd name="connsiteY106" fmla="*/ 223955 h 1177883"/>
                <a:gd name="connsiteX107" fmla="*/ 1027537 w 3217388"/>
                <a:gd name="connsiteY107" fmla="*/ 221288 h 1177883"/>
                <a:gd name="connsiteX108" fmla="*/ 1030674 w 3217388"/>
                <a:gd name="connsiteY108" fmla="*/ 213668 h 1177883"/>
                <a:gd name="connsiteX109" fmla="*/ 1027822 w 3217388"/>
                <a:gd name="connsiteY109" fmla="*/ 206905 h 1177883"/>
                <a:gd name="connsiteX110" fmla="*/ 565345 w 3217388"/>
                <a:gd name="connsiteY110" fmla="*/ 212 h 1177883"/>
                <a:gd name="connsiteX111" fmla="*/ 119504 w 3217388"/>
                <a:gd name="connsiteY111" fmla="*/ 229765 h 1177883"/>
                <a:gd name="connsiteX112" fmla="*/ 148402 w 3217388"/>
                <a:gd name="connsiteY112" fmla="*/ 978049 h 1177883"/>
                <a:gd name="connsiteX113" fmla="*/ 152775 w 3217388"/>
                <a:gd name="connsiteY113" fmla="*/ 982907 h 1177883"/>
                <a:gd name="connsiteX114" fmla="*/ 155057 w 3217388"/>
                <a:gd name="connsiteY114" fmla="*/ 985383 h 1177883"/>
                <a:gd name="connsiteX115" fmla="*/ 156198 w 3217388"/>
                <a:gd name="connsiteY115" fmla="*/ 986050 h 1177883"/>
                <a:gd name="connsiteX116" fmla="*/ 162852 w 3217388"/>
                <a:gd name="connsiteY116" fmla="*/ 987860 h 1177883"/>
                <a:gd name="connsiteX117" fmla="*/ 166464 w 3217388"/>
                <a:gd name="connsiteY117" fmla="*/ 987384 h 1177883"/>
                <a:gd name="connsiteX118" fmla="*/ 173974 w 3217388"/>
                <a:gd name="connsiteY118" fmla="*/ 981383 h 1177883"/>
                <a:gd name="connsiteX119" fmla="*/ 172168 w 3217388"/>
                <a:gd name="connsiteY119" fmla="*/ 967191 h 1177883"/>
                <a:gd name="connsiteX120" fmla="*/ 43929 w 3217388"/>
                <a:gd name="connsiteY120" fmla="*/ 569712 h 1177883"/>
                <a:gd name="connsiteX121" fmla="*/ 1172032 w 3217388"/>
                <a:gd name="connsiteY121" fmla="*/ 561997 h 1177883"/>
                <a:gd name="connsiteX122" fmla="*/ 1171651 w 3217388"/>
                <a:gd name="connsiteY122" fmla="*/ 559902 h 1177883"/>
                <a:gd name="connsiteX123" fmla="*/ 1159578 w 3217388"/>
                <a:gd name="connsiteY123" fmla="*/ 550853 h 1177883"/>
                <a:gd name="connsiteX124" fmla="*/ 1150738 w 3217388"/>
                <a:gd name="connsiteY124" fmla="*/ 555520 h 1177883"/>
                <a:gd name="connsiteX125" fmla="*/ 1148076 w 3217388"/>
                <a:gd name="connsiteY125" fmla="*/ 565521 h 1177883"/>
                <a:gd name="connsiteX126" fmla="*/ 1074403 w 3217388"/>
                <a:gd name="connsiteY126" fmla="*/ 861939 h 1177883"/>
                <a:gd name="connsiteX127" fmla="*/ 621241 w 3217388"/>
                <a:gd name="connsiteY127" fmla="*/ 1150642 h 1177883"/>
                <a:gd name="connsiteX128" fmla="*/ 609169 w 3217388"/>
                <a:gd name="connsiteY128" fmla="*/ 1165692 h 1177883"/>
                <a:gd name="connsiteX129" fmla="*/ 620481 w 3217388"/>
                <a:gd name="connsiteY129" fmla="*/ 1177693 h 1177883"/>
                <a:gd name="connsiteX130" fmla="*/ 621432 w 3217388"/>
                <a:gd name="connsiteY130" fmla="*/ 1177884 h 1177883"/>
                <a:gd name="connsiteX131" fmla="*/ 622382 w 3217388"/>
                <a:gd name="connsiteY131" fmla="*/ 1177884 h 1177883"/>
                <a:gd name="connsiteX132" fmla="*/ 664685 w 3217388"/>
                <a:gd name="connsiteY132" fmla="*/ 1174264 h 1177883"/>
                <a:gd name="connsiteX133" fmla="*/ 1045599 w 3217388"/>
                <a:gd name="connsiteY133" fmla="*/ 963285 h 1177883"/>
                <a:gd name="connsiteX134" fmla="*/ 1172032 w 3217388"/>
                <a:gd name="connsiteY134" fmla="*/ 561997 h 1177883"/>
                <a:gd name="connsiteX135" fmla="*/ 1170130 w 3217388"/>
                <a:gd name="connsiteY135" fmla="*/ 489226 h 1177883"/>
                <a:gd name="connsiteX136" fmla="*/ 1142657 w 3217388"/>
                <a:gd name="connsiteY136" fmla="*/ 363591 h 1177883"/>
                <a:gd name="connsiteX137" fmla="*/ 1115565 w 3217388"/>
                <a:gd name="connsiteY137" fmla="*/ 352923 h 1177883"/>
                <a:gd name="connsiteX138" fmla="*/ 1114804 w 3217388"/>
                <a:gd name="connsiteY138" fmla="*/ 389975 h 1177883"/>
                <a:gd name="connsiteX139" fmla="*/ 1145414 w 3217388"/>
                <a:gd name="connsiteY139" fmla="*/ 486559 h 1177883"/>
                <a:gd name="connsiteX140" fmla="*/ 1158913 w 3217388"/>
                <a:gd name="connsiteY140" fmla="*/ 501418 h 1177883"/>
                <a:gd name="connsiteX141" fmla="*/ 1170130 w 3217388"/>
                <a:gd name="connsiteY141" fmla="*/ 489321 h 117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217388" h="1177883">
                  <a:moveTo>
                    <a:pt x="1527089" y="295107"/>
                  </a:moveTo>
                  <a:lnTo>
                    <a:pt x="1705520" y="295107"/>
                  </a:lnTo>
                  <a:lnTo>
                    <a:pt x="1705520" y="947283"/>
                  </a:lnTo>
                  <a:lnTo>
                    <a:pt x="1527089" y="947283"/>
                  </a:lnTo>
                  <a:lnTo>
                    <a:pt x="1527089" y="295107"/>
                  </a:lnTo>
                  <a:close/>
                  <a:moveTo>
                    <a:pt x="2318481" y="4403"/>
                  </a:moveTo>
                  <a:lnTo>
                    <a:pt x="2318481" y="386070"/>
                  </a:lnTo>
                  <a:cubicBezTo>
                    <a:pt x="2295095" y="345779"/>
                    <a:pt x="2216669" y="274533"/>
                    <a:pt x="2100884" y="274533"/>
                  </a:cubicBezTo>
                  <a:cubicBezTo>
                    <a:pt x="2046888" y="274533"/>
                    <a:pt x="1991182" y="289296"/>
                    <a:pt x="1939848" y="318919"/>
                  </a:cubicBezTo>
                  <a:cubicBezTo>
                    <a:pt x="1888515" y="348542"/>
                    <a:pt x="1848494" y="389499"/>
                    <a:pt x="1819785" y="441792"/>
                  </a:cubicBezTo>
                  <a:cubicBezTo>
                    <a:pt x="1791076" y="494084"/>
                    <a:pt x="1776817" y="553710"/>
                    <a:pt x="1776817" y="620576"/>
                  </a:cubicBezTo>
                  <a:cubicBezTo>
                    <a:pt x="1776817" y="687441"/>
                    <a:pt x="1791171" y="747258"/>
                    <a:pt x="1819785" y="800027"/>
                  </a:cubicBezTo>
                  <a:cubicBezTo>
                    <a:pt x="1848399" y="852795"/>
                    <a:pt x="1888705" y="893753"/>
                    <a:pt x="1940419" y="922899"/>
                  </a:cubicBezTo>
                  <a:cubicBezTo>
                    <a:pt x="1992228" y="952046"/>
                    <a:pt x="2048409" y="966619"/>
                    <a:pt x="2111816" y="966619"/>
                  </a:cubicBezTo>
                  <a:cubicBezTo>
                    <a:pt x="2223704" y="966619"/>
                    <a:pt x="2302605" y="899182"/>
                    <a:pt x="2318481" y="864606"/>
                  </a:cubicBezTo>
                  <a:lnTo>
                    <a:pt x="2318481" y="947283"/>
                  </a:lnTo>
                  <a:cubicBezTo>
                    <a:pt x="2318481" y="947283"/>
                    <a:pt x="2496913" y="947283"/>
                    <a:pt x="2496913" y="947283"/>
                  </a:cubicBezTo>
                  <a:lnTo>
                    <a:pt x="2496913" y="4403"/>
                  </a:lnTo>
                  <a:lnTo>
                    <a:pt x="2318481" y="4403"/>
                  </a:lnTo>
                  <a:close/>
                  <a:moveTo>
                    <a:pt x="2146323" y="813648"/>
                  </a:moveTo>
                  <a:cubicBezTo>
                    <a:pt x="2030633" y="813648"/>
                    <a:pt x="1957815" y="728304"/>
                    <a:pt x="1957815" y="620576"/>
                  </a:cubicBezTo>
                  <a:cubicBezTo>
                    <a:pt x="1957815" y="512848"/>
                    <a:pt x="2030252" y="427504"/>
                    <a:pt x="2146323" y="427504"/>
                  </a:cubicBezTo>
                  <a:cubicBezTo>
                    <a:pt x="2262394" y="427504"/>
                    <a:pt x="2334832" y="512848"/>
                    <a:pt x="2334832" y="620576"/>
                  </a:cubicBezTo>
                  <a:cubicBezTo>
                    <a:pt x="2334832" y="728304"/>
                    <a:pt x="2260398" y="813648"/>
                    <a:pt x="2146323" y="813648"/>
                  </a:cubicBezTo>
                  <a:close/>
                  <a:moveTo>
                    <a:pt x="3186113" y="403787"/>
                  </a:moveTo>
                  <a:cubicBezTo>
                    <a:pt x="3165104" y="361305"/>
                    <a:pt x="3135635" y="329206"/>
                    <a:pt x="3097515" y="307298"/>
                  </a:cubicBezTo>
                  <a:cubicBezTo>
                    <a:pt x="3059395" y="285391"/>
                    <a:pt x="3013480" y="274533"/>
                    <a:pt x="2959485" y="274533"/>
                  </a:cubicBezTo>
                  <a:cubicBezTo>
                    <a:pt x="2848832" y="274533"/>
                    <a:pt x="2777441" y="350351"/>
                    <a:pt x="2759189" y="385975"/>
                  </a:cubicBezTo>
                  <a:lnTo>
                    <a:pt x="2759189" y="4403"/>
                  </a:lnTo>
                  <a:lnTo>
                    <a:pt x="2580567" y="4403"/>
                  </a:lnTo>
                  <a:lnTo>
                    <a:pt x="2580567" y="947283"/>
                  </a:lnTo>
                  <a:lnTo>
                    <a:pt x="2759094" y="947283"/>
                  </a:lnTo>
                  <a:lnTo>
                    <a:pt x="2759094" y="598097"/>
                  </a:lnTo>
                  <a:cubicBezTo>
                    <a:pt x="2759094" y="495227"/>
                    <a:pt x="2816987" y="429219"/>
                    <a:pt x="2902162" y="429219"/>
                  </a:cubicBezTo>
                  <a:cubicBezTo>
                    <a:pt x="2947792" y="429219"/>
                    <a:pt x="3038957" y="462175"/>
                    <a:pt x="3038957" y="598097"/>
                  </a:cubicBezTo>
                  <a:lnTo>
                    <a:pt x="3038957" y="947283"/>
                  </a:lnTo>
                  <a:lnTo>
                    <a:pt x="3217388" y="947283"/>
                  </a:lnTo>
                  <a:lnTo>
                    <a:pt x="3217388" y="560092"/>
                  </a:lnTo>
                  <a:cubicBezTo>
                    <a:pt x="3217388" y="498370"/>
                    <a:pt x="3206932" y="446268"/>
                    <a:pt x="3185923" y="403787"/>
                  </a:cubicBezTo>
                  <a:close/>
                  <a:moveTo>
                    <a:pt x="1731282" y="100701"/>
                  </a:moveTo>
                  <a:cubicBezTo>
                    <a:pt x="1740503" y="166900"/>
                    <a:pt x="1673104" y="211667"/>
                    <a:pt x="1615972" y="216906"/>
                  </a:cubicBezTo>
                  <a:cubicBezTo>
                    <a:pt x="1570342" y="223193"/>
                    <a:pt x="1522621" y="204333"/>
                    <a:pt x="1507221" y="156803"/>
                  </a:cubicBezTo>
                  <a:cubicBezTo>
                    <a:pt x="1489539" y="102987"/>
                    <a:pt x="1506555" y="32978"/>
                    <a:pt x="1560836" y="8499"/>
                  </a:cubicBezTo>
                  <a:cubicBezTo>
                    <a:pt x="1627474" y="-20266"/>
                    <a:pt x="1718163" y="27359"/>
                    <a:pt x="1731187" y="100606"/>
                  </a:cubicBezTo>
                  <a:lnTo>
                    <a:pt x="1731187" y="100606"/>
                  </a:lnTo>
                  <a:close/>
                  <a:moveTo>
                    <a:pt x="243274" y="1020912"/>
                  </a:moveTo>
                  <a:cubicBezTo>
                    <a:pt x="251735" y="1025864"/>
                    <a:pt x="257819" y="1034437"/>
                    <a:pt x="250974" y="1046439"/>
                  </a:cubicBezTo>
                  <a:cubicBezTo>
                    <a:pt x="244130" y="1058440"/>
                    <a:pt x="225213" y="1053297"/>
                    <a:pt x="217798" y="1047010"/>
                  </a:cubicBezTo>
                  <a:cubicBezTo>
                    <a:pt x="206961" y="1037771"/>
                    <a:pt x="194793" y="1016816"/>
                    <a:pt x="198975" y="1012625"/>
                  </a:cubicBezTo>
                  <a:cubicBezTo>
                    <a:pt x="203158" y="1008434"/>
                    <a:pt x="234814" y="1015959"/>
                    <a:pt x="243274" y="1020912"/>
                  </a:cubicBezTo>
                  <a:close/>
                  <a:moveTo>
                    <a:pt x="848820" y="564283"/>
                  </a:moveTo>
                  <a:cubicBezTo>
                    <a:pt x="853383" y="594382"/>
                    <a:pt x="845588" y="624100"/>
                    <a:pt x="826290" y="650103"/>
                  </a:cubicBezTo>
                  <a:cubicBezTo>
                    <a:pt x="800814" y="684489"/>
                    <a:pt x="757085" y="709825"/>
                    <a:pt x="712121" y="716302"/>
                  </a:cubicBezTo>
                  <a:cubicBezTo>
                    <a:pt x="702900" y="718302"/>
                    <a:pt x="693299" y="719255"/>
                    <a:pt x="683507" y="719255"/>
                  </a:cubicBezTo>
                  <a:cubicBezTo>
                    <a:pt x="635406" y="719255"/>
                    <a:pt x="583692" y="695157"/>
                    <a:pt x="564489" y="646103"/>
                  </a:cubicBezTo>
                  <a:cubicBezTo>
                    <a:pt x="536161" y="577332"/>
                    <a:pt x="556219" y="480558"/>
                    <a:pt x="631223" y="446173"/>
                  </a:cubicBezTo>
                  <a:cubicBezTo>
                    <a:pt x="672955" y="428361"/>
                    <a:pt x="721912" y="431504"/>
                    <a:pt x="765451" y="454841"/>
                  </a:cubicBezTo>
                  <a:cubicBezTo>
                    <a:pt x="809750" y="478558"/>
                    <a:pt x="840170" y="518372"/>
                    <a:pt x="848915" y="563997"/>
                  </a:cubicBezTo>
                  <a:lnTo>
                    <a:pt x="848915" y="564188"/>
                  </a:lnTo>
                  <a:close/>
                  <a:moveTo>
                    <a:pt x="808039" y="570760"/>
                  </a:moveTo>
                  <a:cubicBezTo>
                    <a:pt x="801004" y="531041"/>
                    <a:pt x="764215" y="495703"/>
                    <a:pt x="718680" y="484749"/>
                  </a:cubicBezTo>
                  <a:cubicBezTo>
                    <a:pt x="709554" y="482559"/>
                    <a:pt x="700713" y="481511"/>
                    <a:pt x="692158" y="481511"/>
                  </a:cubicBezTo>
                  <a:cubicBezTo>
                    <a:pt x="664590" y="481511"/>
                    <a:pt x="640824" y="492846"/>
                    <a:pt x="624759" y="514182"/>
                  </a:cubicBezTo>
                  <a:cubicBezTo>
                    <a:pt x="603180" y="543423"/>
                    <a:pt x="598046" y="589620"/>
                    <a:pt x="612211" y="626291"/>
                  </a:cubicBezTo>
                  <a:cubicBezTo>
                    <a:pt x="622477" y="652961"/>
                    <a:pt x="650996" y="670487"/>
                    <a:pt x="684933" y="671058"/>
                  </a:cubicBezTo>
                  <a:cubicBezTo>
                    <a:pt x="723243" y="672201"/>
                    <a:pt x="764785" y="655628"/>
                    <a:pt x="788076" y="630006"/>
                  </a:cubicBezTo>
                  <a:cubicBezTo>
                    <a:pt x="803666" y="612956"/>
                    <a:pt x="810510" y="592382"/>
                    <a:pt x="807943" y="570665"/>
                  </a:cubicBezTo>
                  <a:close/>
                  <a:moveTo>
                    <a:pt x="893024" y="502656"/>
                  </a:moveTo>
                  <a:cubicBezTo>
                    <a:pt x="924014" y="587715"/>
                    <a:pt x="919166" y="707444"/>
                    <a:pt x="838173" y="782977"/>
                  </a:cubicBezTo>
                  <a:cubicBezTo>
                    <a:pt x="794730" y="824411"/>
                    <a:pt x="737883" y="846414"/>
                    <a:pt x="677043" y="846414"/>
                  </a:cubicBezTo>
                  <a:cubicBezTo>
                    <a:pt x="658981" y="846414"/>
                    <a:pt x="640634" y="844509"/>
                    <a:pt x="622097" y="840508"/>
                  </a:cubicBezTo>
                  <a:cubicBezTo>
                    <a:pt x="530742" y="821172"/>
                    <a:pt x="452791" y="757736"/>
                    <a:pt x="418569" y="675059"/>
                  </a:cubicBezTo>
                  <a:cubicBezTo>
                    <a:pt x="391096" y="613241"/>
                    <a:pt x="391476" y="540375"/>
                    <a:pt x="419710" y="475224"/>
                  </a:cubicBezTo>
                  <a:cubicBezTo>
                    <a:pt x="448609" y="408454"/>
                    <a:pt x="503079" y="357019"/>
                    <a:pt x="569147" y="334254"/>
                  </a:cubicBezTo>
                  <a:cubicBezTo>
                    <a:pt x="631413" y="311966"/>
                    <a:pt x="695200" y="315014"/>
                    <a:pt x="753663" y="342922"/>
                  </a:cubicBezTo>
                  <a:cubicBezTo>
                    <a:pt x="817165" y="373307"/>
                    <a:pt x="867928" y="431409"/>
                    <a:pt x="893024" y="502561"/>
                  </a:cubicBezTo>
                  <a:close/>
                  <a:moveTo>
                    <a:pt x="880381" y="507323"/>
                  </a:moveTo>
                  <a:lnTo>
                    <a:pt x="880381" y="507323"/>
                  </a:lnTo>
                  <a:cubicBezTo>
                    <a:pt x="851957" y="425885"/>
                    <a:pt x="765356" y="369497"/>
                    <a:pt x="670198" y="370449"/>
                  </a:cubicBezTo>
                  <a:cubicBezTo>
                    <a:pt x="669818" y="370449"/>
                    <a:pt x="669533" y="370449"/>
                    <a:pt x="669153" y="370449"/>
                  </a:cubicBezTo>
                  <a:cubicBezTo>
                    <a:pt x="595765" y="370449"/>
                    <a:pt x="528936" y="403311"/>
                    <a:pt x="485588" y="460746"/>
                  </a:cubicBezTo>
                  <a:cubicBezTo>
                    <a:pt x="441859" y="518658"/>
                    <a:pt x="428360" y="592858"/>
                    <a:pt x="448704" y="664391"/>
                  </a:cubicBezTo>
                  <a:cubicBezTo>
                    <a:pt x="465720" y="722493"/>
                    <a:pt x="504220" y="768309"/>
                    <a:pt x="557170" y="793264"/>
                  </a:cubicBezTo>
                  <a:cubicBezTo>
                    <a:pt x="611735" y="818982"/>
                    <a:pt x="676378" y="819267"/>
                    <a:pt x="734270" y="794121"/>
                  </a:cubicBezTo>
                  <a:cubicBezTo>
                    <a:pt x="839029" y="752307"/>
                    <a:pt x="924680" y="624291"/>
                    <a:pt x="880381" y="507419"/>
                  </a:cubicBezTo>
                  <a:close/>
                  <a:moveTo>
                    <a:pt x="634645" y="996051"/>
                  </a:moveTo>
                  <a:cubicBezTo>
                    <a:pt x="585118" y="996051"/>
                    <a:pt x="535686" y="986241"/>
                    <a:pt x="488535" y="966524"/>
                  </a:cubicBezTo>
                  <a:cubicBezTo>
                    <a:pt x="287383" y="883371"/>
                    <a:pt x="180438" y="636197"/>
                    <a:pt x="255062" y="426742"/>
                  </a:cubicBezTo>
                  <a:cubicBezTo>
                    <a:pt x="305065" y="281391"/>
                    <a:pt x="426744" y="180616"/>
                    <a:pt x="580460" y="157280"/>
                  </a:cubicBezTo>
                  <a:cubicBezTo>
                    <a:pt x="733605" y="134039"/>
                    <a:pt x="878955" y="193856"/>
                    <a:pt x="969359" y="317490"/>
                  </a:cubicBezTo>
                  <a:cubicBezTo>
                    <a:pt x="1049972" y="427790"/>
                    <a:pt x="1067748" y="586286"/>
                    <a:pt x="1014704" y="721255"/>
                  </a:cubicBezTo>
                  <a:cubicBezTo>
                    <a:pt x="972876" y="831078"/>
                    <a:pt x="889127" y="919851"/>
                    <a:pt x="785129" y="964714"/>
                  </a:cubicBezTo>
                  <a:cubicBezTo>
                    <a:pt x="736647" y="985574"/>
                    <a:pt x="685599" y="996051"/>
                    <a:pt x="634645" y="996051"/>
                  </a:cubicBezTo>
                  <a:close/>
                  <a:moveTo>
                    <a:pt x="1002631" y="716493"/>
                  </a:moveTo>
                  <a:cubicBezTo>
                    <a:pt x="1047975" y="601907"/>
                    <a:pt x="1025541" y="461794"/>
                    <a:pt x="945593" y="359496"/>
                  </a:cubicBezTo>
                  <a:cubicBezTo>
                    <a:pt x="870019" y="260340"/>
                    <a:pt x="757180" y="204333"/>
                    <a:pt x="637212" y="204333"/>
                  </a:cubicBezTo>
                  <a:cubicBezTo>
                    <a:pt x="621622" y="204333"/>
                    <a:pt x="605937" y="205286"/>
                    <a:pt x="590156" y="207191"/>
                  </a:cubicBezTo>
                  <a:cubicBezTo>
                    <a:pt x="454407" y="223669"/>
                    <a:pt x="339953" y="309966"/>
                    <a:pt x="284151" y="438077"/>
                  </a:cubicBezTo>
                  <a:cubicBezTo>
                    <a:pt x="221410" y="578952"/>
                    <a:pt x="260196" y="752878"/>
                    <a:pt x="376456" y="851748"/>
                  </a:cubicBezTo>
                  <a:cubicBezTo>
                    <a:pt x="472089" y="937187"/>
                    <a:pt x="613066" y="970048"/>
                    <a:pt x="744632" y="937568"/>
                  </a:cubicBezTo>
                  <a:cubicBezTo>
                    <a:pt x="866882" y="907469"/>
                    <a:pt x="960898" y="826887"/>
                    <a:pt x="1002536" y="716493"/>
                  </a:cubicBezTo>
                  <a:lnTo>
                    <a:pt x="1002536" y="716493"/>
                  </a:lnTo>
                  <a:close/>
                  <a:moveTo>
                    <a:pt x="43834" y="569617"/>
                  </a:moveTo>
                  <a:cubicBezTo>
                    <a:pt x="57713" y="426551"/>
                    <a:pt x="127584" y="292725"/>
                    <a:pt x="240328" y="192998"/>
                  </a:cubicBezTo>
                  <a:cubicBezTo>
                    <a:pt x="352881" y="93462"/>
                    <a:pt x="493478" y="40598"/>
                    <a:pt x="636451" y="44408"/>
                  </a:cubicBezTo>
                  <a:cubicBezTo>
                    <a:pt x="781516" y="48218"/>
                    <a:pt x="915174" y="110607"/>
                    <a:pt x="1012897" y="220240"/>
                  </a:cubicBezTo>
                  <a:cubicBezTo>
                    <a:pt x="1014609" y="222335"/>
                    <a:pt x="1017080" y="223669"/>
                    <a:pt x="1019742" y="223955"/>
                  </a:cubicBezTo>
                  <a:cubicBezTo>
                    <a:pt x="1022594" y="224241"/>
                    <a:pt x="1025541" y="223288"/>
                    <a:pt x="1027537" y="221288"/>
                  </a:cubicBezTo>
                  <a:cubicBezTo>
                    <a:pt x="1029628" y="219383"/>
                    <a:pt x="1030769" y="216525"/>
                    <a:pt x="1030674" y="213668"/>
                  </a:cubicBezTo>
                  <a:cubicBezTo>
                    <a:pt x="1030674" y="211096"/>
                    <a:pt x="1029533" y="208715"/>
                    <a:pt x="1027822" y="206905"/>
                  </a:cubicBezTo>
                  <a:cubicBezTo>
                    <a:pt x="912512" y="70888"/>
                    <a:pt x="743967" y="-4264"/>
                    <a:pt x="565345" y="212"/>
                  </a:cubicBezTo>
                  <a:cubicBezTo>
                    <a:pt x="389765" y="4784"/>
                    <a:pt x="227304" y="88414"/>
                    <a:pt x="119504" y="229765"/>
                  </a:cubicBezTo>
                  <a:cubicBezTo>
                    <a:pt x="-50277" y="450459"/>
                    <a:pt x="-37824" y="772214"/>
                    <a:pt x="148402" y="978049"/>
                  </a:cubicBezTo>
                  <a:cubicBezTo>
                    <a:pt x="149828" y="979668"/>
                    <a:pt x="151349" y="981287"/>
                    <a:pt x="152775" y="982907"/>
                  </a:cubicBezTo>
                  <a:lnTo>
                    <a:pt x="155057" y="985383"/>
                  </a:lnTo>
                  <a:lnTo>
                    <a:pt x="156198" y="986050"/>
                  </a:lnTo>
                  <a:cubicBezTo>
                    <a:pt x="158194" y="987193"/>
                    <a:pt x="160570" y="987860"/>
                    <a:pt x="162852" y="987860"/>
                  </a:cubicBezTo>
                  <a:cubicBezTo>
                    <a:pt x="164088" y="987860"/>
                    <a:pt x="165228" y="987669"/>
                    <a:pt x="166464" y="987384"/>
                  </a:cubicBezTo>
                  <a:cubicBezTo>
                    <a:pt x="169696" y="986431"/>
                    <a:pt x="172453" y="984240"/>
                    <a:pt x="173974" y="981383"/>
                  </a:cubicBezTo>
                  <a:cubicBezTo>
                    <a:pt x="176351" y="976906"/>
                    <a:pt x="175685" y="971477"/>
                    <a:pt x="172168" y="967191"/>
                  </a:cubicBezTo>
                  <a:cubicBezTo>
                    <a:pt x="75300" y="856129"/>
                    <a:pt x="29765" y="714968"/>
                    <a:pt x="43929" y="569712"/>
                  </a:cubicBezTo>
                  <a:close/>
                  <a:moveTo>
                    <a:pt x="1172032" y="561997"/>
                  </a:moveTo>
                  <a:lnTo>
                    <a:pt x="1171651" y="559902"/>
                  </a:lnTo>
                  <a:cubicBezTo>
                    <a:pt x="1169940" y="554377"/>
                    <a:pt x="1164997" y="550567"/>
                    <a:pt x="1159578" y="550853"/>
                  </a:cubicBezTo>
                  <a:cubicBezTo>
                    <a:pt x="1156156" y="550948"/>
                    <a:pt x="1152924" y="552663"/>
                    <a:pt x="1150738" y="555520"/>
                  </a:cubicBezTo>
                  <a:cubicBezTo>
                    <a:pt x="1148551" y="558378"/>
                    <a:pt x="1147601" y="561902"/>
                    <a:pt x="1148076" y="565521"/>
                  </a:cubicBezTo>
                  <a:cubicBezTo>
                    <a:pt x="1151118" y="670677"/>
                    <a:pt x="1125641" y="773166"/>
                    <a:pt x="1074403" y="861939"/>
                  </a:cubicBezTo>
                  <a:cubicBezTo>
                    <a:pt x="980957" y="1028532"/>
                    <a:pt x="811746" y="1136450"/>
                    <a:pt x="621241" y="1150642"/>
                  </a:cubicBezTo>
                  <a:cubicBezTo>
                    <a:pt x="613827" y="1151595"/>
                    <a:pt x="608408" y="1158357"/>
                    <a:pt x="609169" y="1165692"/>
                  </a:cubicBezTo>
                  <a:cubicBezTo>
                    <a:pt x="609834" y="1171692"/>
                    <a:pt x="614397" y="1176550"/>
                    <a:pt x="620481" y="1177693"/>
                  </a:cubicBezTo>
                  <a:lnTo>
                    <a:pt x="621432" y="1177884"/>
                  </a:lnTo>
                  <a:lnTo>
                    <a:pt x="622382" y="1177884"/>
                  </a:lnTo>
                  <a:cubicBezTo>
                    <a:pt x="636642" y="1177217"/>
                    <a:pt x="650901" y="1175979"/>
                    <a:pt x="664685" y="1174264"/>
                  </a:cubicBezTo>
                  <a:cubicBezTo>
                    <a:pt x="816689" y="1155976"/>
                    <a:pt x="951963" y="1081014"/>
                    <a:pt x="1045599" y="963285"/>
                  </a:cubicBezTo>
                  <a:cubicBezTo>
                    <a:pt x="1135813" y="849843"/>
                    <a:pt x="1180682" y="707349"/>
                    <a:pt x="1172032" y="561997"/>
                  </a:cubicBezTo>
                  <a:close/>
                  <a:moveTo>
                    <a:pt x="1170130" y="489226"/>
                  </a:moveTo>
                  <a:cubicBezTo>
                    <a:pt x="1175073" y="468938"/>
                    <a:pt x="1167849" y="393595"/>
                    <a:pt x="1142657" y="363591"/>
                  </a:cubicBezTo>
                  <a:cubicBezTo>
                    <a:pt x="1134957" y="354352"/>
                    <a:pt x="1125831" y="346732"/>
                    <a:pt x="1115565" y="352923"/>
                  </a:cubicBezTo>
                  <a:cubicBezTo>
                    <a:pt x="1101876" y="361115"/>
                    <a:pt x="1104728" y="376069"/>
                    <a:pt x="1114804" y="389975"/>
                  </a:cubicBezTo>
                  <a:cubicBezTo>
                    <a:pt x="1131725" y="413407"/>
                    <a:pt x="1144559" y="466271"/>
                    <a:pt x="1145414" y="486559"/>
                  </a:cubicBezTo>
                  <a:cubicBezTo>
                    <a:pt x="1145794" y="495322"/>
                    <a:pt x="1151783" y="501227"/>
                    <a:pt x="1158913" y="501418"/>
                  </a:cubicBezTo>
                  <a:cubicBezTo>
                    <a:pt x="1166043" y="501513"/>
                    <a:pt x="1168039" y="497894"/>
                    <a:pt x="1170130" y="489321"/>
                  </a:cubicBezTo>
                  <a:close/>
                </a:path>
              </a:pathLst>
            </a:custGeom>
            <a:grpFill/>
            <a:ln w="9497" cap="flat">
              <a:noFill/>
              <a:prstDash val="solid"/>
              <a:miter/>
            </a:ln>
          </p:spPr>
          <p:txBody>
            <a:bodyPr rtlCol="0" anchor="ctr"/>
            <a:lstStyle/>
            <a:p>
              <a:endParaRPr lang="en-GB" dirty="0"/>
            </a:p>
          </p:txBody>
        </p:sp>
        <p:grpSp>
          <p:nvGrpSpPr>
            <p:cNvPr id="29" name="Graphic 77">
              <a:extLst>
                <a:ext uri="{FF2B5EF4-FFF2-40B4-BE49-F238E27FC236}">
                  <a16:creationId xmlns:a16="http://schemas.microsoft.com/office/drawing/2014/main" id="{2F7C6FFA-2C76-FD6B-4AB6-E31AFDDBE3F3}"/>
                </a:ext>
              </a:extLst>
            </p:cNvPr>
            <p:cNvGrpSpPr/>
            <p:nvPr/>
          </p:nvGrpSpPr>
          <p:grpSpPr>
            <a:xfrm>
              <a:off x="6016337" y="3871817"/>
              <a:ext cx="1690870" cy="144494"/>
              <a:chOff x="6016337" y="3871817"/>
              <a:chExt cx="1690870" cy="144494"/>
            </a:xfrm>
            <a:grpFill/>
          </p:grpSpPr>
          <p:sp>
            <p:nvSpPr>
              <p:cNvPr id="30" name="Freeform 30">
                <a:extLst>
                  <a:ext uri="{FF2B5EF4-FFF2-40B4-BE49-F238E27FC236}">
                    <a16:creationId xmlns:a16="http://schemas.microsoft.com/office/drawing/2014/main" id="{7857866D-F907-DBEA-8F38-F0D89D6AFF13}"/>
                  </a:ext>
                </a:extLst>
              </p:cNvPr>
              <p:cNvSpPr/>
              <p:nvPr/>
            </p:nvSpPr>
            <p:spPr>
              <a:xfrm>
                <a:off x="6016337"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2"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GB" dirty="0"/>
              </a:p>
            </p:txBody>
          </p:sp>
          <p:sp>
            <p:nvSpPr>
              <p:cNvPr id="31" name="Freeform 31">
                <a:extLst>
                  <a:ext uri="{FF2B5EF4-FFF2-40B4-BE49-F238E27FC236}">
                    <a16:creationId xmlns:a16="http://schemas.microsoft.com/office/drawing/2014/main" id="{AE662592-38C7-87B5-471D-73B03945BDFF}"/>
                  </a:ext>
                </a:extLst>
              </p:cNvPr>
              <p:cNvSpPr/>
              <p:nvPr/>
            </p:nvSpPr>
            <p:spPr>
              <a:xfrm>
                <a:off x="6086303" y="3904773"/>
                <a:ext cx="70250" cy="78295"/>
              </a:xfrm>
              <a:custGeom>
                <a:avLst/>
                <a:gdLst>
                  <a:gd name="connsiteX0" fmla="*/ 0 w 70250"/>
                  <a:gd name="connsiteY0" fmla="*/ 1238 h 78295"/>
                  <a:gd name="connsiteX1" fmla="*/ 17492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1 w 70250"/>
                  <a:gd name="connsiteY8" fmla="*/ 34004 h 78295"/>
                  <a:gd name="connsiteX9" fmla="*/ 38976 w 70250"/>
                  <a:gd name="connsiteY9" fmla="*/ 14954 h 78295"/>
                  <a:gd name="connsiteX10" fmla="*/ 17492 w 70250"/>
                  <a:gd name="connsiteY10" fmla="*/ 44577 h 78295"/>
                  <a:gd name="connsiteX11" fmla="*/ 17492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2"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1" y="37624"/>
                      <a:pt x="54281" y="34004"/>
                    </a:cubicBezTo>
                    <a:cubicBezTo>
                      <a:pt x="54281" y="21050"/>
                      <a:pt x="49337" y="14954"/>
                      <a:pt x="38976" y="14954"/>
                    </a:cubicBezTo>
                    <a:cubicBezTo>
                      <a:pt x="25762" y="14954"/>
                      <a:pt x="17492" y="26194"/>
                      <a:pt x="17492" y="44577"/>
                    </a:cubicBezTo>
                    <a:lnTo>
                      <a:pt x="17492" y="78296"/>
                    </a:lnTo>
                    <a:lnTo>
                      <a:pt x="0" y="78296"/>
                    </a:lnTo>
                    <a:lnTo>
                      <a:pt x="0" y="1238"/>
                    </a:lnTo>
                    <a:close/>
                  </a:path>
                </a:pathLst>
              </a:custGeom>
              <a:grpFill/>
              <a:ln w="9497" cap="flat">
                <a:noFill/>
                <a:prstDash val="solid"/>
                <a:miter/>
              </a:ln>
            </p:spPr>
            <p:txBody>
              <a:bodyPr rtlCol="0" anchor="ctr"/>
              <a:lstStyle/>
              <a:p>
                <a:endParaRPr lang="en-GB" dirty="0"/>
              </a:p>
            </p:txBody>
          </p:sp>
          <p:sp>
            <p:nvSpPr>
              <p:cNvPr id="32" name="Freeform 32">
                <a:extLst>
                  <a:ext uri="{FF2B5EF4-FFF2-40B4-BE49-F238E27FC236}">
                    <a16:creationId xmlns:a16="http://schemas.microsoft.com/office/drawing/2014/main" id="{A4EC5FDE-BB89-C005-58EC-A8EC690C2402}"/>
                  </a:ext>
                </a:extLst>
              </p:cNvPr>
              <p:cNvSpPr/>
              <p:nvPr/>
            </p:nvSpPr>
            <p:spPr>
              <a:xfrm>
                <a:off x="6169197" y="3904773"/>
                <a:ext cx="74909" cy="79533"/>
              </a:xfrm>
              <a:custGeom>
                <a:avLst/>
                <a:gdLst>
                  <a:gd name="connsiteX0" fmla="*/ 95 w 74909"/>
                  <a:gd name="connsiteY0" fmla="*/ 56198 h 79533"/>
                  <a:gd name="connsiteX1" fmla="*/ 28899 w 74909"/>
                  <a:gd name="connsiteY1" fmla="*/ 35243 h 79533"/>
                  <a:gd name="connsiteX2" fmla="*/ 57418 w 74909"/>
                  <a:gd name="connsiteY2" fmla="*/ 35243 h 79533"/>
                  <a:gd name="connsiteX3" fmla="*/ 57418 w 74909"/>
                  <a:gd name="connsiteY3" fmla="*/ 29813 h 79533"/>
                  <a:gd name="connsiteX4" fmla="*/ 37169 w 74909"/>
                  <a:gd name="connsiteY4" fmla="*/ 13145 h 79533"/>
                  <a:gd name="connsiteX5" fmla="*/ 18632 w 74909"/>
                  <a:gd name="connsiteY5" fmla="*/ 26289 h 79533"/>
                  <a:gd name="connsiteX6" fmla="*/ 18822 w 74909"/>
                  <a:gd name="connsiteY6" fmla="*/ 29242 h 79533"/>
                  <a:gd name="connsiteX7" fmla="*/ 2757 w 74909"/>
                  <a:gd name="connsiteY7" fmla="*/ 29242 h 79533"/>
                  <a:gd name="connsiteX8" fmla="*/ 2472 w 74909"/>
                  <a:gd name="connsiteY8" fmla="*/ 24670 h 79533"/>
                  <a:gd name="connsiteX9" fmla="*/ 37835 w 74909"/>
                  <a:gd name="connsiteY9" fmla="*/ 0 h 79533"/>
                  <a:gd name="connsiteX10" fmla="*/ 74909 w 74909"/>
                  <a:gd name="connsiteY10" fmla="*/ 31337 h 79533"/>
                  <a:gd name="connsiteX11" fmla="*/ 74909 w 74909"/>
                  <a:gd name="connsiteY11" fmla="*/ 78296 h 79533"/>
                  <a:gd name="connsiteX12" fmla="*/ 57418 w 74909"/>
                  <a:gd name="connsiteY12" fmla="*/ 78296 h 79533"/>
                  <a:gd name="connsiteX13" fmla="*/ 58178 w 74909"/>
                  <a:gd name="connsiteY13" fmla="*/ 61246 h 79533"/>
                  <a:gd name="connsiteX14" fmla="*/ 57988 w 74909"/>
                  <a:gd name="connsiteY14" fmla="*/ 61246 h 79533"/>
                  <a:gd name="connsiteX15" fmla="*/ 29279 w 74909"/>
                  <a:gd name="connsiteY15" fmla="*/ 79534 h 79533"/>
                  <a:gd name="connsiteX16" fmla="*/ 0 w 74909"/>
                  <a:gd name="connsiteY16" fmla="*/ 56102 h 79533"/>
                  <a:gd name="connsiteX17" fmla="*/ 57418 w 74909"/>
                  <a:gd name="connsiteY17" fmla="*/ 47339 h 79533"/>
                  <a:gd name="connsiteX18" fmla="*/ 57418 w 74909"/>
                  <a:gd name="connsiteY18" fmla="*/ 45910 h 79533"/>
                  <a:gd name="connsiteX19" fmla="*/ 30515 w 74909"/>
                  <a:gd name="connsiteY19" fmla="*/ 45910 h 79533"/>
                  <a:gd name="connsiteX20" fmla="*/ 16161 w 74909"/>
                  <a:gd name="connsiteY20" fmla="*/ 55435 h 79533"/>
                  <a:gd name="connsiteX21" fmla="*/ 32987 w 74909"/>
                  <a:gd name="connsiteY21" fmla="*/ 66485 h 79533"/>
                  <a:gd name="connsiteX22" fmla="*/ 57418 w 74909"/>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09" h="79533">
                    <a:moveTo>
                      <a:pt x="95" y="56198"/>
                    </a:moveTo>
                    <a:cubicBezTo>
                      <a:pt x="95" y="44482"/>
                      <a:pt x="8366" y="35243"/>
                      <a:pt x="28899" y="35243"/>
                    </a:cubicBezTo>
                    <a:lnTo>
                      <a:pt x="57418" y="35243"/>
                    </a:lnTo>
                    <a:lnTo>
                      <a:pt x="57418" y="29813"/>
                    </a:lnTo>
                    <a:cubicBezTo>
                      <a:pt x="57418" y="18288"/>
                      <a:pt x="50763" y="13145"/>
                      <a:pt x="37169" y="13145"/>
                    </a:cubicBezTo>
                    <a:cubicBezTo>
                      <a:pt x="25287" y="13145"/>
                      <a:pt x="18632" y="17717"/>
                      <a:pt x="18632" y="26289"/>
                    </a:cubicBezTo>
                    <a:cubicBezTo>
                      <a:pt x="18632" y="26765"/>
                      <a:pt x="18632" y="28004"/>
                      <a:pt x="18822" y="29242"/>
                    </a:cubicBezTo>
                    <a:lnTo>
                      <a:pt x="2757" y="29242"/>
                    </a:lnTo>
                    <a:cubicBezTo>
                      <a:pt x="2567" y="28099"/>
                      <a:pt x="2472" y="26099"/>
                      <a:pt x="2472" y="24670"/>
                    </a:cubicBezTo>
                    <a:cubicBezTo>
                      <a:pt x="2472" y="9239"/>
                      <a:pt x="15875" y="0"/>
                      <a:pt x="37835" y="0"/>
                    </a:cubicBezTo>
                    <a:cubicBezTo>
                      <a:pt x="61220" y="0"/>
                      <a:pt x="74909" y="11049"/>
                      <a:pt x="74909" y="31337"/>
                    </a:cubicBezTo>
                    <a:lnTo>
                      <a:pt x="74909" y="78296"/>
                    </a:lnTo>
                    <a:lnTo>
                      <a:pt x="57418" y="78296"/>
                    </a:lnTo>
                    <a:cubicBezTo>
                      <a:pt x="57703" y="74581"/>
                      <a:pt x="58178" y="67532"/>
                      <a:pt x="58178" y="61246"/>
                    </a:cubicBezTo>
                    <a:lnTo>
                      <a:pt x="57988" y="61246"/>
                    </a:lnTo>
                    <a:cubicBezTo>
                      <a:pt x="55516" y="72676"/>
                      <a:pt x="46295" y="79534"/>
                      <a:pt x="29279" y="79534"/>
                    </a:cubicBezTo>
                    <a:cubicBezTo>
                      <a:pt x="12263" y="79534"/>
                      <a:pt x="0" y="71152"/>
                      <a:pt x="0" y="56102"/>
                    </a:cubicBezTo>
                    <a:close/>
                    <a:moveTo>
                      <a:pt x="57418" y="47339"/>
                    </a:moveTo>
                    <a:lnTo>
                      <a:pt x="57418" y="45910"/>
                    </a:lnTo>
                    <a:lnTo>
                      <a:pt x="30515" y="45910"/>
                    </a:lnTo>
                    <a:cubicBezTo>
                      <a:pt x="20533" y="45910"/>
                      <a:pt x="16161" y="49340"/>
                      <a:pt x="16161" y="55435"/>
                    </a:cubicBezTo>
                    <a:cubicBezTo>
                      <a:pt x="16161" y="62484"/>
                      <a:pt x="22435" y="66485"/>
                      <a:pt x="32987" y="66485"/>
                    </a:cubicBezTo>
                    <a:cubicBezTo>
                      <a:pt x="48101" y="66485"/>
                      <a:pt x="57418" y="59150"/>
                      <a:pt x="57418" y="47244"/>
                    </a:cubicBezTo>
                    <a:close/>
                  </a:path>
                </a:pathLst>
              </a:custGeom>
              <a:grpFill/>
              <a:ln w="9497" cap="flat">
                <a:noFill/>
                <a:prstDash val="solid"/>
                <a:miter/>
              </a:ln>
            </p:spPr>
            <p:txBody>
              <a:bodyPr rtlCol="0" anchor="ctr"/>
              <a:lstStyle/>
              <a:p>
                <a:endParaRPr lang="en-GB" dirty="0"/>
              </a:p>
            </p:txBody>
          </p:sp>
          <p:sp>
            <p:nvSpPr>
              <p:cNvPr id="33" name="Freeform 33">
                <a:extLst>
                  <a:ext uri="{FF2B5EF4-FFF2-40B4-BE49-F238E27FC236}">
                    <a16:creationId xmlns:a16="http://schemas.microsoft.com/office/drawing/2014/main" id="{5EE04E07-3782-291B-CE34-C1C9A3983C78}"/>
                  </a:ext>
                </a:extLst>
              </p:cNvPr>
              <p:cNvSpPr/>
              <p:nvPr/>
            </p:nvSpPr>
            <p:spPr>
              <a:xfrm>
                <a:off x="6260742" y="3904773"/>
                <a:ext cx="80612" cy="78390"/>
              </a:xfrm>
              <a:custGeom>
                <a:avLst/>
                <a:gdLst>
                  <a:gd name="connsiteX0" fmla="*/ 0 w 80612"/>
                  <a:gd name="connsiteY0" fmla="*/ 1238 h 78390"/>
                  <a:gd name="connsiteX1" fmla="*/ 17491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1 w 80612"/>
                  <a:gd name="connsiteY10" fmla="*/ 41053 h 78390"/>
                  <a:gd name="connsiteX11" fmla="*/ 17491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1"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1" y="24194"/>
                      <a:pt x="17491" y="41053"/>
                    </a:cubicBezTo>
                    <a:lnTo>
                      <a:pt x="17491" y="78391"/>
                    </a:lnTo>
                    <a:lnTo>
                      <a:pt x="0" y="78391"/>
                    </a:lnTo>
                    <a:lnTo>
                      <a:pt x="0" y="1333"/>
                    </a:lnTo>
                    <a:close/>
                  </a:path>
                </a:pathLst>
              </a:custGeom>
              <a:grpFill/>
              <a:ln w="9497" cap="flat">
                <a:noFill/>
                <a:prstDash val="solid"/>
                <a:miter/>
              </a:ln>
            </p:spPr>
            <p:txBody>
              <a:bodyPr rtlCol="0" anchor="ctr"/>
              <a:lstStyle/>
              <a:p>
                <a:endParaRPr lang="en-GB" dirty="0"/>
              </a:p>
            </p:txBody>
          </p:sp>
          <p:sp>
            <p:nvSpPr>
              <p:cNvPr id="34" name="Freeform 34">
                <a:extLst>
                  <a:ext uri="{FF2B5EF4-FFF2-40B4-BE49-F238E27FC236}">
                    <a16:creationId xmlns:a16="http://schemas.microsoft.com/office/drawing/2014/main" id="{48B7544C-B1F7-6797-1CBD-BAF7031E5167}"/>
                  </a:ext>
                </a:extLst>
              </p:cNvPr>
              <p:cNvSpPr/>
              <p:nvPr/>
            </p:nvSpPr>
            <p:spPr>
              <a:xfrm>
                <a:off x="635561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4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3"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1"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4" y="79629"/>
                    </a:cubicBezTo>
                    <a:cubicBezTo>
                      <a:pt x="9601" y="79629"/>
                      <a:pt x="95" y="67723"/>
                      <a:pt x="95" y="52673"/>
                    </a:cubicBezTo>
                    <a:close/>
                  </a:path>
                </a:pathLst>
              </a:custGeom>
              <a:grpFill/>
              <a:ln w="9497" cap="flat">
                <a:noFill/>
                <a:prstDash val="solid"/>
                <a:miter/>
              </a:ln>
            </p:spPr>
            <p:txBody>
              <a:bodyPr rtlCol="0" anchor="ctr"/>
              <a:lstStyle/>
              <a:p>
                <a:endParaRPr lang="en-GB" dirty="0"/>
              </a:p>
            </p:txBody>
          </p:sp>
          <p:sp>
            <p:nvSpPr>
              <p:cNvPr id="35" name="Freeform 35">
                <a:extLst>
                  <a:ext uri="{FF2B5EF4-FFF2-40B4-BE49-F238E27FC236}">
                    <a16:creationId xmlns:a16="http://schemas.microsoft.com/office/drawing/2014/main" id="{214FB701-B08A-6992-D371-D6E5E77F904B}"/>
                  </a:ext>
                </a:extLst>
              </p:cNvPr>
              <p:cNvSpPr/>
              <p:nvPr/>
            </p:nvSpPr>
            <p:spPr>
              <a:xfrm>
                <a:off x="6436797" y="3871817"/>
                <a:ext cx="56466" cy="111252"/>
              </a:xfrm>
              <a:custGeom>
                <a:avLst/>
                <a:gdLst>
                  <a:gd name="connsiteX0" fmla="*/ 12263 w 56466"/>
                  <a:gd name="connsiteY0" fmla="*/ 48387 h 111252"/>
                  <a:gd name="connsiteX1" fmla="*/ 0 w 56466"/>
                  <a:gd name="connsiteY1" fmla="*/ 48387 h 111252"/>
                  <a:gd name="connsiteX2" fmla="*/ 0 w 56466"/>
                  <a:gd name="connsiteY2" fmla="*/ 34195 h 111252"/>
                  <a:gd name="connsiteX3" fmla="*/ 12263 w 56466"/>
                  <a:gd name="connsiteY3" fmla="*/ 34195 h 111252"/>
                  <a:gd name="connsiteX4" fmla="*/ 12263 w 56466"/>
                  <a:gd name="connsiteY4" fmla="*/ 26575 h 111252"/>
                  <a:gd name="connsiteX5" fmla="*/ 40306 w 56466"/>
                  <a:gd name="connsiteY5" fmla="*/ 0 h 111252"/>
                  <a:gd name="connsiteX6" fmla="*/ 55231 w 56466"/>
                  <a:gd name="connsiteY6" fmla="*/ 2191 h 111252"/>
                  <a:gd name="connsiteX7" fmla="*/ 55231 w 56466"/>
                  <a:gd name="connsiteY7" fmla="*/ 16097 h 111252"/>
                  <a:gd name="connsiteX8" fmla="*/ 43348 w 56466"/>
                  <a:gd name="connsiteY8" fmla="*/ 14192 h 111252"/>
                  <a:gd name="connsiteX9" fmla="*/ 29659 w 56466"/>
                  <a:gd name="connsiteY9" fmla="*/ 27337 h 111252"/>
                  <a:gd name="connsiteX10" fmla="*/ 29659 w 56466"/>
                  <a:gd name="connsiteY10" fmla="*/ 34195 h 111252"/>
                  <a:gd name="connsiteX11" fmla="*/ 56467 w 56466"/>
                  <a:gd name="connsiteY11" fmla="*/ 34195 h 111252"/>
                  <a:gd name="connsiteX12" fmla="*/ 56467 w 56466"/>
                  <a:gd name="connsiteY12" fmla="*/ 48387 h 111252"/>
                  <a:gd name="connsiteX13" fmla="*/ 29659 w 56466"/>
                  <a:gd name="connsiteY13" fmla="*/ 48387 h 111252"/>
                  <a:gd name="connsiteX14" fmla="*/ 29659 w 56466"/>
                  <a:gd name="connsiteY14" fmla="*/ 111252 h 111252"/>
                  <a:gd name="connsiteX15" fmla="*/ 12168 w 56466"/>
                  <a:gd name="connsiteY15" fmla="*/ 111252 h 111252"/>
                  <a:gd name="connsiteX16" fmla="*/ 12168 w 56466"/>
                  <a:gd name="connsiteY16" fmla="*/ 48387 h 11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466" h="111252">
                    <a:moveTo>
                      <a:pt x="12263" y="48387"/>
                    </a:moveTo>
                    <a:lnTo>
                      <a:pt x="0" y="48387"/>
                    </a:lnTo>
                    <a:lnTo>
                      <a:pt x="0" y="34195"/>
                    </a:lnTo>
                    <a:lnTo>
                      <a:pt x="12263" y="34195"/>
                    </a:lnTo>
                    <a:lnTo>
                      <a:pt x="12263" y="26575"/>
                    </a:lnTo>
                    <a:cubicBezTo>
                      <a:pt x="12263" y="9430"/>
                      <a:pt x="23670" y="0"/>
                      <a:pt x="40306" y="0"/>
                    </a:cubicBezTo>
                    <a:cubicBezTo>
                      <a:pt x="47151" y="0"/>
                      <a:pt x="52759" y="1238"/>
                      <a:pt x="55231" y="2191"/>
                    </a:cubicBezTo>
                    <a:lnTo>
                      <a:pt x="55231" y="16097"/>
                    </a:lnTo>
                    <a:cubicBezTo>
                      <a:pt x="52759" y="15335"/>
                      <a:pt x="48672" y="14192"/>
                      <a:pt x="43348" y="14192"/>
                    </a:cubicBezTo>
                    <a:cubicBezTo>
                      <a:pt x="34507" y="14192"/>
                      <a:pt x="29659" y="18860"/>
                      <a:pt x="29659" y="27337"/>
                    </a:cubicBezTo>
                    <a:lnTo>
                      <a:pt x="29659" y="34195"/>
                    </a:lnTo>
                    <a:lnTo>
                      <a:pt x="56467" y="34195"/>
                    </a:lnTo>
                    <a:lnTo>
                      <a:pt x="56467" y="48387"/>
                    </a:lnTo>
                    <a:lnTo>
                      <a:pt x="29659" y="48387"/>
                    </a:lnTo>
                    <a:lnTo>
                      <a:pt x="29659" y="111252"/>
                    </a:lnTo>
                    <a:lnTo>
                      <a:pt x="12168" y="111252"/>
                    </a:lnTo>
                    <a:lnTo>
                      <a:pt x="12168" y="48387"/>
                    </a:lnTo>
                    <a:close/>
                  </a:path>
                </a:pathLst>
              </a:custGeom>
              <a:grpFill/>
              <a:ln w="9497" cap="flat">
                <a:noFill/>
                <a:prstDash val="solid"/>
                <a:miter/>
              </a:ln>
            </p:spPr>
            <p:txBody>
              <a:bodyPr rtlCol="0" anchor="ctr"/>
              <a:lstStyle/>
              <a:p>
                <a:endParaRPr lang="en-GB" dirty="0"/>
              </a:p>
            </p:txBody>
          </p:sp>
          <p:sp>
            <p:nvSpPr>
              <p:cNvPr id="36" name="Freeform 36">
                <a:extLst>
                  <a:ext uri="{FF2B5EF4-FFF2-40B4-BE49-F238E27FC236}">
                    <a16:creationId xmlns:a16="http://schemas.microsoft.com/office/drawing/2014/main" id="{79438928-D0F1-DEF0-D5C6-776EEF2A7C0B}"/>
                  </a:ext>
                </a:extLst>
              </p:cNvPr>
              <p:cNvSpPr/>
              <p:nvPr/>
            </p:nvSpPr>
            <p:spPr>
              <a:xfrm>
                <a:off x="6497732" y="3904773"/>
                <a:ext cx="80517" cy="79533"/>
              </a:xfrm>
              <a:custGeom>
                <a:avLst/>
                <a:gdLst>
                  <a:gd name="connsiteX0" fmla="*/ 0 w 80517"/>
                  <a:gd name="connsiteY0" fmla="*/ 39910 h 79533"/>
                  <a:gd name="connsiteX1" fmla="*/ 40211 w 80517"/>
                  <a:gd name="connsiteY1" fmla="*/ 0 h 79533"/>
                  <a:gd name="connsiteX2" fmla="*/ 80518 w 80517"/>
                  <a:gd name="connsiteY2" fmla="*/ 39910 h 79533"/>
                  <a:gd name="connsiteX3" fmla="*/ 40211 w 80517"/>
                  <a:gd name="connsiteY3" fmla="*/ 79534 h 79533"/>
                  <a:gd name="connsiteX4" fmla="*/ 0 w 80517"/>
                  <a:gd name="connsiteY4" fmla="*/ 39910 h 79533"/>
                  <a:gd name="connsiteX5" fmla="*/ 63121 w 80517"/>
                  <a:gd name="connsiteY5" fmla="*/ 39910 h 79533"/>
                  <a:gd name="connsiteX6" fmla="*/ 40211 w 80517"/>
                  <a:gd name="connsiteY6" fmla="*/ 14288 h 79533"/>
                  <a:gd name="connsiteX7" fmla="*/ 17492 w 80517"/>
                  <a:gd name="connsiteY7" fmla="*/ 39910 h 79533"/>
                  <a:gd name="connsiteX8" fmla="*/ 40211 w 80517"/>
                  <a:gd name="connsiteY8" fmla="*/ 65151 h 79533"/>
                  <a:gd name="connsiteX9" fmla="*/ 63121 w 80517"/>
                  <a:gd name="connsiteY9" fmla="*/ 39910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17" h="79533">
                    <a:moveTo>
                      <a:pt x="0" y="39910"/>
                    </a:moveTo>
                    <a:cubicBezTo>
                      <a:pt x="0" y="15240"/>
                      <a:pt x="15780" y="0"/>
                      <a:pt x="40211" y="0"/>
                    </a:cubicBezTo>
                    <a:cubicBezTo>
                      <a:pt x="64642" y="0"/>
                      <a:pt x="80518" y="15335"/>
                      <a:pt x="80518" y="39910"/>
                    </a:cubicBezTo>
                    <a:cubicBezTo>
                      <a:pt x="80518" y="64484"/>
                      <a:pt x="64737" y="79534"/>
                      <a:pt x="40211" y="79534"/>
                    </a:cubicBezTo>
                    <a:cubicBezTo>
                      <a:pt x="15685" y="79534"/>
                      <a:pt x="0" y="64389"/>
                      <a:pt x="0" y="39910"/>
                    </a:cubicBezTo>
                    <a:close/>
                    <a:moveTo>
                      <a:pt x="63121" y="39910"/>
                    </a:moveTo>
                    <a:cubicBezTo>
                      <a:pt x="63121" y="24098"/>
                      <a:pt x="54376" y="14288"/>
                      <a:pt x="40211" y="14288"/>
                    </a:cubicBezTo>
                    <a:cubicBezTo>
                      <a:pt x="26047" y="14288"/>
                      <a:pt x="17492" y="24098"/>
                      <a:pt x="17492" y="39910"/>
                    </a:cubicBezTo>
                    <a:cubicBezTo>
                      <a:pt x="17492" y="55721"/>
                      <a:pt x="26047" y="65151"/>
                      <a:pt x="40211" y="65151"/>
                    </a:cubicBezTo>
                    <a:cubicBezTo>
                      <a:pt x="54376" y="65151"/>
                      <a:pt x="63121" y="55435"/>
                      <a:pt x="63121" y="39910"/>
                    </a:cubicBezTo>
                    <a:close/>
                  </a:path>
                </a:pathLst>
              </a:custGeom>
              <a:grpFill/>
              <a:ln w="9497" cap="flat">
                <a:noFill/>
                <a:prstDash val="solid"/>
                <a:miter/>
              </a:ln>
            </p:spPr>
            <p:txBody>
              <a:bodyPr rtlCol="0" anchor="ctr"/>
              <a:lstStyle/>
              <a:p>
                <a:endParaRPr lang="en-GB" dirty="0"/>
              </a:p>
            </p:txBody>
          </p:sp>
          <p:sp>
            <p:nvSpPr>
              <p:cNvPr id="37" name="Freeform 37">
                <a:extLst>
                  <a:ext uri="{FF2B5EF4-FFF2-40B4-BE49-F238E27FC236}">
                    <a16:creationId xmlns:a16="http://schemas.microsoft.com/office/drawing/2014/main" id="{A37F2F3B-B6C6-6013-7133-C133D7A44A05}"/>
                  </a:ext>
                </a:extLst>
              </p:cNvPr>
              <p:cNvSpPr/>
              <p:nvPr/>
            </p:nvSpPr>
            <p:spPr>
              <a:xfrm>
                <a:off x="6593174" y="3904773"/>
                <a:ext cx="70250" cy="78295"/>
              </a:xfrm>
              <a:custGeom>
                <a:avLst/>
                <a:gdLst>
                  <a:gd name="connsiteX0" fmla="*/ 0 w 70250"/>
                  <a:gd name="connsiteY0" fmla="*/ 1238 h 78295"/>
                  <a:gd name="connsiteX1" fmla="*/ 17491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0 w 70250"/>
                  <a:gd name="connsiteY8" fmla="*/ 34004 h 78295"/>
                  <a:gd name="connsiteX9" fmla="*/ 38975 w 70250"/>
                  <a:gd name="connsiteY9" fmla="*/ 14954 h 78295"/>
                  <a:gd name="connsiteX10" fmla="*/ 17491 w 70250"/>
                  <a:gd name="connsiteY10" fmla="*/ 44577 h 78295"/>
                  <a:gd name="connsiteX11" fmla="*/ 17491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1"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8975" y="14954"/>
                    </a:cubicBezTo>
                    <a:cubicBezTo>
                      <a:pt x="25762" y="14954"/>
                      <a:pt x="17491" y="26194"/>
                      <a:pt x="17491" y="44577"/>
                    </a:cubicBezTo>
                    <a:lnTo>
                      <a:pt x="17491" y="78296"/>
                    </a:lnTo>
                    <a:lnTo>
                      <a:pt x="0" y="78296"/>
                    </a:lnTo>
                    <a:lnTo>
                      <a:pt x="0" y="1238"/>
                    </a:lnTo>
                    <a:close/>
                  </a:path>
                </a:pathLst>
              </a:custGeom>
              <a:grpFill/>
              <a:ln w="9497" cap="flat">
                <a:noFill/>
                <a:prstDash val="solid"/>
                <a:miter/>
              </a:ln>
            </p:spPr>
            <p:txBody>
              <a:bodyPr rtlCol="0" anchor="ctr"/>
              <a:lstStyle/>
              <a:p>
                <a:endParaRPr lang="en-GB" dirty="0"/>
              </a:p>
            </p:txBody>
          </p:sp>
          <p:sp>
            <p:nvSpPr>
              <p:cNvPr id="38" name="Freeform 38">
                <a:extLst>
                  <a:ext uri="{FF2B5EF4-FFF2-40B4-BE49-F238E27FC236}">
                    <a16:creationId xmlns:a16="http://schemas.microsoft.com/office/drawing/2014/main" id="{3971A5F6-9397-7BF4-C49F-39D9D111E81B}"/>
                  </a:ext>
                </a:extLst>
              </p:cNvPr>
              <p:cNvSpPr/>
              <p:nvPr/>
            </p:nvSpPr>
            <p:spPr>
              <a:xfrm>
                <a:off x="6678445"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293"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2"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GB" dirty="0"/>
              </a:p>
            </p:txBody>
          </p:sp>
          <p:sp>
            <p:nvSpPr>
              <p:cNvPr id="39" name="Freeform 39">
                <a:extLst>
                  <a:ext uri="{FF2B5EF4-FFF2-40B4-BE49-F238E27FC236}">
                    <a16:creationId xmlns:a16="http://schemas.microsoft.com/office/drawing/2014/main" id="{BCB379F9-4F1C-2D5E-B01B-E88654350561}"/>
                  </a:ext>
                </a:extLst>
              </p:cNvPr>
              <p:cNvSpPr/>
              <p:nvPr/>
            </p:nvSpPr>
            <p:spPr>
              <a:xfrm>
                <a:off x="6819708" y="3879818"/>
                <a:ext cx="17871" cy="103250"/>
              </a:xfrm>
              <a:custGeom>
                <a:avLst/>
                <a:gdLst>
                  <a:gd name="connsiteX0" fmla="*/ 0 w 17871"/>
                  <a:gd name="connsiteY0" fmla="*/ 0 h 103250"/>
                  <a:gd name="connsiteX1" fmla="*/ 17872 w 17871"/>
                  <a:gd name="connsiteY1" fmla="*/ 0 h 103250"/>
                  <a:gd name="connsiteX2" fmla="*/ 17872 w 17871"/>
                  <a:gd name="connsiteY2" fmla="*/ 17145 h 103250"/>
                  <a:gd name="connsiteX3" fmla="*/ 0 w 17871"/>
                  <a:gd name="connsiteY3" fmla="*/ 17145 h 103250"/>
                  <a:gd name="connsiteX4" fmla="*/ 0 w 17871"/>
                  <a:gd name="connsiteY4" fmla="*/ 0 h 103250"/>
                  <a:gd name="connsiteX5" fmla="*/ 190 w 17871"/>
                  <a:gd name="connsiteY5" fmla="*/ 26194 h 103250"/>
                  <a:gd name="connsiteX6" fmla="*/ 17682 w 17871"/>
                  <a:gd name="connsiteY6" fmla="*/ 26194 h 103250"/>
                  <a:gd name="connsiteX7" fmla="*/ 17682 w 17871"/>
                  <a:gd name="connsiteY7" fmla="*/ 103251 h 103250"/>
                  <a:gd name="connsiteX8" fmla="*/ 190 w 17871"/>
                  <a:gd name="connsiteY8" fmla="*/ 103251 h 103250"/>
                  <a:gd name="connsiteX9" fmla="*/ 190 w 17871"/>
                  <a:gd name="connsiteY9" fmla="*/ 26194 h 10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71" h="103250">
                    <a:moveTo>
                      <a:pt x="0" y="0"/>
                    </a:moveTo>
                    <a:lnTo>
                      <a:pt x="17872" y="0"/>
                    </a:lnTo>
                    <a:lnTo>
                      <a:pt x="17872" y="17145"/>
                    </a:lnTo>
                    <a:lnTo>
                      <a:pt x="0" y="17145"/>
                    </a:lnTo>
                    <a:lnTo>
                      <a:pt x="0" y="0"/>
                    </a:lnTo>
                    <a:close/>
                    <a:moveTo>
                      <a:pt x="190" y="26194"/>
                    </a:moveTo>
                    <a:lnTo>
                      <a:pt x="17682" y="26194"/>
                    </a:lnTo>
                    <a:lnTo>
                      <a:pt x="17682" y="103251"/>
                    </a:lnTo>
                    <a:lnTo>
                      <a:pt x="190" y="103251"/>
                    </a:lnTo>
                    <a:lnTo>
                      <a:pt x="190" y="26194"/>
                    </a:lnTo>
                    <a:close/>
                  </a:path>
                </a:pathLst>
              </a:custGeom>
              <a:grpFill/>
              <a:ln w="9497" cap="flat">
                <a:noFill/>
                <a:prstDash val="solid"/>
                <a:miter/>
              </a:ln>
            </p:spPr>
            <p:txBody>
              <a:bodyPr rtlCol="0" anchor="ctr"/>
              <a:lstStyle/>
              <a:p>
                <a:endParaRPr lang="en-GB" dirty="0"/>
              </a:p>
            </p:txBody>
          </p:sp>
          <p:sp>
            <p:nvSpPr>
              <p:cNvPr id="40" name="Freeform 40">
                <a:extLst>
                  <a:ext uri="{FF2B5EF4-FFF2-40B4-BE49-F238E27FC236}">
                    <a16:creationId xmlns:a16="http://schemas.microsoft.com/office/drawing/2014/main" id="{AD7E26AB-0D70-DBF0-838B-CC34D06E20F5}"/>
                  </a:ext>
                </a:extLst>
              </p:cNvPr>
              <p:cNvSpPr/>
              <p:nvPr/>
            </p:nvSpPr>
            <p:spPr>
              <a:xfrm>
                <a:off x="6855546" y="3904773"/>
                <a:ext cx="80612" cy="78390"/>
              </a:xfrm>
              <a:custGeom>
                <a:avLst/>
                <a:gdLst>
                  <a:gd name="connsiteX0" fmla="*/ 0 w 80612"/>
                  <a:gd name="connsiteY0" fmla="*/ 1238 h 78390"/>
                  <a:gd name="connsiteX1" fmla="*/ 17492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2 w 80612"/>
                  <a:gd name="connsiteY10" fmla="*/ 41053 h 78390"/>
                  <a:gd name="connsiteX11" fmla="*/ 17492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2"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2" y="24194"/>
                      <a:pt x="17492" y="41053"/>
                    </a:cubicBezTo>
                    <a:lnTo>
                      <a:pt x="17492" y="78391"/>
                    </a:lnTo>
                    <a:lnTo>
                      <a:pt x="0" y="78391"/>
                    </a:lnTo>
                    <a:lnTo>
                      <a:pt x="0" y="1333"/>
                    </a:lnTo>
                    <a:close/>
                  </a:path>
                </a:pathLst>
              </a:custGeom>
              <a:grpFill/>
              <a:ln w="9497" cap="flat">
                <a:noFill/>
                <a:prstDash val="solid"/>
                <a:miter/>
              </a:ln>
            </p:spPr>
            <p:txBody>
              <a:bodyPr rtlCol="0" anchor="ctr"/>
              <a:lstStyle/>
              <a:p>
                <a:endParaRPr lang="en-GB" dirty="0"/>
              </a:p>
            </p:txBody>
          </p:sp>
          <p:sp>
            <p:nvSpPr>
              <p:cNvPr id="41" name="Freeform 41">
                <a:extLst>
                  <a:ext uri="{FF2B5EF4-FFF2-40B4-BE49-F238E27FC236}">
                    <a16:creationId xmlns:a16="http://schemas.microsoft.com/office/drawing/2014/main" id="{3F84DA9E-E7D5-1416-73C2-79836D609BEF}"/>
                  </a:ext>
                </a:extLst>
              </p:cNvPr>
              <p:cNvSpPr/>
              <p:nvPr/>
            </p:nvSpPr>
            <p:spPr>
              <a:xfrm>
                <a:off x="6950133" y="3890581"/>
                <a:ext cx="82133" cy="125730"/>
              </a:xfrm>
              <a:custGeom>
                <a:avLst/>
                <a:gdLst>
                  <a:gd name="connsiteX0" fmla="*/ 82039 w 82133"/>
                  <a:gd name="connsiteY0" fmla="*/ 99822 h 125730"/>
                  <a:gd name="connsiteX1" fmla="*/ 41542 w 82133"/>
                  <a:gd name="connsiteY1" fmla="*/ 125730 h 125730"/>
                  <a:gd name="connsiteX2" fmla="*/ 0 w 82133"/>
                  <a:gd name="connsiteY2" fmla="*/ 103918 h 125730"/>
                  <a:gd name="connsiteX3" fmla="*/ 14925 w 82133"/>
                  <a:gd name="connsiteY3" fmla="*/ 89916 h 125730"/>
                  <a:gd name="connsiteX4" fmla="*/ 14925 w 82133"/>
                  <a:gd name="connsiteY4" fmla="*/ 89725 h 125730"/>
                  <a:gd name="connsiteX5" fmla="*/ 8175 w 82133"/>
                  <a:gd name="connsiteY5" fmla="*/ 77057 h 125730"/>
                  <a:gd name="connsiteX6" fmla="*/ 15305 w 82133"/>
                  <a:gd name="connsiteY6" fmla="*/ 63913 h 125730"/>
                  <a:gd name="connsiteX7" fmla="*/ 15305 w 82133"/>
                  <a:gd name="connsiteY7" fmla="*/ 63627 h 125730"/>
                  <a:gd name="connsiteX8" fmla="*/ 3422 w 82133"/>
                  <a:gd name="connsiteY8" fmla="*/ 41624 h 125730"/>
                  <a:gd name="connsiteX9" fmla="*/ 37740 w 82133"/>
                  <a:gd name="connsiteY9" fmla="*/ 14192 h 125730"/>
                  <a:gd name="connsiteX10" fmla="*/ 59224 w 82133"/>
                  <a:gd name="connsiteY10" fmla="*/ 19145 h 125730"/>
                  <a:gd name="connsiteX11" fmla="*/ 59414 w 82133"/>
                  <a:gd name="connsiteY11" fmla="*/ 18955 h 125730"/>
                  <a:gd name="connsiteX12" fmla="*/ 55706 w 82133"/>
                  <a:gd name="connsiteY12" fmla="*/ 10192 h 125730"/>
                  <a:gd name="connsiteX13" fmla="*/ 70821 w 82133"/>
                  <a:gd name="connsiteY13" fmla="*/ 0 h 125730"/>
                  <a:gd name="connsiteX14" fmla="*/ 78616 w 82133"/>
                  <a:gd name="connsiteY14" fmla="*/ 762 h 125730"/>
                  <a:gd name="connsiteX15" fmla="*/ 78616 w 82133"/>
                  <a:gd name="connsiteY15" fmla="*/ 13049 h 125730"/>
                  <a:gd name="connsiteX16" fmla="*/ 73483 w 82133"/>
                  <a:gd name="connsiteY16" fmla="*/ 12287 h 125730"/>
                  <a:gd name="connsiteX17" fmla="*/ 65878 w 82133"/>
                  <a:gd name="connsiteY17" fmla="*/ 18669 h 125730"/>
                  <a:gd name="connsiteX18" fmla="*/ 67589 w 82133"/>
                  <a:gd name="connsiteY18" fmla="*/ 26479 h 125730"/>
                  <a:gd name="connsiteX19" fmla="*/ 72152 w 82133"/>
                  <a:gd name="connsiteY19" fmla="*/ 41434 h 125730"/>
                  <a:gd name="connsiteX20" fmla="*/ 37930 w 82133"/>
                  <a:gd name="connsiteY20" fmla="*/ 68866 h 125730"/>
                  <a:gd name="connsiteX21" fmla="*/ 24336 w 82133"/>
                  <a:gd name="connsiteY21" fmla="*/ 67151 h 125730"/>
                  <a:gd name="connsiteX22" fmla="*/ 22435 w 82133"/>
                  <a:gd name="connsiteY22" fmla="*/ 73057 h 125730"/>
                  <a:gd name="connsiteX23" fmla="*/ 31180 w 82133"/>
                  <a:gd name="connsiteY23" fmla="*/ 80105 h 125730"/>
                  <a:gd name="connsiteX24" fmla="*/ 56087 w 82133"/>
                  <a:gd name="connsiteY24" fmla="*/ 80105 h 125730"/>
                  <a:gd name="connsiteX25" fmla="*/ 82134 w 82133"/>
                  <a:gd name="connsiteY25" fmla="*/ 99631 h 125730"/>
                  <a:gd name="connsiteX26" fmla="*/ 64547 w 82133"/>
                  <a:gd name="connsiteY26" fmla="*/ 101822 h 125730"/>
                  <a:gd name="connsiteX27" fmla="*/ 52379 w 82133"/>
                  <a:gd name="connsiteY27" fmla="*/ 93821 h 125730"/>
                  <a:gd name="connsiteX28" fmla="*/ 31466 w 82133"/>
                  <a:gd name="connsiteY28" fmla="*/ 93821 h 125730"/>
                  <a:gd name="connsiteX29" fmla="*/ 17111 w 82133"/>
                  <a:gd name="connsiteY29" fmla="*/ 102394 h 125730"/>
                  <a:gd name="connsiteX30" fmla="*/ 41257 w 82133"/>
                  <a:gd name="connsiteY30" fmla="*/ 113348 h 125730"/>
                  <a:gd name="connsiteX31" fmla="*/ 64452 w 82133"/>
                  <a:gd name="connsiteY31" fmla="*/ 101822 h 125730"/>
                  <a:gd name="connsiteX32" fmla="*/ 20153 w 82133"/>
                  <a:gd name="connsiteY32" fmla="*/ 41624 h 125730"/>
                  <a:gd name="connsiteX33" fmla="*/ 37740 w 82133"/>
                  <a:gd name="connsiteY33" fmla="*/ 56579 h 125730"/>
                  <a:gd name="connsiteX34" fmla="*/ 55326 w 82133"/>
                  <a:gd name="connsiteY34" fmla="*/ 41624 h 125730"/>
                  <a:gd name="connsiteX35" fmla="*/ 37740 w 82133"/>
                  <a:gd name="connsiteY35" fmla="*/ 26670 h 125730"/>
                  <a:gd name="connsiteX36" fmla="*/ 20153 w 82133"/>
                  <a:gd name="connsiteY36" fmla="*/ 41624 h 12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133" h="125730">
                    <a:moveTo>
                      <a:pt x="82039" y="99822"/>
                    </a:moveTo>
                    <a:cubicBezTo>
                      <a:pt x="82039" y="116015"/>
                      <a:pt x="66924" y="125730"/>
                      <a:pt x="41542" y="125730"/>
                    </a:cubicBezTo>
                    <a:cubicBezTo>
                      <a:pt x="16160" y="125730"/>
                      <a:pt x="0" y="117729"/>
                      <a:pt x="0" y="103918"/>
                    </a:cubicBezTo>
                    <a:cubicBezTo>
                      <a:pt x="0" y="96107"/>
                      <a:pt x="5799" y="90297"/>
                      <a:pt x="14925" y="89916"/>
                    </a:cubicBezTo>
                    <a:lnTo>
                      <a:pt x="14925" y="89725"/>
                    </a:lnTo>
                    <a:cubicBezTo>
                      <a:pt x="10552" y="86773"/>
                      <a:pt x="8175" y="82582"/>
                      <a:pt x="8175" y="77057"/>
                    </a:cubicBezTo>
                    <a:cubicBezTo>
                      <a:pt x="8175" y="70485"/>
                      <a:pt x="11122" y="66008"/>
                      <a:pt x="15305" y="63913"/>
                    </a:cubicBezTo>
                    <a:lnTo>
                      <a:pt x="15305" y="63627"/>
                    </a:lnTo>
                    <a:cubicBezTo>
                      <a:pt x="7700" y="58960"/>
                      <a:pt x="3422" y="51340"/>
                      <a:pt x="3422" y="41624"/>
                    </a:cubicBezTo>
                    <a:cubicBezTo>
                      <a:pt x="3422" y="24765"/>
                      <a:pt x="16541" y="14192"/>
                      <a:pt x="37740" y="14192"/>
                    </a:cubicBezTo>
                    <a:cubicBezTo>
                      <a:pt x="46485" y="14192"/>
                      <a:pt x="53615" y="15907"/>
                      <a:pt x="59224" y="19145"/>
                    </a:cubicBezTo>
                    <a:lnTo>
                      <a:pt x="59414" y="18955"/>
                    </a:lnTo>
                    <a:cubicBezTo>
                      <a:pt x="57037" y="16478"/>
                      <a:pt x="55706" y="13525"/>
                      <a:pt x="55706" y="10192"/>
                    </a:cubicBezTo>
                    <a:cubicBezTo>
                      <a:pt x="55706" y="3905"/>
                      <a:pt x="61600" y="0"/>
                      <a:pt x="70821" y="0"/>
                    </a:cubicBezTo>
                    <a:cubicBezTo>
                      <a:pt x="74529" y="0"/>
                      <a:pt x="76715" y="286"/>
                      <a:pt x="78616" y="762"/>
                    </a:cubicBezTo>
                    <a:lnTo>
                      <a:pt x="78616" y="13049"/>
                    </a:lnTo>
                    <a:cubicBezTo>
                      <a:pt x="77380" y="12573"/>
                      <a:pt x="75669" y="12287"/>
                      <a:pt x="73483" y="12287"/>
                    </a:cubicBezTo>
                    <a:cubicBezTo>
                      <a:pt x="68350" y="12287"/>
                      <a:pt x="65878" y="14478"/>
                      <a:pt x="65878" y="18669"/>
                    </a:cubicBezTo>
                    <a:cubicBezTo>
                      <a:pt x="65878" y="20860"/>
                      <a:pt x="66638" y="23527"/>
                      <a:pt x="67589" y="26479"/>
                    </a:cubicBezTo>
                    <a:cubicBezTo>
                      <a:pt x="70536" y="30575"/>
                      <a:pt x="72152" y="35719"/>
                      <a:pt x="72152" y="41434"/>
                    </a:cubicBezTo>
                    <a:cubicBezTo>
                      <a:pt x="72152" y="58483"/>
                      <a:pt x="59034" y="68866"/>
                      <a:pt x="37930" y="68866"/>
                    </a:cubicBezTo>
                    <a:cubicBezTo>
                      <a:pt x="32987" y="68866"/>
                      <a:pt x="28423" y="68199"/>
                      <a:pt x="24336" y="67151"/>
                    </a:cubicBezTo>
                    <a:cubicBezTo>
                      <a:pt x="23385" y="68199"/>
                      <a:pt x="22435" y="70390"/>
                      <a:pt x="22435" y="73057"/>
                    </a:cubicBezTo>
                    <a:cubicBezTo>
                      <a:pt x="22435" y="77438"/>
                      <a:pt x="25572" y="80105"/>
                      <a:pt x="31180" y="80105"/>
                    </a:cubicBezTo>
                    <a:lnTo>
                      <a:pt x="56087" y="80105"/>
                    </a:lnTo>
                    <a:cubicBezTo>
                      <a:pt x="72627" y="80105"/>
                      <a:pt x="82134" y="87249"/>
                      <a:pt x="82134" y="99631"/>
                    </a:cubicBezTo>
                    <a:close/>
                    <a:moveTo>
                      <a:pt x="64547" y="101822"/>
                    </a:moveTo>
                    <a:cubicBezTo>
                      <a:pt x="64547" y="96679"/>
                      <a:pt x="60650" y="93821"/>
                      <a:pt x="52379" y="93821"/>
                    </a:cubicBezTo>
                    <a:lnTo>
                      <a:pt x="31466" y="93821"/>
                    </a:lnTo>
                    <a:cubicBezTo>
                      <a:pt x="22720" y="93821"/>
                      <a:pt x="17111" y="96488"/>
                      <a:pt x="17111" y="102394"/>
                    </a:cubicBezTo>
                    <a:cubicBezTo>
                      <a:pt x="17111" y="109728"/>
                      <a:pt x="26427" y="113348"/>
                      <a:pt x="41257" y="113348"/>
                    </a:cubicBezTo>
                    <a:cubicBezTo>
                      <a:pt x="57608" y="113348"/>
                      <a:pt x="64452" y="108680"/>
                      <a:pt x="64452" y="101822"/>
                    </a:cubicBezTo>
                    <a:close/>
                    <a:moveTo>
                      <a:pt x="20153" y="41624"/>
                    </a:moveTo>
                    <a:cubicBezTo>
                      <a:pt x="20153" y="50864"/>
                      <a:pt x="26902" y="56579"/>
                      <a:pt x="37740" y="56579"/>
                    </a:cubicBezTo>
                    <a:cubicBezTo>
                      <a:pt x="48577" y="56579"/>
                      <a:pt x="55326" y="50768"/>
                      <a:pt x="55326" y="41624"/>
                    </a:cubicBezTo>
                    <a:cubicBezTo>
                      <a:pt x="55326" y="32480"/>
                      <a:pt x="48672" y="26670"/>
                      <a:pt x="37740" y="26670"/>
                    </a:cubicBezTo>
                    <a:cubicBezTo>
                      <a:pt x="26808" y="26670"/>
                      <a:pt x="20153" y="32480"/>
                      <a:pt x="20153" y="41624"/>
                    </a:cubicBezTo>
                    <a:close/>
                  </a:path>
                </a:pathLst>
              </a:custGeom>
              <a:grpFill/>
              <a:ln w="9497" cap="flat">
                <a:noFill/>
                <a:prstDash val="solid"/>
                <a:miter/>
              </a:ln>
            </p:spPr>
            <p:txBody>
              <a:bodyPr rtlCol="0" anchor="ctr"/>
              <a:lstStyle/>
              <a:p>
                <a:endParaRPr lang="en-GB" dirty="0"/>
              </a:p>
            </p:txBody>
          </p:sp>
          <p:sp>
            <p:nvSpPr>
              <p:cNvPr id="42" name="Freeform 42">
                <a:extLst>
                  <a:ext uri="{FF2B5EF4-FFF2-40B4-BE49-F238E27FC236}">
                    <a16:creationId xmlns:a16="http://schemas.microsoft.com/office/drawing/2014/main" id="{BF980F22-BEF2-C107-762F-CA815A92C475}"/>
                  </a:ext>
                </a:extLst>
              </p:cNvPr>
              <p:cNvSpPr/>
              <p:nvPr/>
            </p:nvSpPr>
            <p:spPr>
              <a:xfrm>
                <a:off x="7081699"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388"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1"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GB" dirty="0"/>
              </a:p>
            </p:txBody>
          </p:sp>
          <p:sp>
            <p:nvSpPr>
              <p:cNvPr id="43" name="Freeform 43">
                <a:extLst>
                  <a:ext uri="{FF2B5EF4-FFF2-40B4-BE49-F238E27FC236}">
                    <a16:creationId xmlns:a16="http://schemas.microsoft.com/office/drawing/2014/main" id="{FF86A35C-1EC7-6521-A200-B8380194F4FC}"/>
                  </a:ext>
                </a:extLst>
              </p:cNvPr>
              <p:cNvSpPr/>
              <p:nvPr/>
            </p:nvSpPr>
            <p:spPr>
              <a:xfrm>
                <a:off x="7220394" y="3904773"/>
                <a:ext cx="74813" cy="79533"/>
              </a:xfrm>
              <a:custGeom>
                <a:avLst/>
                <a:gdLst>
                  <a:gd name="connsiteX0" fmla="*/ 0 w 74813"/>
                  <a:gd name="connsiteY0" fmla="*/ 56198 h 79533"/>
                  <a:gd name="connsiteX1" fmla="*/ 28804 w 74813"/>
                  <a:gd name="connsiteY1" fmla="*/ 35243 h 79533"/>
                  <a:gd name="connsiteX2" fmla="*/ 57322 w 74813"/>
                  <a:gd name="connsiteY2" fmla="*/ 35243 h 79533"/>
                  <a:gd name="connsiteX3" fmla="*/ 57322 w 74813"/>
                  <a:gd name="connsiteY3" fmla="*/ 29813 h 79533"/>
                  <a:gd name="connsiteX4" fmla="*/ 37074 w 74813"/>
                  <a:gd name="connsiteY4" fmla="*/ 13145 h 79533"/>
                  <a:gd name="connsiteX5" fmla="*/ 18537 w 74813"/>
                  <a:gd name="connsiteY5" fmla="*/ 26289 h 79533"/>
                  <a:gd name="connsiteX6" fmla="*/ 18727 w 74813"/>
                  <a:gd name="connsiteY6" fmla="*/ 29242 h 79533"/>
                  <a:gd name="connsiteX7" fmla="*/ 2662 w 74813"/>
                  <a:gd name="connsiteY7" fmla="*/ 29242 h 79533"/>
                  <a:gd name="connsiteX8" fmla="*/ 2377 w 74813"/>
                  <a:gd name="connsiteY8" fmla="*/ 24670 h 79533"/>
                  <a:gd name="connsiteX9" fmla="*/ 37740 w 74813"/>
                  <a:gd name="connsiteY9" fmla="*/ 0 h 79533"/>
                  <a:gd name="connsiteX10" fmla="*/ 74814 w 74813"/>
                  <a:gd name="connsiteY10" fmla="*/ 31337 h 79533"/>
                  <a:gd name="connsiteX11" fmla="*/ 74814 w 74813"/>
                  <a:gd name="connsiteY11" fmla="*/ 78296 h 79533"/>
                  <a:gd name="connsiteX12" fmla="*/ 57322 w 74813"/>
                  <a:gd name="connsiteY12" fmla="*/ 78296 h 79533"/>
                  <a:gd name="connsiteX13" fmla="*/ 58083 w 74813"/>
                  <a:gd name="connsiteY13" fmla="*/ 61246 h 79533"/>
                  <a:gd name="connsiteX14" fmla="*/ 57893 w 74813"/>
                  <a:gd name="connsiteY14" fmla="*/ 61246 h 79533"/>
                  <a:gd name="connsiteX15" fmla="*/ 29279 w 74813"/>
                  <a:gd name="connsiteY15" fmla="*/ 79534 h 79533"/>
                  <a:gd name="connsiteX16" fmla="*/ 0 w 74813"/>
                  <a:gd name="connsiteY16" fmla="*/ 56102 h 79533"/>
                  <a:gd name="connsiteX17" fmla="*/ 57322 w 74813"/>
                  <a:gd name="connsiteY17" fmla="*/ 47339 h 79533"/>
                  <a:gd name="connsiteX18" fmla="*/ 57322 w 74813"/>
                  <a:gd name="connsiteY18" fmla="*/ 45910 h 79533"/>
                  <a:gd name="connsiteX19" fmla="*/ 30420 w 74813"/>
                  <a:gd name="connsiteY19" fmla="*/ 45910 h 79533"/>
                  <a:gd name="connsiteX20" fmla="*/ 16066 w 74813"/>
                  <a:gd name="connsiteY20" fmla="*/ 55435 h 79533"/>
                  <a:gd name="connsiteX21" fmla="*/ 32891 w 74813"/>
                  <a:gd name="connsiteY21" fmla="*/ 66485 h 79533"/>
                  <a:gd name="connsiteX22" fmla="*/ 57322 w 74813"/>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813" h="79533">
                    <a:moveTo>
                      <a:pt x="0" y="56198"/>
                    </a:moveTo>
                    <a:cubicBezTo>
                      <a:pt x="0" y="44482"/>
                      <a:pt x="8270" y="35243"/>
                      <a:pt x="28804" y="35243"/>
                    </a:cubicBezTo>
                    <a:lnTo>
                      <a:pt x="57322" y="35243"/>
                    </a:lnTo>
                    <a:lnTo>
                      <a:pt x="57322" y="29813"/>
                    </a:lnTo>
                    <a:cubicBezTo>
                      <a:pt x="57322" y="18288"/>
                      <a:pt x="50668" y="13145"/>
                      <a:pt x="37074" y="13145"/>
                    </a:cubicBezTo>
                    <a:cubicBezTo>
                      <a:pt x="25287" y="13145"/>
                      <a:pt x="18537" y="17717"/>
                      <a:pt x="18537" y="26289"/>
                    </a:cubicBezTo>
                    <a:cubicBezTo>
                      <a:pt x="18537" y="26765"/>
                      <a:pt x="18537" y="28004"/>
                      <a:pt x="18727" y="29242"/>
                    </a:cubicBezTo>
                    <a:lnTo>
                      <a:pt x="2662" y="29242"/>
                    </a:lnTo>
                    <a:cubicBezTo>
                      <a:pt x="2472" y="28099"/>
                      <a:pt x="2377" y="26099"/>
                      <a:pt x="2377" y="24670"/>
                    </a:cubicBezTo>
                    <a:cubicBezTo>
                      <a:pt x="2377" y="9239"/>
                      <a:pt x="15780" y="0"/>
                      <a:pt x="37740" y="0"/>
                    </a:cubicBezTo>
                    <a:cubicBezTo>
                      <a:pt x="61125" y="0"/>
                      <a:pt x="74814" y="11049"/>
                      <a:pt x="74814" y="31337"/>
                    </a:cubicBezTo>
                    <a:lnTo>
                      <a:pt x="74814" y="78296"/>
                    </a:lnTo>
                    <a:lnTo>
                      <a:pt x="57322" y="78296"/>
                    </a:lnTo>
                    <a:cubicBezTo>
                      <a:pt x="57608" y="74581"/>
                      <a:pt x="58083" y="67532"/>
                      <a:pt x="58083" y="61246"/>
                    </a:cubicBezTo>
                    <a:lnTo>
                      <a:pt x="57893" y="61246"/>
                    </a:lnTo>
                    <a:cubicBezTo>
                      <a:pt x="55421" y="72676"/>
                      <a:pt x="46200" y="79534"/>
                      <a:pt x="29279" y="79534"/>
                    </a:cubicBezTo>
                    <a:cubicBezTo>
                      <a:pt x="12358" y="79534"/>
                      <a:pt x="0" y="71152"/>
                      <a:pt x="0" y="56102"/>
                    </a:cubicBezTo>
                    <a:close/>
                    <a:moveTo>
                      <a:pt x="57322" y="47339"/>
                    </a:moveTo>
                    <a:lnTo>
                      <a:pt x="57322" y="45910"/>
                    </a:lnTo>
                    <a:lnTo>
                      <a:pt x="30420" y="45910"/>
                    </a:lnTo>
                    <a:cubicBezTo>
                      <a:pt x="20438" y="45910"/>
                      <a:pt x="16066" y="49340"/>
                      <a:pt x="16066" y="55435"/>
                    </a:cubicBezTo>
                    <a:cubicBezTo>
                      <a:pt x="16066" y="62484"/>
                      <a:pt x="22340" y="66485"/>
                      <a:pt x="32891" y="66485"/>
                    </a:cubicBezTo>
                    <a:cubicBezTo>
                      <a:pt x="48006" y="66485"/>
                      <a:pt x="57322" y="59150"/>
                      <a:pt x="57322" y="47244"/>
                    </a:cubicBezTo>
                    <a:close/>
                  </a:path>
                </a:pathLst>
              </a:custGeom>
              <a:grpFill/>
              <a:ln w="9497" cap="flat">
                <a:noFill/>
                <a:prstDash val="solid"/>
                <a:miter/>
              </a:ln>
            </p:spPr>
            <p:txBody>
              <a:bodyPr rtlCol="0" anchor="ctr"/>
              <a:lstStyle/>
              <a:p>
                <a:endParaRPr lang="en-GB" dirty="0"/>
              </a:p>
            </p:txBody>
          </p:sp>
          <p:sp>
            <p:nvSpPr>
              <p:cNvPr id="44" name="Freeform 44">
                <a:extLst>
                  <a:ext uri="{FF2B5EF4-FFF2-40B4-BE49-F238E27FC236}">
                    <a16:creationId xmlns:a16="http://schemas.microsoft.com/office/drawing/2014/main" id="{ED713FE6-5C94-CA15-6308-8885DB331322}"/>
                  </a:ext>
                </a:extLst>
              </p:cNvPr>
              <p:cNvSpPr/>
              <p:nvPr/>
            </p:nvSpPr>
            <p:spPr>
              <a:xfrm>
                <a:off x="7311844" y="3904773"/>
                <a:ext cx="70251" cy="78295"/>
              </a:xfrm>
              <a:custGeom>
                <a:avLst/>
                <a:gdLst>
                  <a:gd name="connsiteX0" fmla="*/ 0 w 70251"/>
                  <a:gd name="connsiteY0" fmla="*/ 1238 h 78295"/>
                  <a:gd name="connsiteX1" fmla="*/ 17491 w 70251"/>
                  <a:gd name="connsiteY1" fmla="*/ 1238 h 78295"/>
                  <a:gd name="connsiteX2" fmla="*/ 16826 w 70251"/>
                  <a:gd name="connsiteY2" fmla="*/ 23432 h 78295"/>
                  <a:gd name="connsiteX3" fmla="*/ 17016 w 70251"/>
                  <a:gd name="connsiteY3" fmla="*/ 23432 h 78295"/>
                  <a:gd name="connsiteX4" fmla="*/ 44394 w 70251"/>
                  <a:gd name="connsiteY4" fmla="*/ 0 h 78295"/>
                  <a:gd name="connsiteX5" fmla="*/ 70251 w 70251"/>
                  <a:gd name="connsiteY5" fmla="*/ 30099 h 78295"/>
                  <a:gd name="connsiteX6" fmla="*/ 69490 w 70251"/>
                  <a:gd name="connsiteY6" fmla="*/ 44482 h 78295"/>
                  <a:gd name="connsiteX7" fmla="*/ 53615 w 70251"/>
                  <a:gd name="connsiteY7" fmla="*/ 44482 h 78295"/>
                  <a:gd name="connsiteX8" fmla="*/ 54280 w 70251"/>
                  <a:gd name="connsiteY8" fmla="*/ 34004 h 78295"/>
                  <a:gd name="connsiteX9" fmla="*/ 39071 w 70251"/>
                  <a:gd name="connsiteY9" fmla="*/ 14954 h 78295"/>
                  <a:gd name="connsiteX10" fmla="*/ 17587 w 70251"/>
                  <a:gd name="connsiteY10" fmla="*/ 44577 h 78295"/>
                  <a:gd name="connsiteX11" fmla="*/ 17587 w 70251"/>
                  <a:gd name="connsiteY11" fmla="*/ 78296 h 78295"/>
                  <a:gd name="connsiteX12" fmla="*/ 95 w 70251"/>
                  <a:gd name="connsiteY12" fmla="*/ 78296 h 78295"/>
                  <a:gd name="connsiteX13" fmla="*/ 95 w 70251"/>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1" h="78295">
                    <a:moveTo>
                      <a:pt x="0" y="1238"/>
                    </a:moveTo>
                    <a:lnTo>
                      <a:pt x="17491" y="1238"/>
                    </a:lnTo>
                    <a:lnTo>
                      <a:pt x="16826" y="23432"/>
                    </a:lnTo>
                    <a:lnTo>
                      <a:pt x="17016" y="23432"/>
                    </a:lnTo>
                    <a:cubicBezTo>
                      <a:pt x="20629"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9071" y="14954"/>
                    </a:cubicBezTo>
                    <a:cubicBezTo>
                      <a:pt x="25857" y="14954"/>
                      <a:pt x="17587" y="26194"/>
                      <a:pt x="17587" y="44577"/>
                    </a:cubicBezTo>
                    <a:lnTo>
                      <a:pt x="17587" y="78296"/>
                    </a:lnTo>
                    <a:lnTo>
                      <a:pt x="95" y="78296"/>
                    </a:lnTo>
                    <a:lnTo>
                      <a:pt x="95" y="1238"/>
                    </a:lnTo>
                    <a:close/>
                  </a:path>
                </a:pathLst>
              </a:custGeom>
              <a:grpFill/>
              <a:ln w="9497" cap="flat">
                <a:noFill/>
                <a:prstDash val="solid"/>
                <a:miter/>
              </a:ln>
            </p:spPr>
            <p:txBody>
              <a:bodyPr rtlCol="0" anchor="ctr"/>
              <a:lstStyle/>
              <a:p>
                <a:endParaRPr lang="en-GB" dirty="0"/>
              </a:p>
            </p:txBody>
          </p:sp>
          <p:sp>
            <p:nvSpPr>
              <p:cNvPr id="45" name="Freeform 45">
                <a:extLst>
                  <a:ext uri="{FF2B5EF4-FFF2-40B4-BE49-F238E27FC236}">
                    <a16:creationId xmlns:a16="http://schemas.microsoft.com/office/drawing/2014/main" id="{396D193E-6C8F-2448-7E48-88005E77CDFA}"/>
                  </a:ext>
                </a:extLst>
              </p:cNvPr>
              <p:cNvSpPr/>
              <p:nvPr/>
            </p:nvSpPr>
            <p:spPr>
              <a:xfrm>
                <a:off x="7397495" y="3874865"/>
                <a:ext cx="83749" cy="108204"/>
              </a:xfrm>
              <a:custGeom>
                <a:avLst/>
                <a:gdLst>
                  <a:gd name="connsiteX0" fmla="*/ 0 w 83749"/>
                  <a:gd name="connsiteY0" fmla="*/ 95 h 108204"/>
                  <a:gd name="connsiteX1" fmla="*/ 17491 w 83749"/>
                  <a:gd name="connsiteY1" fmla="*/ 95 h 108204"/>
                  <a:gd name="connsiteX2" fmla="*/ 17491 w 83749"/>
                  <a:gd name="connsiteY2" fmla="*/ 71533 h 108204"/>
                  <a:gd name="connsiteX3" fmla="*/ 17681 w 83749"/>
                  <a:gd name="connsiteY3" fmla="*/ 71533 h 108204"/>
                  <a:gd name="connsiteX4" fmla="*/ 59129 w 83749"/>
                  <a:gd name="connsiteY4" fmla="*/ 31147 h 108204"/>
                  <a:gd name="connsiteX5" fmla="*/ 81753 w 83749"/>
                  <a:gd name="connsiteY5" fmla="*/ 31147 h 108204"/>
                  <a:gd name="connsiteX6" fmla="*/ 45725 w 83749"/>
                  <a:gd name="connsiteY6" fmla="*/ 64675 h 108204"/>
                  <a:gd name="connsiteX7" fmla="*/ 83750 w 83749"/>
                  <a:gd name="connsiteY7" fmla="*/ 108204 h 108204"/>
                  <a:gd name="connsiteX8" fmla="*/ 60079 w 83749"/>
                  <a:gd name="connsiteY8" fmla="*/ 108204 h 108204"/>
                  <a:gd name="connsiteX9" fmla="*/ 32987 w 83749"/>
                  <a:gd name="connsiteY9" fmla="*/ 75724 h 108204"/>
                  <a:gd name="connsiteX10" fmla="*/ 17587 w 83749"/>
                  <a:gd name="connsiteY10" fmla="*/ 89916 h 108204"/>
                  <a:gd name="connsiteX11" fmla="*/ 17587 w 83749"/>
                  <a:gd name="connsiteY11" fmla="*/ 108204 h 108204"/>
                  <a:gd name="connsiteX12" fmla="*/ 95 w 83749"/>
                  <a:gd name="connsiteY12" fmla="*/ 108204 h 108204"/>
                  <a:gd name="connsiteX13" fmla="*/ 95 w 83749"/>
                  <a:gd name="connsiteY13" fmla="*/ 0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49" h="108204">
                    <a:moveTo>
                      <a:pt x="0" y="95"/>
                    </a:moveTo>
                    <a:lnTo>
                      <a:pt x="17491" y="95"/>
                    </a:lnTo>
                    <a:lnTo>
                      <a:pt x="17491" y="71533"/>
                    </a:lnTo>
                    <a:lnTo>
                      <a:pt x="17681" y="71533"/>
                    </a:lnTo>
                    <a:lnTo>
                      <a:pt x="59129" y="31147"/>
                    </a:lnTo>
                    <a:lnTo>
                      <a:pt x="81753" y="31147"/>
                    </a:lnTo>
                    <a:lnTo>
                      <a:pt x="45725" y="64675"/>
                    </a:lnTo>
                    <a:lnTo>
                      <a:pt x="83750" y="108204"/>
                    </a:lnTo>
                    <a:lnTo>
                      <a:pt x="60079" y="108204"/>
                    </a:lnTo>
                    <a:lnTo>
                      <a:pt x="32987" y="75724"/>
                    </a:lnTo>
                    <a:lnTo>
                      <a:pt x="17587" y="89916"/>
                    </a:lnTo>
                    <a:lnTo>
                      <a:pt x="17587" y="108204"/>
                    </a:lnTo>
                    <a:lnTo>
                      <a:pt x="95" y="108204"/>
                    </a:lnTo>
                    <a:lnTo>
                      <a:pt x="95" y="0"/>
                    </a:lnTo>
                    <a:close/>
                  </a:path>
                </a:pathLst>
              </a:custGeom>
              <a:grpFill/>
              <a:ln w="9497" cap="flat">
                <a:noFill/>
                <a:prstDash val="solid"/>
                <a:miter/>
              </a:ln>
            </p:spPr>
            <p:txBody>
              <a:bodyPr rtlCol="0" anchor="ctr"/>
              <a:lstStyle/>
              <a:p>
                <a:endParaRPr lang="en-GB" dirty="0"/>
              </a:p>
            </p:txBody>
          </p:sp>
          <p:sp>
            <p:nvSpPr>
              <p:cNvPr id="46" name="Freeform 46">
                <a:extLst>
                  <a:ext uri="{FF2B5EF4-FFF2-40B4-BE49-F238E27FC236}">
                    <a16:creationId xmlns:a16="http://schemas.microsoft.com/office/drawing/2014/main" id="{B1E30072-F36C-2CA2-A168-43A1B51BFCD6}"/>
                  </a:ext>
                </a:extLst>
              </p:cNvPr>
              <p:cNvSpPr/>
              <p:nvPr/>
            </p:nvSpPr>
            <p:spPr>
              <a:xfrm>
                <a:off x="7484762" y="3904868"/>
                <a:ext cx="75194" cy="79533"/>
              </a:xfrm>
              <a:custGeom>
                <a:avLst/>
                <a:gdLst>
                  <a:gd name="connsiteX0" fmla="*/ 75099 w 75194"/>
                  <a:gd name="connsiteY0" fmla="*/ 43148 h 79533"/>
                  <a:gd name="connsiteX1" fmla="*/ 17491 w 75194"/>
                  <a:gd name="connsiteY1" fmla="*/ 43148 h 79533"/>
                  <a:gd name="connsiteX2" fmla="*/ 39736 w 75194"/>
                  <a:gd name="connsiteY2" fmla="*/ 65913 h 79533"/>
                  <a:gd name="connsiteX3" fmla="*/ 59414 w 75194"/>
                  <a:gd name="connsiteY3" fmla="*/ 51911 h 79533"/>
                  <a:gd name="connsiteX4" fmla="*/ 75194 w 75194"/>
                  <a:gd name="connsiteY4" fmla="*/ 51911 h 79533"/>
                  <a:gd name="connsiteX5" fmla="*/ 39546 w 75194"/>
                  <a:gd name="connsiteY5" fmla="*/ 79534 h 79533"/>
                  <a:gd name="connsiteX6" fmla="*/ 0 w 75194"/>
                  <a:gd name="connsiteY6" fmla="*/ 40386 h 79533"/>
                  <a:gd name="connsiteX7" fmla="*/ 39546 w 75194"/>
                  <a:gd name="connsiteY7" fmla="*/ 0 h 79533"/>
                  <a:gd name="connsiteX8" fmla="*/ 75194 w 75194"/>
                  <a:gd name="connsiteY8" fmla="*/ 36957 h 79533"/>
                  <a:gd name="connsiteX9" fmla="*/ 75194 w 75194"/>
                  <a:gd name="connsiteY9" fmla="*/ 43244 h 79533"/>
                  <a:gd name="connsiteX10" fmla="*/ 59319 w 75194"/>
                  <a:gd name="connsiteY10" fmla="*/ 31433 h 79533"/>
                  <a:gd name="connsiteX11" fmla="*/ 39546 w 75194"/>
                  <a:gd name="connsiteY11" fmla="*/ 13525 h 79533"/>
                  <a:gd name="connsiteX12" fmla="*/ 17872 w 75194"/>
                  <a:gd name="connsiteY12" fmla="*/ 32575 h 79533"/>
                  <a:gd name="connsiteX13" fmla="*/ 59319 w 75194"/>
                  <a:gd name="connsiteY13" fmla="*/ 32575 h 79533"/>
                  <a:gd name="connsiteX14" fmla="*/ 59319 w 75194"/>
                  <a:gd name="connsiteY14" fmla="*/ 31528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194" h="79533">
                    <a:moveTo>
                      <a:pt x="75099" y="43148"/>
                    </a:moveTo>
                    <a:lnTo>
                      <a:pt x="17491" y="43148"/>
                    </a:lnTo>
                    <a:cubicBezTo>
                      <a:pt x="18442" y="58007"/>
                      <a:pt x="26712" y="65913"/>
                      <a:pt x="39736" y="65913"/>
                    </a:cubicBezTo>
                    <a:cubicBezTo>
                      <a:pt x="50953" y="65913"/>
                      <a:pt x="58558" y="60960"/>
                      <a:pt x="59414" y="51911"/>
                    </a:cubicBezTo>
                    <a:lnTo>
                      <a:pt x="75194" y="51911"/>
                    </a:lnTo>
                    <a:cubicBezTo>
                      <a:pt x="74529" y="69056"/>
                      <a:pt x="60555" y="79534"/>
                      <a:pt x="39546" y="79534"/>
                    </a:cubicBezTo>
                    <a:cubicBezTo>
                      <a:pt x="15210" y="79534"/>
                      <a:pt x="0" y="64579"/>
                      <a:pt x="0" y="40386"/>
                    </a:cubicBezTo>
                    <a:cubicBezTo>
                      <a:pt x="0" y="16193"/>
                      <a:pt x="15305" y="0"/>
                      <a:pt x="39546" y="0"/>
                    </a:cubicBezTo>
                    <a:cubicBezTo>
                      <a:pt x="61315" y="0"/>
                      <a:pt x="75194" y="12954"/>
                      <a:pt x="75194" y="36957"/>
                    </a:cubicBezTo>
                    <a:lnTo>
                      <a:pt x="75194" y="43244"/>
                    </a:lnTo>
                    <a:close/>
                    <a:moveTo>
                      <a:pt x="59319" y="31433"/>
                    </a:moveTo>
                    <a:cubicBezTo>
                      <a:pt x="59319" y="19907"/>
                      <a:pt x="52189" y="13525"/>
                      <a:pt x="39546" y="13525"/>
                    </a:cubicBezTo>
                    <a:cubicBezTo>
                      <a:pt x="26903" y="13525"/>
                      <a:pt x="19963" y="19812"/>
                      <a:pt x="17872" y="32575"/>
                    </a:cubicBezTo>
                    <a:lnTo>
                      <a:pt x="59319" y="32575"/>
                    </a:lnTo>
                    <a:lnTo>
                      <a:pt x="59319" y="31528"/>
                    </a:lnTo>
                    <a:close/>
                  </a:path>
                </a:pathLst>
              </a:custGeom>
              <a:grpFill/>
              <a:ln w="9497" cap="flat">
                <a:noFill/>
                <a:prstDash val="solid"/>
                <a:miter/>
              </a:ln>
            </p:spPr>
            <p:txBody>
              <a:bodyPr rtlCol="0" anchor="ctr"/>
              <a:lstStyle/>
              <a:p>
                <a:endParaRPr lang="en-GB" dirty="0"/>
              </a:p>
            </p:txBody>
          </p:sp>
          <p:sp>
            <p:nvSpPr>
              <p:cNvPr id="47" name="Freeform 47">
                <a:extLst>
                  <a:ext uri="{FF2B5EF4-FFF2-40B4-BE49-F238E27FC236}">
                    <a16:creationId xmlns:a16="http://schemas.microsoft.com/office/drawing/2014/main" id="{ACC99569-9FCD-1358-8102-2F2C02DE4B28}"/>
                  </a:ext>
                </a:extLst>
              </p:cNvPr>
              <p:cNvSpPr/>
              <p:nvPr/>
            </p:nvSpPr>
            <p:spPr>
              <a:xfrm>
                <a:off x="7567751"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1"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GB" dirty="0"/>
              </a:p>
            </p:txBody>
          </p:sp>
          <p:sp>
            <p:nvSpPr>
              <p:cNvPr id="48" name="Freeform 48">
                <a:extLst>
                  <a:ext uri="{FF2B5EF4-FFF2-40B4-BE49-F238E27FC236}">
                    <a16:creationId xmlns:a16="http://schemas.microsoft.com/office/drawing/2014/main" id="{F41BE927-9566-EFCA-3150-C1B848E20E3F}"/>
                  </a:ext>
                </a:extLst>
              </p:cNvPr>
              <p:cNvSpPr/>
              <p:nvPr/>
            </p:nvSpPr>
            <p:spPr>
              <a:xfrm>
                <a:off x="763334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3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2"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0"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3" y="79629"/>
                    </a:cubicBezTo>
                    <a:cubicBezTo>
                      <a:pt x="9601" y="79629"/>
                      <a:pt x="95" y="67723"/>
                      <a:pt x="95" y="52673"/>
                    </a:cubicBezTo>
                    <a:close/>
                  </a:path>
                </a:pathLst>
              </a:custGeom>
              <a:grpFill/>
              <a:ln w="9497"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3114069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iterate type="lt">
                                    <p:tmPct val="10000"/>
                                  </p:iterate>
                                  <p:childTnLst>
                                    <p:set>
                                      <p:cBhvr>
                                        <p:cTn id="6" dur="1" fill="hold">
                                          <p:stCondLst>
                                            <p:cond delay="0"/>
                                          </p:stCondLst>
                                        </p:cTn>
                                        <p:tgtEl>
                                          <p:spTgt spid="15">
                                            <p:txEl>
                                              <p:pRg st="0" end="0"/>
                                            </p:txEl>
                                          </p:spTgt>
                                        </p:tgtEl>
                                        <p:attrNameLst>
                                          <p:attrName>style.visibility</p:attrName>
                                        </p:attrNameLst>
                                      </p:cBhvr>
                                      <p:to>
                                        <p:strVal val="visible"/>
                                      </p:to>
                                    </p:set>
                                    <p:anim calcmode="lin" valueType="num">
                                      <p:cBhvr>
                                        <p:cTn id="7" dur="400" fill="hold"/>
                                        <p:tgtEl>
                                          <p:spTgt spid="15">
                                            <p:txEl>
                                              <p:pRg st="0" end="0"/>
                                            </p:txEl>
                                          </p:spTgt>
                                        </p:tgtEl>
                                        <p:attrNameLst>
                                          <p:attrName>ppt_w</p:attrName>
                                        </p:attrNameLst>
                                      </p:cBhvr>
                                      <p:tavLst>
                                        <p:tav tm="0">
                                          <p:val>
                                            <p:strVal val="#ppt_w*0.70"/>
                                          </p:val>
                                        </p:tav>
                                        <p:tav tm="100000">
                                          <p:val>
                                            <p:strVal val="#ppt_w"/>
                                          </p:val>
                                        </p:tav>
                                      </p:tavLst>
                                    </p:anim>
                                    <p:anim calcmode="lin" valueType="num">
                                      <p:cBhvr>
                                        <p:cTn id="8" dur="400" fill="hold"/>
                                        <p:tgtEl>
                                          <p:spTgt spid="15">
                                            <p:txEl>
                                              <p:pRg st="0" end="0"/>
                                            </p:txEl>
                                          </p:spTgt>
                                        </p:tgtEl>
                                        <p:attrNameLst>
                                          <p:attrName>ppt_h</p:attrName>
                                        </p:attrNameLst>
                                      </p:cBhvr>
                                      <p:tavLst>
                                        <p:tav tm="0">
                                          <p:val>
                                            <p:strVal val="#ppt_h"/>
                                          </p:val>
                                        </p:tav>
                                        <p:tav tm="100000">
                                          <p:val>
                                            <p:strVal val="#ppt_h"/>
                                          </p:val>
                                        </p:tav>
                                      </p:tavLst>
                                    </p:anim>
                                    <p:animEffect transition="in" filter="fade">
                                      <p:cBhvr>
                                        <p:cTn id="9" dur="400"/>
                                        <p:tgtEl>
                                          <p:spTgt spid="15">
                                            <p:txEl>
                                              <p:pRg st="0" end="0"/>
                                            </p:txEl>
                                          </p:spTgt>
                                        </p:tgtEl>
                                      </p:cBhvr>
                                    </p:animEffect>
                                  </p:childTnLst>
                                </p:cTn>
                              </p:par>
                              <p:par>
                                <p:cTn id="10" presetID="10" presetClass="entr" presetSubtype="0" fill="hold" grpId="0" nodeType="withEffect">
                                  <p:stCondLst>
                                    <p:cond delay="1250"/>
                                  </p:stCondLst>
                                  <p:childTnLst>
                                    <p:set>
                                      <p:cBhvr>
                                        <p:cTn id="11" dur="1" fill="hold">
                                          <p:stCondLst>
                                            <p:cond delay="0"/>
                                          </p:stCondLst>
                                        </p:cTn>
                                        <p:tgtEl>
                                          <p:spTgt spid="16">
                                            <p:txEl>
                                              <p:pRg st="0" end="0"/>
                                            </p:txEl>
                                          </p:spTgt>
                                        </p:tgtEl>
                                        <p:attrNameLst>
                                          <p:attrName>style.visibility</p:attrName>
                                        </p:attrNameLst>
                                      </p:cBhvr>
                                      <p:to>
                                        <p:strVal val="visible"/>
                                      </p:to>
                                    </p:set>
                                    <p:animEffect transition="in" filter="fade">
                                      <p:cBhvr>
                                        <p:cTn id="12" dur="750"/>
                                        <p:tgtEl>
                                          <p:spTgt spid="16">
                                            <p:txEl>
                                              <p:pRg st="0" end="0"/>
                                            </p:txEl>
                                          </p:spTgt>
                                        </p:tgtEl>
                                      </p:cBhvr>
                                    </p:animEffect>
                                  </p:childTnLst>
                                </p:cTn>
                              </p:par>
                              <p:par>
                                <p:cTn id="13" presetID="2" presetClass="entr" presetSubtype="4" decel="100000" fill="hold" nodeType="withEffect">
                                  <p:stCondLst>
                                    <p:cond delay="15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ppt_x"/>
                                          </p:val>
                                        </p:tav>
                                        <p:tav tm="100000">
                                          <p:val>
                                            <p:strVal val="#ppt_x"/>
                                          </p:val>
                                        </p:tav>
                                      </p:tavLst>
                                    </p:anim>
                                    <p:anim calcmode="lin" valueType="num">
                                      <p:cBhvr additive="base">
                                        <p:cTn id="16"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6" grpId="0" build="p"/>
    </p:bldLst>
  </p:timing>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ent Left Image Large (Whit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C5D49E83-70FE-84E4-DD12-A0A8300EC04B}"/>
              </a:ext>
            </a:extLst>
          </p:cNvPr>
          <p:cNvSpPr>
            <a:spLocks noGrp="1"/>
          </p:cNvSpPr>
          <p:nvPr>
            <p:ph type="pic" sz="quarter" idx="19"/>
          </p:nvPr>
        </p:nvSpPr>
        <p:spPr>
          <a:xfrm>
            <a:off x="0" y="-1"/>
            <a:ext cx="5681120" cy="6860681"/>
          </a:xfrm>
          <a:custGeom>
            <a:avLst/>
            <a:gdLst>
              <a:gd name="connsiteX0" fmla="*/ 2401045 w 5681120"/>
              <a:gd name="connsiteY0" fmla="*/ 1 h 6860681"/>
              <a:gd name="connsiteX1" fmla="*/ 2801249 w 5681120"/>
              <a:gd name="connsiteY1" fmla="*/ 180595 h 6860681"/>
              <a:gd name="connsiteX2" fmla="*/ 4670917 w 5681120"/>
              <a:gd name="connsiteY2" fmla="*/ 2390776 h 6860681"/>
              <a:gd name="connsiteX3" fmla="*/ 4588491 w 5681120"/>
              <a:gd name="connsiteY3" fmla="*/ 5293107 h 6860681"/>
              <a:gd name="connsiteX4" fmla="*/ 3262051 w 5681120"/>
              <a:gd name="connsiteY4" fmla="*/ 6858001 h 6860681"/>
              <a:gd name="connsiteX5" fmla="*/ 3618408 w 5681120"/>
              <a:gd name="connsiteY5" fmla="*/ 6858001 h 6860681"/>
              <a:gd name="connsiteX6" fmla="*/ 5269351 w 5681120"/>
              <a:gd name="connsiteY6" fmla="*/ 3013902 h 6860681"/>
              <a:gd name="connsiteX7" fmla="*/ 3373222 w 5681120"/>
              <a:gd name="connsiteY7" fmla="*/ 154751 h 6860681"/>
              <a:gd name="connsiteX8" fmla="*/ 3087362 w 5681120"/>
              <a:gd name="connsiteY8" fmla="*/ 1 h 6860681"/>
              <a:gd name="connsiteX9" fmla="*/ 0 w 5681120"/>
              <a:gd name="connsiteY9" fmla="*/ 0 h 6860681"/>
              <a:gd name="connsiteX10" fmla="*/ 3888685 w 5681120"/>
              <a:gd name="connsiteY10" fmla="*/ 0 h 6860681"/>
              <a:gd name="connsiteX11" fmla="*/ 5437733 w 5681120"/>
              <a:gd name="connsiteY11" fmla="*/ 5161393 h 6860681"/>
              <a:gd name="connsiteX12" fmla="*/ 4096079 w 5681120"/>
              <a:gd name="connsiteY12" fmla="*/ 6860681 h 6860681"/>
              <a:gd name="connsiteX13" fmla="*/ 0 w 5681120"/>
              <a:gd name="connsiteY13" fmla="*/ 6860681 h 686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1120" h="6860681">
                <a:moveTo>
                  <a:pt x="2401045" y="1"/>
                </a:moveTo>
                <a:cubicBezTo>
                  <a:pt x="2536900" y="51563"/>
                  <a:pt x="2670470" y="111761"/>
                  <a:pt x="2801249" y="180595"/>
                </a:cubicBezTo>
                <a:cubicBezTo>
                  <a:pt x="3667521" y="635700"/>
                  <a:pt x="4330932" y="1420941"/>
                  <a:pt x="4670917" y="2390776"/>
                </a:cubicBezTo>
                <a:cubicBezTo>
                  <a:pt x="5011728" y="3362644"/>
                  <a:pt x="4982476" y="4393376"/>
                  <a:pt x="4588491" y="5293107"/>
                </a:cubicBezTo>
                <a:cubicBezTo>
                  <a:pt x="4303646" y="5943665"/>
                  <a:pt x="3845002" y="6480621"/>
                  <a:pt x="3262051" y="6858001"/>
                </a:cubicBezTo>
                <a:lnTo>
                  <a:pt x="3618408" y="6858001"/>
                </a:lnTo>
                <a:cubicBezTo>
                  <a:pt x="4810199" y="6005133"/>
                  <a:pt x="5490171" y="4511613"/>
                  <a:pt x="5269351" y="3013902"/>
                </a:cubicBezTo>
                <a:cubicBezTo>
                  <a:pt x="5097201" y="1810831"/>
                  <a:pt x="4406061" y="768669"/>
                  <a:pt x="3373222" y="154751"/>
                </a:cubicBezTo>
                <a:cubicBezTo>
                  <a:pt x="3279501" y="99125"/>
                  <a:pt x="3184129" y="47499"/>
                  <a:pt x="3087362" y="1"/>
                </a:cubicBezTo>
                <a:close/>
                <a:moveTo>
                  <a:pt x="0" y="0"/>
                </a:moveTo>
                <a:lnTo>
                  <a:pt x="3888685" y="0"/>
                </a:lnTo>
                <a:cubicBezTo>
                  <a:pt x="5541875" y="1030183"/>
                  <a:pt x="6033690" y="3349918"/>
                  <a:pt x="5437733" y="5161393"/>
                </a:cubicBezTo>
                <a:cubicBezTo>
                  <a:pt x="5188744" y="5932457"/>
                  <a:pt x="4704167" y="6494906"/>
                  <a:pt x="4096079" y="6860681"/>
                </a:cubicBezTo>
                <a:cubicBezTo>
                  <a:pt x="4096079" y="6860681"/>
                  <a:pt x="0" y="6860681"/>
                  <a:pt x="0" y="6860681"/>
                </a:cubicBezTo>
                <a:close/>
              </a:path>
            </a:pathLst>
          </a:custGeom>
        </p:spPr>
        <p:txBody>
          <a:bodyPr wrap="square" anchor="ctr">
            <a:noAutofit/>
          </a:bodyPr>
          <a:lstStyle>
            <a:lvl1pPr marL="0" indent="0" algn="ctr">
              <a:buNone/>
              <a:defRPr>
                <a:solidFill>
                  <a:srgbClr val="00625F"/>
                </a:solidFill>
              </a:defRPr>
            </a:lvl1pPr>
          </a:lstStyle>
          <a:p>
            <a:r>
              <a:rPr lang="en-US" dirty="0"/>
              <a:t>Click icon to add picture</a:t>
            </a:r>
          </a:p>
        </p:txBody>
      </p:sp>
      <p:sp>
        <p:nvSpPr>
          <p:cNvPr id="23" name="Text Placeholder 11">
            <a:extLst>
              <a:ext uri="{FF2B5EF4-FFF2-40B4-BE49-F238E27FC236}">
                <a16:creationId xmlns:a16="http://schemas.microsoft.com/office/drawing/2014/main" id="{0A4BC4EF-459A-7845-F619-515A9AFC49DB}"/>
              </a:ext>
            </a:extLst>
          </p:cNvPr>
          <p:cNvSpPr>
            <a:spLocks noGrp="1"/>
          </p:cNvSpPr>
          <p:nvPr>
            <p:ph type="body" sz="quarter" idx="17" hasCustomPrompt="1"/>
          </p:nvPr>
        </p:nvSpPr>
        <p:spPr>
          <a:xfrm>
            <a:off x="6421940" y="2842349"/>
            <a:ext cx="5111249" cy="2963140"/>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2" name="Text Placeholder 11">
            <a:extLst>
              <a:ext uri="{FF2B5EF4-FFF2-40B4-BE49-F238E27FC236}">
                <a16:creationId xmlns:a16="http://schemas.microsoft.com/office/drawing/2014/main" id="{1B2E71AF-560B-8492-C46B-152A4A3B96DE}"/>
              </a:ext>
            </a:extLst>
          </p:cNvPr>
          <p:cNvSpPr>
            <a:spLocks noGrp="1"/>
          </p:cNvSpPr>
          <p:nvPr>
            <p:ph type="body" sz="quarter" idx="18" hasCustomPrompt="1"/>
          </p:nvPr>
        </p:nvSpPr>
        <p:spPr>
          <a:xfrm>
            <a:off x="6419850" y="549275"/>
            <a:ext cx="5111249" cy="2100573"/>
          </a:xfrm>
          <a:prstGeom prst="rect">
            <a:avLst/>
          </a:prstGeom>
        </p:spPr>
        <p:txBody>
          <a:bodyPr anchor="b" anchorCtr="0">
            <a:noAutofit/>
          </a:bodyPr>
          <a:lstStyle>
            <a:lvl1pPr marL="0" indent="0">
              <a:lnSpc>
                <a:spcPct val="90000"/>
              </a:lnSpc>
              <a:buNone/>
              <a:defRPr sz="4000" b="1">
                <a:solidFill>
                  <a:srgbClr val="00625F"/>
                </a:solidFill>
              </a:defRPr>
            </a:lvl1pPr>
          </a:lstStyle>
          <a:p>
            <a:pPr lvl="0"/>
            <a:r>
              <a:rPr lang="en-GB" dirty="0"/>
              <a:t>A captivating headline</a:t>
            </a:r>
          </a:p>
        </p:txBody>
      </p:sp>
      <p:sp>
        <p:nvSpPr>
          <p:cNvPr id="2" name="Slide Number Placeholder 1">
            <a:extLst>
              <a:ext uri="{FF2B5EF4-FFF2-40B4-BE49-F238E27FC236}">
                <a16:creationId xmlns:a16="http://schemas.microsoft.com/office/drawing/2014/main" id="{878DEAD0-851B-701E-F00F-E5C521AB6691}"/>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5" name="Graphic 8">
            <a:extLst>
              <a:ext uri="{FF2B5EF4-FFF2-40B4-BE49-F238E27FC236}">
                <a16:creationId xmlns:a16="http://schemas.microsoft.com/office/drawing/2014/main" id="{6090EEAA-C762-8742-6743-DFD85CA10FA8}"/>
              </a:ext>
            </a:extLst>
          </p:cNvPr>
          <p:cNvSpPr>
            <a:spLocks noChangeAspect="1"/>
          </p:cNvSpPr>
          <p:nvPr userDrawn="1"/>
        </p:nvSpPr>
        <p:spPr>
          <a:xfrm flipH="1">
            <a:off x="2401046"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GB" dirty="0"/>
          </a:p>
        </p:txBody>
      </p:sp>
    </p:spTree>
    <p:extLst>
      <p:ext uri="{BB962C8B-B14F-4D97-AF65-F5344CB8AC3E}">
        <p14:creationId xmlns:p14="http://schemas.microsoft.com/office/powerpoint/2010/main" val="417239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Right Image Small (Whit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2" y="1215747"/>
            <a:ext cx="6287898" cy="1423941"/>
          </a:xfrm>
          <a:prstGeom prst="rect">
            <a:avLst/>
          </a:prstGeom>
        </p:spPr>
        <p:txBody>
          <a:bodyPr anchor="b" anchorCtr="0">
            <a:noAutofit/>
          </a:bodyPr>
          <a:lstStyle>
            <a:lvl1pPr marL="0" indent="0">
              <a:lnSpc>
                <a:spcPct val="90000"/>
              </a:lnSpc>
              <a:buNone/>
              <a:defRPr sz="4000" b="1">
                <a:solidFill>
                  <a:srgbClr val="00625F"/>
                </a:solidFill>
                <a:latin typeface="+mj-lt"/>
              </a:defRPr>
            </a:lvl1pPr>
          </a:lstStyle>
          <a:p>
            <a:pPr lvl="0"/>
            <a:r>
              <a:rPr lang="en-GB" dirty="0"/>
              <a:t>A captivating headline</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2" y="2832189"/>
            <a:ext cx="6287898" cy="2973300"/>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5" name="Tijdelijke aanduiding voor afbeelding 34">
            <a:extLst>
              <a:ext uri="{FF2B5EF4-FFF2-40B4-BE49-F238E27FC236}">
                <a16:creationId xmlns:a16="http://schemas.microsoft.com/office/drawing/2014/main" id="{95FC1EC2-34E3-70FB-8D7C-6205177F20A7}"/>
              </a:ext>
            </a:extLst>
          </p:cNvPr>
          <p:cNvSpPr>
            <a:spLocks noGrp="1"/>
          </p:cNvSpPr>
          <p:nvPr>
            <p:ph type="pic" sz="quarter" idx="18"/>
          </p:nvPr>
        </p:nvSpPr>
        <p:spPr>
          <a:xfrm>
            <a:off x="8237251" y="0"/>
            <a:ext cx="3965635" cy="6138000"/>
          </a:xfrm>
          <a:custGeom>
            <a:avLst/>
            <a:gdLst>
              <a:gd name="connsiteX0" fmla="*/ 1792436 w 3965635"/>
              <a:gd name="connsiteY0" fmla="*/ 0 h 6138000"/>
              <a:gd name="connsiteX1" fmla="*/ 3965635 w 3965635"/>
              <a:gd name="connsiteY1" fmla="*/ 0 h 6138000"/>
              <a:gd name="connsiteX2" fmla="*/ 3965635 w 3965635"/>
              <a:gd name="connsiteY2" fmla="*/ 6138000 h 6138000"/>
              <a:gd name="connsiteX3" fmla="*/ 761193 w 3965635"/>
              <a:gd name="connsiteY3" fmla="*/ 6138000 h 6138000"/>
              <a:gd name="connsiteX4" fmla="*/ 616979 w 3965635"/>
              <a:gd name="connsiteY4" fmla="*/ 5941461 h 6138000"/>
              <a:gd name="connsiteX5" fmla="*/ 243389 w 3965635"/>
              <a:gd name="connsiteY5" fmla="*/ 5161393 h 6138000"/>
              <a:gd name="connsiteX6" fmla="*/ 1792436 w 3965635"/>
              <a:gd name="connsiteY6" fmla="*/ 0 h 613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635" h="6138000">
                <a:moveTo>
                  <a:pt x="1792436" y="0"/>
                </a:moveTo>
                <a:lnTo>
                  <a:pt x="3965635" y="0"/>
                </a:lnTo>
                <a:lnTo>
                  <a:pt x="3965635" y="6138000"/>
                </a:lnTo>
                <a:lnTo>
                  <a:pt x="761193" y="6138000"/>
                </a:lnTo>
                <a:lnTo>
                  <a:pt x="616979" y="5941461"/>
                </a:lnTo>
                <a:cubicBezTo>
                  <a:pt x="463260" y="5710355"/>
                  <a:pt x="336760" y="5450543"/>
                  <a:pt x="243389" y="5161393"/>
                </a:cubicBezTo>
                <a:cubicBezTo>
                  <a:pt x="-352570" y="3349919"/>
                  <a:pt x="139246" y="1030182"/>
                  <a:pt x="1792436" y="0"/>
                </a:cubicBezTo>
                <a:close/>
              </a:path>
            </a:pathLst>
          </a:custGeom>
        </p:spPr>
        <p:txBody>
          <a:bodyPr wrap="square" anchor="ctr">
            <a:noAutofit/>
          </a:bodyPr>
          <a:lstStyle>
            <a:lvl1pPr marL="0" indent="0" algn="ctr">
              <a:buNone/>
              <a:defRPr>
                <a:solidFill>
                  <a:srgbClr val="00625F"/>
                </a:solidFill>
              </a:defRPr>
            </a:lvl1pPr>
          </a:lstStyle>
          <a:p>
            <a:r>
              <a:rPr lang="en-GB" dirty="0"/>
              <a:t>Click icon to add picture</a:t>
            </a:r>
          </a:p>
        </p:txBody>
      </p:sp>
      <p:sp>
        <p:nvSpPr>
          <p:cNvPr id="3" name="Graphic 8">
            <a:extLst>
              <a:ext uri="{FF2B5EF4-FFF2-40B4-BE49-F238E27FC236}">
                <a16:creationId xmlns:a16="http://schemas.microsoft.com/office/drawing/2014/main" id="{13C6ED88-473F-97CE-5D8A-37949B6269B5}"/>
              </a:ext>
            </a:extLst>
          </p:cNvPr>
          <p:cNvSpPr>
            <a:spLocks noChangeAspect="1"/>
          </p:cNvSpPr>
          <p:nvPr userDrawn="1"/>
        </p:nvSpPr>
        <p:spPr>
          <a:xfrm>
            <a:off x="7594021" y="0"/>
            <a:ext cx="1926945" cy="6459038"/>
          </a:xfrm>
          <a:custGeom>
            <a:avLst/>
            <a:gdLst>
              <a:gd name="connsiteX0" fmla="*/ 1215570 w 1926945"/>
              <a:gd name="connsiteY0" fmla="*/ 0 h 6459038"/>
              <a:gd name="connsiteX1" fmla="*/ 396914 w 1926945"/>
              <a:gd name="connsiteY1" fmla="*/ 5502156 h 6459038"/>
              <a:gd name="connsiteX2" fmla="*/ 420148 w 1926945"/>
              <a:gd name="connsiteY2" fmla="*/ 5558753 h 6459038"/>
              <a:gd name="connsiteX3" fmla="*/ 432155 w 1926945"/>
              <a:gd name="connsiteY3" fmla="*/ 5587377 h 6459038"/>
              <a:gd name="connsiteX4" fmla="*/ 440203 w 1926945"/>
              <a:gd name="connsiteY4" fmla="*/ 5596875 h 6459038"/>
              <a:gd name="connsiteX5" fmla="*/ 492837 w 1926945"/>
              <a:gd name="connsiteY5" fmla="*/ 5633436 h 6459038"/>
              <a:gd name="connsiteX6" fmla="*/ 525742 w 1926945"/>
              <a:gd name="connsiteY6" fmla="*/ 5640331 h 6459038"/>
              <a:gd name="connsiteX7" fmla="*/ 610242 w 1926945"/>
              <a:gd name="connsiteY7" fmla="*/ 5611577 h 6459038"/>
              <a:gd name="connsiteX8" fmla="*/ 639318 w 1926945"/>
              <a:gd name="connsiteY8" fmla="*/ 5481404 h 6459038"/>
              <a:gd name="connsiteX9" fmla="*/ 767042 w 1926945"/>
              <a:gd name="connsiteY9" fmla="*/ 1582249 h 6459038"/>
              <a:gd name="connsiteX10" fmla="*/ 1926945 w 1926945"/>
              <a:gd name="connsiteY10" fmla="*/ 0 h 6459038"/>
              <a:gd name="connsiteX11" fmla="*/ 1215570 w 1926945"/>
              <a:gd name="connsiteY11" fmla="*/ 0 h 6459038"/>
              <a:gd name="connsiteX12" fmla="*/ 1095504 w 1926945"/>
              <a:gd name="connsiteY12" fmla="*/ 6179501 h 6459038"/>
              <a:gd name="connsiteX13" fmla="*/ 732969 w 1926945"/>
              <a:gd name="connsiteY13" fmla="*/ 5966123 h 6459038"/>
              <a:gd name="connsiteX14" fmla="*/ 789433 w 1926945"/>
              <a:gd name="connsiteY14" fmla="*/ 6327759 h 6459038"/>
              <a:gd name="connsiteX15" fmla="*/ 1082524 w 1926945"/>
              <a:gd name="connsiteY15" fmla="*/ 6428073 h 6459038"/>
              <a:gd name="connsiteX16" fmla="*/ 1095504 w 1926945"/>
              <a:gd name="connsiteY16" fmla="*/ 6179501 h 645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6945" h="6459038">
                <a:moveTo>
                  <a:pt x="1215570" y="0"/>
                </a:moveTo>
                <a:cubicBezTo>
                  <a:pt x="2189" y="1519862"/>
                  <a:pt x="-364305" y="3650388"/>
                  <a:pt x="396914" y="5502156"/>
                </a:cubicBezTo>
                <a:cubicBezTo>
                  <a:pt x="404443" y="5521087"/>
                  <a:pt x="412295" y="5539888"/>
                  <a:pt x="420148" y="5558753"/>
                </a:cubicBezTo>
                <a:lnTo>
                  <a:pt x="432155" y="5587377"/>
                </a:lnTo>
                <a:lnTo>
                  <a:pt x="440203" y="5596875"/>
                </a:lnTo>
                <a:cubicBezTo>
                  <a:pt x="454351" y="5613594"/>
                  <a:pt x="472653" y="5626150"/>
                  <a:pt x="492837" y="5633436"/>
                </a:cubicBezTo>
                <a:cubicBezTo>
                  <a:pt x="503351" y="5637274"/>
                  <a:pt x="514449" y="5639615"/>
                  <a:pt x="525742" y="5640331"/>
                </a:cubicBezTo>
                <a:cubicBezTo>
                  <a:pt x="556959" y="5642413"/>
                  <a:pt x="587722" y="5631939"/>
                  <a:pt x="610242" y="5611577"/>
                </a:cubicBezTo>
                <a:cubicBezTo>
                  <a:pt x="645029" y="5579961"/>
                  <a:pt x="656711" y="5529674"/>
                  <a:pt x="639318" y="5481404"/>
                </a:cubicBezTo>
                <a:cubicBezTo>
                  <a:pt x="139194" y="4198730"/>
                  <a:pt x="184559" y="2814051"/>
                  <a:pt x="767042" y="1582249"/>
                </a:cubicBezTo>
                <a:cubicBezTo>
                  <a:pt x="1049489" y="985051"/>
                  <a:pt x="1443695" y="450566"/>
                  <a:pt x="1926945" y="0"/>
                </a:cubicBezTo>
                <a:lnTo>
                  <a:pt x="1215570" y="0"/>
                </a:lnTo>
                <a:close/>
                <a:moveTo>
                  <a:pt x="1095504" y="6179501"/>
                </a:moveTo>
                <a:cubicBezTo>
                  <a:pt x="1037093" y="6109372"/>
                  <a:pt x="782878" y="5942443"/>
                  <a:pt x="732969" y="5966123"/>
                </a:cubicBezTo>
                <a:cubicBezTo>
                  <a:pt x="682996" y="5989737"/>
                  <a:pt x="723688" y="6212483"/>
                  <a:pt x="789433" y="6327759"/>
                </a:cubicBezTo>
                <a:cubicBezTo>
                  <a:pt x="834733" y="6407125"/>
                  <a:pt x="984199" y="6512058"/>
                  <a:pt x="1082524" y="6428073"/>
                </a:cubicBezTo>
                <a:cubicBezTo>
                  <a:pt x="1180848" y="6344153"/>
                  <a:pt x="1153914" y="6249694"/>
                  <a:pt x="1095504" y="6179501"/>
                </a:cubicBezTo>
                <a:close/>
              </a:path>
            </a:pathLst>
          </a:custGeom>
          <a:solidFill>
            <a:srgbClr val="47D985"/>
          </a:solidFill>
          <a:ln w="6478" cap="flat">
            <a:noFill/>
            <a:prstDash val="solid"/>
            <a:miter/>
          </a:ln>
        </p:spPr>
        <p:txBody>
          <a:bodyPr rtlCol="0" anchor="ctr"/>
          <a:lstStyle/>
          <a:p>
            <a:endParaRPr lang="en-GB" dirty="0"/>
          </a:p>
        </p:txBody>
      </p:sp>
      <p:sp>
        <p:nvSpPr>
          <p:cNvPr id="4" name="Graphic 2">
            <a:extLst>
              <a:ext uri="{FF2B5EF4-FFF2-40B4-BE49-F238E27FC236}">
                <a16:creationId xmlns:a16="http://schemas.microsoft.com/office/drawing/2014/main" id="{CDE21E4B-1432-D9A7-53E4-85842A5E0091}"/>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GB" dirty="0"/>
          </a:p>
        </p:txBody>
      </p:sp>
      <p:sp>
        <p:nvSpPr>
          <p:cNvPr id="6" name="Slide Number Placeholder 5">
            <a:extLst>
              <a:ext uri="{FF2B5EF4-FFF2-40B4-BE49-F238E27FC236}">
                <a16:creationId xmlns:a16="http://schemas.microsoft.com/office/drawing/2014/main" id="{01FC714D-3F96-E9D9-973F-82CD884B32D3}"/>
              </a:ext>
            </a:extLst>
          </p:cNvPr>
          <p:cNvSpPr>
            <a:spLocks noGrp="1"/>
          </p:cNvSpPr>
          <p:nvPr>
            <p:ph type="sldNum" sz="quarter" idx="19"/>
          </p:nvPr>
        </p:nvSpPr>
        <p:spPr/>
        <p:txBody>
          <a:bodyPr/>
          <a:lstStyle/>
          <a:p>
            <a:fld id="{0994303E-A424-9540-91A8-53B791C91E8F}" type="slidenum">
              <a:rPr lang="en-GB" smtClean="0"/>
              <a:pPr/>
              <a:t>‹#›</a:t>
            </a:fld>
            <a:endParaRPr lang="en-GB" dirty="0"/>
          </a:p>
        </p:txBody>
      </p:sp>
      <p:sp>
        <p:nvSpPr>
          <p:cNvPr id="7" name="Vrije vorm: vorm 6">
            <a:extLst>
              <a:ext uri="{FF2B5EF4-FFF2-40B4-BE49-F238E27FC236}">
                <a16:creationId xmlns:a16="http://schemas.microsoft.com/office/drawing/2014/main" id="{C4F83D16-54F9-6BEB-952E-032DD139E295}"/>
              </a:ext>
            </a:extLst>
          </p:cNvPr>
          <p:cNvSpPr>
            <a:spLocks noGrp="1"/>
          </p:cNvSpPr>
          <p:nvPr>
            <p:ph type="pic" sz="quarter" idx="20"/>
          </p:nvPr>
        </p:nvSpPr>
        <p:spPr>
          <a:xfrm>
            <a:off x="8220761" y="0"/>
            <a:ext cx="3982125" cy="6860682"/>
          </a:xfrm>
          <a:custGeom>
            <a:avLst/>
            <a:gdLst>
              <a:gd name="connsiteX0" fmla="*/ 1792436 w 3982125"/>
              <a:gd name="connsiteY0" fmla="*/ 0 h 6860682"/>
              <a:gd name="connsiteX1" fmla="*/ 3982125 w 3982125"/>
              <a:gd name="connsiteY1" fmla="*/ 0 h 6860682"/>
              <a:gd name="connsiteX2" fmla="*/ 3982125 w 3982125"/>
              <a:gd name="connsiteY2" fmla="*/ 6860682 h 6860682"/>
              <a:gd name="connsiteX3" fmla="*/ 1585041 w 3982125"/>
              <a:gd name="connsiteY3" fmla="*/ 6860682 h 6860682"/>
              <a:gd name="connsiteX4" fmla="*/ 243389 w 3982125"/>
              <a:gd name="connsiteY4" fmla="*/ 5161393 h 6860682"/>
              <a:gd name="connsiteX5" fmla="*/ 1792436 w 3982125"/>
              <a:gd name="connsiteY5" fmla="*/ 0 h 686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2125" h="6860682">
                <a:moveTo>
                  <a:pt x="1792436" y="0"/>
                </a:moveTo>
                <a:lnTo>
                  <a:pt x="3982125" y="0"/>
                </a:lnTo>
                <a:lnTo>
                  <a:pt x="3982125" y="6860682"/>
                </a:lnTo>
                <a:lnTo>
                  <a:pt x="1585041" y="6860682"/>
                </a:lnTo>
                <a:cubicBezTo>
                  <a:pt x="976954" y="6494907"/>
                  <a:pt x="492377" y="5932458"/>
                  <a:pt x="243389" y="5161393"/>
                </a:cubicBezTo>
                <a:cubicBezTo>
                  <a:pt x="-352570" y="3349919"/>
                  <a:pt x="139246" y="1030182"/>
                  <a:pt x="1792436" y="0"/>
                </a:cubicBezTo>
                <a:close/>
              </a:path>
            </a:pathLst>
          </a:custGeom>
          <a:ln>
            <a:noFill/>
          </a:ln>
        </p:spPr>
        <p:txBody>
          <a:bodyPr wrap="square" anchor="ctr">
            <a:noAutofit/>
          </a:bodyPr>
          <a:lstStyle>
            <a:lvl1pPr marL="0" indent="0" algn="ctr">
              <a:buNone/>
              <a:defRPr>
                <a:solidFill>
                  <a:srgbClr val="00625F"/>
                </a:solidFill>
              </a:defRPr>
            </a:lvl1pPr>
          </a:lstStyle>
          <a:p>
            <a:r>
              <a:rPr lang="en-US" dirty="0"/>
              <a:t>Click icon to add picture</a:t>
            </a:r>
          </a:p>
        </p:txBody>
      </p:sp>
    </p:spTree>
    <p:extLst>
      <p:ext uri="{BB962C8B-B14F-4D97-AF65-F5344CB8AC3E}">
        <p14:creationId xmlns:p14="http://schemas.microsoft.com/office/powerpoint/2010/main" val="3789237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 Right Image (Whit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3" y="1215747"/>
            <a:ext cx="4769384" cy="1423941"/>
          </a:xfrm>
          <a:prstGeom prst="rect">
            <a:avLst/>
          </a:prstGeom>
        </p:spPr>
        <p:txBody>
          <a:bodyPr anchor="b" anchorCtr="0">
            <a:noAutofit/>
          </a:bodyPr>
          <a:lstStyle>
            <a:lvl1pPr marL="0" indent="0">
              <a:lnSpc>
                <a:spcPct val="90000"/>
              </a:lnSpc>
              <a:buNone/>
              <a:defRPr sz="4000" b="1">
                <a:solidFill>
                  <a:srgbClr val="00625F"/>
                </a:solidFill>
                <a:latin typeface="+mj-lt"/>
              </a:defRPr>
            </a:lvl1pPr>
          </a:lstStyle>
          <a:p>
            <a:pPr lvl="0"/>
            <a:r>
              <a:rPr lang="en-GB" dirty="0"/>
              <a:t>A captivating headline</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3" y="2832189"/>
            <a:ext cx="4769384" cy="2973300"/>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 name="Graphic 8">
            <a:extLst>
              <a:ext uri="{FF2B5EF4-FFF2-40B4-BE49-F238E27FC236}">
                <a16:creationId xmlns:a16="http://schemas.microsoft.com/office/drawing/2014/main" id="{13C6ED88-473F-97CE-5D8A-37949B6269B5}"/>
              </a:ext>
            </a:extLst>
          </p:cNvPr>
          <p:cNvSpPr>
            <a:spLocks noChangeAspect="1"/>
          </p:cNvSpPr>
          <p:nvPr userDrawn="1"/>
        </p:nvSpPr>
        <p:spPr>
          <a:xfrm>
            <a:off x="6229995" y="0"/>
            <a:ext cx="1926945" cy="6459038"/>
          </a:xfrm>
          <a:custGeom>
            <a:avLst/>
            <a:gdLst>
              <a:gd name="connsiteX0" fmla="*/ 1215570 w 1926945"/>
              <a:gd name="connsiteY0" fmla="*/ 0 h 6459038"/>
              <a:gd name="connsiteX1" fmla="*/ 396914 w 1926945"/>
              <a:gd name="connsiteY1" fmla="*/ 5502156 h 6459038"/>
              <a:gd name="connsiteX2" fmla="*/ 420148 w 1926945"/>
              <a:gd name="connsiteY2" fmla="*/ 5558753 h 6459038"/>
              <a:gd name="connsiteX3" fmla="*/ 432155 w 1926945"/>
              <a:gd name="connsiteY3" fmla="*/ 5587377 h 6459038"/>
              <a:gd name="connsiteX4" fmla="*/ 440203 w 1926945"/>
              <a:gd name="connsiteY4" fmla="*/ 5596875 h 6459038"/>
              <a:gd name="connsiteX5" fmla="*/ 492837 w 1926945"/>
              <a:gd name="connsiteY5" fmla="*/ 5633436 h 6459038"/>
              <a:gd name="connsiteX6" fmla="*/ 525742 w 1926945"/>
              <a:gd name="connsiteY6" fmla="*/ 5640331 h 6459038"/>
              <a:gd name="connsiteX7" fmla="*/ 610242 w 1926945"/>
              <a:gd name="connsiteY7" fmla="*/ 5611577 h 6459038"/>
              <a:gd name="connsiteX8" fmla="*/ 639318 w 1926945"/>
              <a:gd name="connsiteY8" fmla="*/ 5481404 h 6459038"/>
              <a:gd name="connsiteX9" fmla="*/ 767042 w 1926945"/>
              <a:gd name="connsiteY9" fmla="*/ 1582249 h 6459038"/>
              <a:gd name="connsiteX10" fmla="*/ 1926945 w 1926945"/>
              <a:gd name="connsiteY10" fmla="*/ 0 h 6459038"/>
              <a:gd name="connsiteX11" fmla="*/ 1215570 w 1926945"/>
              <a:gd name="connsiteY11" fmla="*/ 0 h 6459038"/>
              <a:gd name="connsiteX12" fmla="*/ 1095504 w 1926945"/>
              <a:gd name="connsiteY12" fmla="*/ 6179501 h 6459038"/>
              <a:gd name="connsiteX13" fmla="*/ 732969 w 1926945"/>
              <a:gd name="connsiteY13" fmla="*/ 5966123 h 6459038"/>
              <a:gd name="connsiteX14" fmla="*/ 789433 w 1926945"/>
              <a:gd name="connsiteY14" fmla="*/ 6327759 h 6459038"/>
              <a:gd name="connsiteX15" fmla="*/ 1082524 w 1926945"/>
              <a:gd name="connsiteY15" fmla="*/ 6428073 h 6459038"/>
              <a:gd name="connsiteX16" fmla="*/ 1095504 w 1926945"/>
              <a:gd name="connsiteY16" fmla="*/ 6179501 h 645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6945" h="6459038">
                <a:moveTo>
                  <a:pt x="1215570" y="0"/>
                </a:moveTo>
                <a:cubicBezTo>
                  <a:pt x="2189" y="1519862"/>
                  <a:pt x="-364305" y="3650388"/>
                  <a:pt x="396914" y="5502156"/>
                </a:cubicBezTo>
                <a:cubicBezTo>
                  <a:pt x="404443" y="5521087"/>
                  <a:pt x="412295" y="5539888"/>
                  <a:pt x="420148" y="5558753"/>
                </a:cubicBezTo>
                <a:lnTo>
                  <a:pt x="432155" y="5587377"/>
                </a:lnTo>
                <a:lnTo>
                  <a:pt x="440203" y="5596875"/>
                </a:lnTo>
                <a:cubicBezTo>
                  <a:pt x="454351" y="5613594"/>
                  <a:pt x="472653" y="5626150"/>
                  <a:pt x="492837" y="5633436"/>
                </a:cubicBezTo>
                <a:cubicBezTo>
                  <a:pt x="503351" y="5637274"/>
                  <a:pt x="514449" y="5639615"/>
                  <a:pt x="525742" y="5640331"/>
                </a:cubicBezTo>
                <a:cubicBezTo>
                  <a:pt x="556959" y="5642413"/>
                  <a:pt x="587722" y="5631939"/>
                  <a:pt x="610242" y="5611577"/>
                </a:cubicBezTo>
                <a:cubicBezTo>
                  <a:pt x="645029" y="5579961"/>
                  <a:pt x="656711" y="5529674"/>
                  <a:pt x="639318" y="5481404"/>
                </a:cubicBezTo>
                <a:cubicBezTo>
                  <a:pt x="139194" y="4198730"/>
                  <a:pt x="184559" y="2814051"/>
                  <a:pt x="767042" y="1582249"/>
                </a:cubicBezTo>
                <a:cubicBezTo>
                  <a:pt x="1049489" y="985051"/>
                  <a:pt x="1443695" y="450566"/>
                  <a:pt x="1926945" y="0"/>
                </a:cubicBezTo>
                <a:lnTo>
                  <a:pt x="1215570" y="0"/>
                </a:lnTo>
                <a:close/>
                <a:moveTo>
                  <a:pt x="1095504" y="6179501"/>
                </a:moveTo>
                <a:cubicBezTo>
                  <a:pt x="1037093" y="6109372"/>
                  <a:pt x="782878" y="5942443"/>
                  <a:pt x="732969" y="5966123"/>
                </a:cubicBezTo>
                <a:cubicBezTo>
                  <a:pt x="682996" y="5989737"/>
                  <a:pt x="723688" y="6212483"/>
                  <a:pt x="789433" y="6327759"/>
                </a:cubicBezTo>
                <a:cubicBezTo>
                  <a:pt x="834733" y="6407125"/>
                  <a:pt x="984199" y="6512058"/>
                  <a:pt x="1082524" y="6428073"/>
                </a:cubicBezTo>
                <a:cubicBezTo>
                  <a:pt x="1180848" y="6344153"/>
                  <a:pt x="1153914" y="6249694"/>
                  <a:pt x="1095504" y="6179501"/>
                </a:cubicBezTo>
                <a:close/>
              </a:path>
            </a:pathLst>
          </a:custGeom>
          <a:solidFill>
            <a:srgbClr val="47D985"/>
          </a:solidFill>
          <a:ln w="6478" cap="flat">
            <a:noFill/>
            <a:prstDash val="solid"/>
            <a:miter/>
          </a:ln>
        </p:spPr>
        <p:txBody>
          <a:bodyPr rtlCol="0" anchor="ctr"/>
          <a:lstStyle/>
          <a:p>
            <a:endParaRPr lang="en-GB" dirty="0"/>
          </a:p>
        </p:txBody>
      </p:sp>
      <p:sp>
        <p:nvSpPr>
          <p:cNvPr id="4" name="Graphic 2">
            <a:extLst>
              <a:ext uri="{FF2B5EF4-FFF2-40B4-BE49-F238E27FC236}">
                <a16:creationId xmlns:a16="http://schemas.microsoft.com/office/drawing/2014/main" id="{CDE21E4B-1432-D9A7-53E4-85842A5E0091}"/>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GB" dirty="0"/>
          </a:p>
        </p:txBody>
      </p:sp>
      <p:sp>
        <p:nvSpPr>
          <p:cNvPr id="6" name="Slide Number Placeholder 5">
            <a:extLst>
              <a:ext uri="{FF2B5EF4-FFF2-40B4-BE49-F238E27FC236}">
                <a16:creationId xmlns:a16="http://schemas.microsoft.com/office/drawing/2014/main" id="{01FC714D-3F96-E9D9-973F-82CD884B32D3}"/>
              </a:ext>
            </a:extLst>
          </p:cNvPr>
          <p:cNvSpPr>
            <a:spLocks noGrp="1"/>
          </p:cNvSpPr>
          <p:nvPr>
            <p:ph type="sldNum" sz="quarter" idx="19"/>
          </p:nvPr>
        </p:nvSpPr>
        <p:spPr/>
        <p:txBody>
          <a:bodyPr/>
          <a:lstStyle/>
          <a:p>
            <a:fld id="{0994303E-A424-9540-91A8-53B791C91E8F}" type="slidenum">
              <a:rPr lang="en-GB" smtClean="0"/>
              <a:pPr/>
              <a:t>‹#›</a:t>
            </a:fld>
            <a:endParaRPr lang="en-GB" dirty="0"/>
          </a:p>
        </p:txBody>
      </p:sp>
      <p:sp>
        <p:nvSpPr>
          <p:cNvPr id="2" name="Picture Placeholder 1">
            <a:extLst>
              <a:ext uri="{FF2B5EF4-FFF2-40B4-BE49-F238E27FC236}">
                <a16:creationId xmlns:a16="http://schemas.microsoft.com/office/drawing/2014/main" id="{4ABC17F7-377B-665A-95C9-E5869A89AFAA}"/>
              </a:ext>
            </a:extLst>
          </p:cNvPr>
          <p:cNvSpPr>
            <a:spLocks noGrp="1"/>
          </p:cNvSpPr>
          <p:nvPr>
            <p:ph type="pic" sz="quarter" idx="18"/>
          </p:nvPr>
        </p:nvSpPr>
        <p:spPr>
          <a:xfrm>
            <a:off x="6873225" y="0"/>
            <a:ext cx="5318775" cy="6860682"/>
          </a:xfrm>
          <a:custGeom>
            <a:avLst/>
            <a:gdLst>
              <a:gd name="connsiteX0" fmla="*/ 1792436 w 5318775"/>
              <a:gd name="connsiteY0" fmla="*/ 0 h 6860682"/>
              <a:gd name="connsiteX1" fmla="*/ 5318775 w 5318775"/>
              <a:gd name="connsiteY1" fmla="*/ 0 h 6860682"/>
              <a:gd name="connsiteX2" fmla="*/ 5318775 w 5318775"/>
              <a:gd name="connsiteY2" fmla="*/ 6860682 h 6860682"/>
              <a:gd name="connsiteX3" fmla="*/ 1585041 w 5318775"/>
              <a:gd name="connsiteY3" fmla="*/ 6860682 h 6860682"/>
              <a:gd name="connsiteX4" fmla="*/ 243389 w 5318775"/>
              <a:gd name="connsiteY4" fmla="*/ 5161393 h 6860682"/>
              <a:gd name="connsiteX5" fmla="*/ 1792436 w 5318775"/>
              <a:gd name="connsiteY5" fmla="*/ 0 h 686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8775" h="6860682">
                <a:moveTo>
                  <a:pt x="1792436" y="0"/>
                </a:moveTo>
                <a:lnTo>
                  <a:pt x="5318775" y="0"/>
                </a:lnTo>
                <a:lnTo>
                  <a:pt x="5318775" y="6860682"/>
                </a:lnTo>
                <a:lnTo>
                  <a:pt x="1585041" y="6860682"/>
                </a:lnTo>
                <a:cubicBezTo>
                  <a:pt x="976954" y="6494907"/>
                  <a:pt x="492377" y="5932458"/>
                  <a:pt x="243389" y="5161393"/>
                </a:cubicBezTo>
                <a:cubicBezTo>
                  <a:pt x="-352570" y="3349919"/>
                  <a:pt x="139246" y="1030182"/>
                  <a:pt x="1792436" y="0"/>
                </a:cubicBezTo>
                <a:close/>
              </a:path>
            </a:pathLst>
          </a:custGeom>
        </p:spPr>
        <p:txBody>
          <a:bodyPr wrap="square" anchor="ctr">
            <a:noAutofit/>
          </a:bodyPr>
          <a:lstStyle>
            <a:lvl1pPr marL="0" indent="0" algn="ctr">
              <a:buNone/>
              <a:defRPr>
                <a:solidFill>
                  <a:srgbClr val="00625F"/>
                </a:solidFill>
              </a:defRPr>
            </a:lvl1pPr>
          </a:lstStyle>
          <a:p>
            <a:r>
              <a:rPr lang="en-US" dirty="0"/>
              <a:t>Click icon to add picture</a:t>
            </a:r>
          </a:p>
        </p:txBody>
      </p:sp>
    </p:spTree>
    <p:extLst>
      <p:ext uri="{BB962C8B-B14F-4D97-AF65-F5344CB8AC3E}">
        <p14:creationId xmlns:p14="http://schemas.microsoft.com/office/powerpoint/2010/main" val="145343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 Basic, Large Header (White)">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658813" y="549276"/>
            <a:ext cx="6456691" cy="2188454"/>
          </a:xfrm>
          <a:prstGeom prst="rect">
            <a:avLst/>
          </a:prstGeom>
        </p:spPr>
        <p:txBody>
          <a:bodyPr anchor="b" anchorCtr="0">
            <a:normAutofit/>
          </a:bodyPr>
          <a:lstStyle>
            <a:lvl1pPr marL="0" indent="0">
              <a:lnSpc>
                <a:spcPct val="90000"/>
              </a:lnSpc>
              <a:spcBef>
                <a:spcPts val="0"/>
              </a:spcBef>
              <a:buNone/>
              <a:defRPr sz="6500" b="1">
                <a:solidFill>
                  <a:srgbClr val="00625F"/>
                </a:solidFill>
                <a:latin typeface="+mj-lt"/>
              </a:defRPr>
            </a:lvl1pPr>
          </a:lstStyle>
          <a:p>
            <a:pPr lvl="0"/>
            <a:r>
              <a:rPr lang="en-GB" dirty="0"/>
              <a:t>A captivating headline</a:t>
            </a:r>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658813" y="3037011"/>
            <a:ext cx="5113337" cy="2768477"/>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 name="Slide Number Placeholder 2">
            <a:extLst>
              <a:ext uri="{FF2B5EF4-FFF2-40B4-BE49-F238E27FC236}">
                <a16:creationId xmlns:a16="http://schemas.microsoft.com/office/drawing/2014/main" id="{16651DB9-E107-103C-3FC4-E329566CD2DF}"/>
              </a:ext>
            </a:extLst>
          </p:cNvPr>
          <p:cNvSpPr>
            <a:spLocks noGrp="1"/>
          </p:cNvSpPr>
          <p:nvPr>
            <p:ph type="sldNum" sz="quarter" idx="18"/>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3117374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 Pebble Image (Whit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2" y="551655"/>
            <a:ext cx="5113337" cy="2067714"/>
          </a:xfrm>
          <a:prstGeom prst="rect">
            <a:avLst/>
          </a:prstGeom>
        </p:spPr>
        <p:txBody>
          <a:bodyPr anchor="b" anchorCtr="0">
            <a:noAutofit/>
          </a:bodyPr>
          <a:lstStyle>
            <a:lvl1pPr marL="0" indent="0">
              <a:lnSpc>
                <a:spcPct val="90000"/>
              </a:lnSpc>
              <a:spcBef>
                <a:spcPts val="0"/>
              </a:spcBef>
              <a:buNone/>
              <a:defRPr sz="4000" b="1">
                <a:solidFill>
                  <a:schemeClr val="accent2"/>
                </a:solidFill>
                <a:latin typeface="+mj-lt"/>
              </a:defRPr>
            </a:lvl1pPr>
          </a:lstStyle>
          <a:p>
            <a:pPr lvl="0"/>
            <a:r>
              <a:rPr lang="en-GB" dirty="0"/>
              <a:t>A captivating headline</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2" y="2811868"/>
            <a:ext cx="5113337" cy="2993620"/>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5" name="Picture Placeholder 4">
            <a:extLst>
              <a:ext uri="{FF2B5EF4-FFF2-40B4-BE49-F238E27FC236}">
                <a16:creationId xmlns:a16="http://schemas.microsoft.com/office/drawing/2014/main" id="{A6D049BA-8763-7863-E7E0-8A31A9438750}"/>
              </a:ext>
            </a:extLst>
          </p:cNvPr>
          <p:cNvSpPr>
            <a:spLocks noGrp="1"/>
          </p:cNvSpPr>
          <p:nvPr>
            <p:ph type="pic" sz="quarter" idx="18"/>
          </p:nvPr>
        </p:nvSpPr>
        <p:spPr>
          <a:xfrm>
            <a:off x="6413557" y="1016789"/>
            <a:ext cx="5129758" cy="4824422"/>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2400">
                <a:solidFill>
                  <a:srgbClr val="00625F"/>
                </a:solidFill>
              </a:defRPr>
            </a:lvl1pPr>
          </a:lstStyle>
          <a:p>
            <a:r>
              <a:rPr lang="en-GB" dirty="0"/>
              <a:t>Click icon to add picture</a:t>
            </a:r>
          </a:p>
        </p:txBody>
      </p:sp>
      <p:sp>
        <p:nvSpPr>
          <p:cNvPr id="7" name="Slide Number Placeholder 6">
            <a:extLst>
              <a:ext uri="{FF2B5EF4-FFF2-40B4-BE49-F238E27FC236}">
                <a16:creationId xmlns:a16="http://schemas.microsoft.com/office/drawing/2014/main" id="{B3AD07E9-07ED-4708-7265-73129262E63A}"/>
              </a:ext>
            </a:extLst>
          </p:cNvPr>
          <p:cNvSpPr>
            <a:spLocks noGrp="1"/>
          </p:cNvSpPr>
          <p:nvPr>
            <p:ph type="sldNum" sz="quarter" idx="19"/>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72613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Image List (Whit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3" y="3755424"/>
            <a:ext cx="3187973" cy="520092"/>
          </a:xfrm>
          <a:prstGeom prst="rect">
            <a:avLst/>
          </a:prstGeom>
        </p:spPr>
        <p:txBody>
          <a:bodyPr>
            <a:noAutofit/>
          </a:bodyPr>
          <a:lstStyle>
            <a:lvl1pPr marL="0" indent="0" algn="ctr">
              <a:spcBef>
                <a:spcPts val="0"/>
              </a:spcBef>
              <a:buNone/>
              <a:defRPr sz="2400" b="1">
                <a:solidFill>
                  <a:srgbClr val="47DA86"/>
                </a:solidFill>
                <a:latin typeface="+mj-lt"/>
              </a:defRPr>
            </a:lvl1pPr>
          </a:lstStyle>
          <a:p>
            <a:pPr lvl="0"/>
            <a:r>
              <a:rPr lang="en-GB" dirty="0"/>
              <a:t>Header 1</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3" y="4275517"/>
            <a:ext cx="3187973" cy="1529972"/>
          </a:xfrm>
          <a:prstGeom prst="rect">
            <a:avLst/>
          </a:prstGeom>
        </p:spPr>
        <p:txBody>
          <a:bodyPr>
            <a:noAutofit/>
          </a:bodyPr>
          <a:lstStyle>
            <a:lvl1pPr marL="0" indent="0" algn="ctr">
              <a:buNone/>
              <a:defRPr sz="12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p:txBody>
      </p:sp>
      <p:sp>
        <p:nvSpPr>
          <p:cNvPr id="13" name="Text Placeholder 11">
            <a:extLst>
              <a:ext uri="{FF2B5EF4-FFF2-40B4-BE49-F238E27FC236}">
                <a16:creationId xmlns:a16="http://schemas.microsoft.com/office/drawing/2014/main" id="{1C0119C8-1D9A-0DFA-77E1-D96E4EC70820}"/>
              </a:ext>
            </a:extLst>
          </p:cNvPr>
          <p:cNvSpPr>
            <a:spLocks noGrp="1"/>
          </p:cNvSpPr>
          <p:nvPr>
            <p:ph type="body" sz="quarter" idx="19" hasCustomPrompt="1"/>
          </p:nvPr>
        </p:nvSpPr>
        <p:spPr>
          <a:xfrm>
            <a:off x="4500345" y="4275517"/>
            <a:ext cx="3187973" cy="1529972"/>
          </a:xfrm>
          <a:prstGeom prst="rect">
            <a:avLst/>
          </a:prstGeom>
        </p:spPr>
        <p:txBody>
          <a:bodyPr>
            <a:noAutofit/>
          </a:bodyPr>
          <a:lstStyle>
            <a:lvl1pPr marL="0" indent="0" algn="ctr">
              <a:buNone/>
              <a:defRPr sz="12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p:txBody>
      </p:sp>
      <p:sp>
        <p:nvSpPr>
          <p:cNvPr id="14" name="Text Placeholder 11">
            <a:extLst>
              <a:ext uri="{FF2B5EF4-FFF2-40B4-BE49-F238E27FC236}">
                <a16:creationId xmlns:a16="http://schemas.microsoft.com/office/drawing/2014/main" id="{D2914D5C-66D1-2DD5-239D-D767E5AD9FB1}"/>
              </a:ext>
            </a:extLst>
          </p:cNvPr>
          <p:cNvSpPr>
            <a:spLocks noGrp="1"/>
          </p:cNvSpPr>
          <p:nvPr>
            <p:ph type="body" sz="quarter" idx="20" hasCustomPrompt="1"/>
          </p:nvPr>
        </p:nvSpPr>
        <p:spPr>
          <a:xfrm>
            <a:off x="8343546" y="4275517"/>
            <a:ext cx="3187973" cy="1529972"/>
          </a:xfrm>
          <a:prstGeom prst="rect">
            <a:avLst/>
          </a:prstGeom>
        </p:spPr>
        <p:txBody>
          <a:bodyPr>
            <a:noAutofit/>
          </a:bodyPr>
          <a:lstStyle>
            <a:lvl1pPr marL="0" indent="0" algn="ctr">
              <a:buNone/>
              <a:defRPr sz="12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p:txBody>
      </p:sp>
      <p:sp>
        <p:nvSpPr>
          <p:cNvPr id="18" name="Picture Placeholder 17">
            <a:extLst>
              <a:ext uri="{FF2B5EF4-FFF2-40B4-BE49-F238E27FC236}">
                <a16:creationId xmlns:a16="http://schemas.microsoft.com/office/drawing/2014/main" id="{680FA60A-84B6-E342-F780-1771576770FF}"/>
              </a:ext>
            </a:extLst>
          </p:cNvPr>
          <p:cNvSpPr>
            <a:spLocks noGrp="1"/>
          </p:cNvSpPr>
          <p:nvPr>
            <p:ph type="pic" sz="quarter" idx="22"/>
          </p:nvPr>
        </p:nvSpPr>
        <p:spPr>
          <a:xfrm>
            <a:off x="778386"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tx1"/>
                </a:solidFill>
              </a:defRPr>
            </a:lvl1pPr>
          </a:lstStyle>
          <a:p>
            <a:pPr marL="0" marR="0" lvl="0" indent="0" algn="ctr" defTabSz="914400" rtl="0" eaLnBrk="1" fontAlgn="auto" latinLnBrk="0" hangingPunct="1">
              <a:lnSpc>
                <a:spcPct val="100000"/>
              </a:lnSpc>
              <a:spcBef>
                <a:spcPts val="1000"/>
              </a:spcBef>
              <a:spcAft>
                <a:spcPts val="1000"/>
              </a:spcAft>
              <a:buClr>
                <a:srgbClr val="47DA86"/>
              </a:buClr>
              <a:buSzTx/>
              <a:buFont typeface="Arial" panose="020B0604020202020204" pitchFamily="34" charset="0"/>
              <a:buNone/>
              <a:tabLst/>
              <a:defRPr/>
            </a:pPr>
            <a:r>
              <a:rPr lang="en-GB" dirty="0"/>
              <a:t>Click icon to add picture</a:t>
            </a:r>
          </a:p>
        </p:txBody>
      </p:sp>
      <p:sp>
        <p:nvSpPr>
          <p:cNvPr id="19" name="Text Placeholder 11">
            <a:extLst>
              <a:ext uri="{FF2B5EF4-FFF2-40B4-BE49-F238E27FC236}">
                <a16:creationId xmlns:a16="http://schemas.microsoft.com/office/drawing/2014/main" id="{4CDAB5D0-7F86-EA91-AB9B-1A439E9373FC}"/>
              </a:ext>
            </a:extLst>
          </p:cNvPr>
          <p:cNvSpPr>
            <a:spLocks noGrp="1"/>
          </p:cNvSpPr>
          <p:nvPr>
            <p:ph type="body" sz="quarter" idx="23" hasCustomPrompt="1"/>
          </p:nvPr>
        </p:nvSpPr>
        <p:spPr>
          <a:xfrm>
            <a:off x="4500345" y="3755424"/>
            <a:ext cx="3187973" cy="520092"/>
          </a:xfrm>
          <a:prstGeom prst="rect">
            <a:avLst/>
          </a:prstGeom>
        </p:spPr>
        <p:txBody>
          <a:bodyPr>
            <a:noAutofit/>
          </a:bodyPr>
          <a:lstStyle>
            <a:lvl1pPr marL="0" indent="0" algn="ctr">
              <a:spcBef>
                <a:spcPts val="0"/>
              </a:spcBef>
              <a:buNone/>
              <a:defRPr sz="2400" b="1">
                <a:solidFill>
                  <a:srgbClr val="47DA86"/>
                </a:solidFill>
                <a:latin typeface="+mj-lt"/>
              </a:defRPr>
            </a:lvl1pPr>
          </a:lstStyle>
          <a:p>
            <a:pPr lvl="0"/>
            <a:r>
              <a:rPr lang="en-GB" dirty="0"/>
              <a:t>Header 2</a:t>
            </a:r>
          </a:p>
        </p:txBody>
      </p:sp>
      <p:sp>
        <p:nvSpPr>
          <p:cNvPr id="20" name="Text Placeholder 11">
            <a:extLst>
              <a:ext uri="{FF2B5EF4-FFF2-40B4-BE49-F238E27FC236}">
                <a16:creationId xmlns:a16="http://schemas.microsoft.com/office/drawing/2014/main" id="{7FC37118-FC7D-57FD-16B1-A498B8326CE2}"/>
              </a:ext>
            </a:extLst>
          </p:cNvPr>
          <p:cNvSpPr>
            <a:spLocks noGrp="1"/>
          </p:cNvSpPr>
          <p:nvPr>
            <p:ph type="body" sz="quarter" idx="24" hasCustomPrompt="1"/>
          </p:nvPr>
        </p:nvSpPr>
        <p:spPr>
          <a:xfrm>
            <a:off x="8343546" y="3755424"/>
            <a:ext cx="3187973" cy="520092"/>
          </a:xfrm>
          <a:prstGeom prst="rect">
            <a:avLst/>
          </a:prstGeom>
        </p:spPr>
        <p:txBody>
          <a:bodyPr>
            <a:noAutofit/>
          </a:bodyPr>
          <a:lstStyle>
            <a:lvl1pPr marL="0" indent="0" algn="ctr">
              <a:spcBef>
                <a:spcPts val="0"/>
              </a:spcBef>
              <a:buNone/>
              <a:defRPr sz="2400" b="1">
                <a:solidFill>
                  <a:srgbClr val="47DA86"/>
                </a:solidFill>
                <a:latin typeface="+mj-lt"/>
              </a:defRPr>
            </a:lvl1pPr>
          </a:lstStyle>
          <a:p>
            <a:pPr lvl="0"/>
            <a:r>
              <a:rPr lang="en-GB" dirty="0"/>
              <a:t>Header 3</a:t>
            </a:r>
          </a:p>
        </p:txBody>
      </p:sp>
      <p:sp>
        <p:nvSpPr>
          <p:cNvPr id="2" name="Picture Placeholder 17">
            <a:extLst>
              <a:ext uri="{FF2B5EF4-FFF2-40B4-BE49-F238E27FC236}">
                <a16:creationId xmlns:a16="http://schemas.microsoft.com/office/drawing/2014/main" id="{160CCCF0-FF52-334B-607F-3D23F714FF58}"/>
              </a:ext>
            </a:extLst>
          </p:cNvPr>
          <p:cNvSpPr>
            <a:spLocks noGrp="1"/>
          </p:cNvSpPr>
          <p:nvPr>
            <p:ph type="pic" sz="quarter" idx="25"/>
          </p:nvPr>
        </p:nvSpPr>
        <p:spPr>
          <a:xfrm>
            <a:off x="4620752"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tx1"/>
                </a:solidFill>
              </a:defRPr>
            </a:lvl1pPr>
          </a:lstStyle>
          <a:p>
            <a:pPr marL="0" marR="0" lvl="0" indent="0" algn="ctr" defTabSz="914400" rtl="0" eaLnBrk="1" fontAlgn="auto" latinLnBrk="0" hangingPunct="1">
              <a:lnSpc>
                <a:spcPct val="100000"/>
              </a:lnSpc>
              <a:spcBef>
                <a:spcPts val="1000"/>
              </a:spcBef>
              <a:spcAft>
                <a:spcPts val="1000"/>
              </a:spcAft>
              <a:buClr>
                <a:srgbClr val="47DA86"/>
              </a:buClr>
              <a:buSzTx/>
              <a:buFont typeface="Arial" panose="020B0604020202020204" pitchFamily="34" charset="0"/>
              <a:buNone/>
              <a:tabLst/>
              <a:defRPr/>
            </a:pPr>
            <a:r>
              <a:rPr lang="en-GB" dirty="0"/>
              <a:t>Click icon to add picture</a:t>
            </a:r>
          </a:p>
        </p:txBody>
      </p:sp>
      <p:sp>
        <p:nvSpPr>
          <p:cNvPr id="3" name="Picture Placeholder 17">
            <a:extLst>
              <a:ext uri="{FF2B5EF4-FFF2-40B4-BE49-F238E27FC236}">
                <a16:creationId xmlns:a16="http://schemas.microsoft.com/office/drawing/2014/main" id="{15C15C35-1275-8D82-7B48-0886DD32ED42}"/>
              </a:ext>
            </a:extLst>
          </p:cNvPr>
          <p:cNvSpPr>
            <a:spLocks noGrp="1"/>
          </p:cNvSpPr>
          <p:nvPr>
            <p:ph type="pic" sz="quarter" idx="26"/>
          </p:nvPr>
        </p:nvSpPr>
        <p:spPr>
          <a:xfrm>
            <a:off x="8464786"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tx1"/>
                </a:solidFill>
              </a:defRPr>
            </a:lvl1pPr>
          </a:lstStyle>
          <a:p>
            <a:pPr marL="0" marR="0" lvl="0" indent="0" algn="ctr" defTabSz="914400" rtl="0" eaLnBrk="1" fontAlgn="auto" latinLnBrk="0" hangingPunct="1">
              <a:lnSpc>
                <a:spcPct val="100000"/>
              </a:lnSpc>
              <a:spcBef>
                <a:spcPts val="1000"/>
              </a:spcBef>
              <a:spcAft>
                <a:spcPts val="1000"/>
              </a:spcAft>
              <a:buClr>
                <a:srgbClr val="47DA86"/>
              </a:buClr>
              <a:buSzTx/>
              <a:buFont typeface="Arial" panose="020B0604020202020204" pitchFamily="34" charset="0"/>
              <a:buNone/>
              <a:tabLst/>
              <a:defRPr/>
            </a:pPr>
            <a:r>
              <a:rPr lang="en-GB" dirty="0"/>
              <a:t>Click icon to add picture</a:t>
            </a:r>
          </a:p>
        </p:txBody>
      </p:sp>
      <p:sp>
        <p:nvSpPr>
          <p:cNvPr id="6" name="Slide Number Placeholder 5">
            <a:extLst>
              <a:ext uri="{FF2B5EF4-FFF2-40B4-BE49-F238E27FC236}">
                <a16:creationId xmlns:a16="http://schemas.microsoft.com/office/drawing/2014/main" id="{E1FC47AC-3C70-D163-7E67-9994B20661F4}"/>
              </a:ext>
            </a:extLst>
          </p:cNvPr>
          <p:cNvSpPr>
            <a:spLocks noGrp="1"/>
          </p:cNvSpPr>
          <p:nvPr>
            <p:ph type="sldNum" sz="quarter" idx="27"/>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2091814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ebbles (White)">
    <p:spTree>
      <p:nvGrpSpPr>
        <p:cNvPr id="1" name=""/>
        <p:cNvGrpSpPr/>
        <p:nvPr/>
      </p:nvGrpSpPr>
      <p:grpSpPr>
        <a:xfrm>
          <a:off x="0" y="0"/>
          <a:ext cx="0" cy="0"/>
          <a:chOff x="0" y="0"/>
          <a:chExt cx="0" cy="0"/>
        </a:xfrm>
      </p:grpSpPr>
      <p:sp>
        <p:nvSpPr>
          <p:cNvPr id="66" name="Picture Placeholder 65">
            <a:extLst>
              <a:ext uri="{FF2B5EF4-FFF2-40B4-BE49-F238E27FC236}">
                <a16:creationId xmlns:a16="http://schemas.microsoft.com/office/drawing/2014/main" id="{F2661CE8-4FDA-2506-7DD0-FB3A695D8106}"/>
              </a:ext>
            </a:extLst>
          </p:cNvPr>
          <p:cNvSpPr>
            <a:spLocks noGrp="1"/>
          </p:cNvSpPr>
          <p:nvPr>
            <p:ph type="pic" sz="quarter" idx="15"/>
          </p:nvPr>
        </p:nvSpPr>
        <p:spPr>
          <a:xfrm>
            <a:off x="6508923" y="3620604"/>
            <a:ext cx="1154057" cy="1164548"/>
          </a:xfrm>
          <a:custGeom>
            <a:avLst/>
            <a:gdLst>
              <a:gd name="connsiteX0" fmla="*/ 620546 w 1154057"/>
              <a:gd name="connsiteY0" fmla="*/ 1074 h 1164548"/>
              <a:gd name="connsiteX1" fmla="*/ 740037 w 1154057"/>
              <a:gd name="connsiteY1" fmla="*/ 30926 h 1164548"/>
              <a:gd name="connsiteX2" fmla="*/ 1149079 w 1154057"/>
              <a:gd name="connsiteY2" fmla="*/ 544452 h 1164548"/>
              <a:gd name="connsiteX3" fmla="*/ 1006132 w 1154057"/>
              <a:gd name="connsiteY3" fmla="*/ 957097 h 1164548"/>
              <a:gd name="connsiteX4" fmla="*/ 883647 w 1154057"/>
              <a:gd name="connsiteY4" fmla="*/ 1053039 h 1164548"/>
              <a:gd name="connsiteX5" fmla="*/ 162661 w 1154057"/>
              <a:gd name="connsiteY5" fmla="*/ 1067667 h 1164548"/>
              <a:gd name="connsiteX6" fmla="*/ 579 w 1154057"/>
              <a:gd name="connsiteY6" fmla="*/ 741180 h 1164548"/>
              <a:gd name="connsiteX7" fmla="*/ 256727 w 1154057"/>
              <a:gd name="connsiteY7" fmla="*/ 146531 h 1164548"/>
              <a:gd name="connsiteX8" fmla="*/ 620546 w 1154057"/>
              <a:gd name="connsiteY8" fmla="*/ 1074 h 116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4057" h="1164548">
                <a:moveTo>
                  <a:pt x="620546" y="1074"/>
                </a:moveTo>
                <a:cubicBezTo>
                  <a:pt x="661868" y="4174"/>
                  <a:pt x="702145" y="14018"/>
                  <a:pt x="740037" y="30926"/>
                </a:cubicBezTo>
                <a:cubicBezTo>
                  <a:pt x="949389" y="123543"/>
                  <a:pt x="1117629" y="334710"/>
                  <a:pt x="1149079" y="544452"/>
                </a:cubicBezTo>
                <a:cubicBezTo>
                  <a:pt x="1171057" y="698529"/>
                  <a:pt x="1119713" y="843201"/>
                  <a:pt x="1006132" y="957097"/>
                </a:cubicBezTo>
                <a:cubicBezTo>
                  <a:pt x="971083" y="992244"/>
                  <a:pt x="930159" y="1024446"/>
                  <a:pt x="883647" y="1053039"/>
                </a:cubicBezTo>
                <a:cubicBezTo>
                  <a:pt x="651181" y="1196096"/>
                  <a:pt x="354772" y="1202081"/>
                  <a:pt x="162661" y="1067667"/>
                </a:cubicBezTo>
                <a:cubicBezTo>
                  <a:pt x="62721" y="988634"/>
                  <a:pt x="6736" y="875689"/>
                  <a:pt x="579" y="741180"/>
                </a:cubicBezTo>
                <a:cubicBezTo>
                  <a:pt x="-8705" y="539607"/>
                  <a:pt x="94456" y="299943"/>
                  <a:pt x="256727" y="146531"/>
                </a:cubicBezTo>
                <a:cubicBezTo>
                  <a:pt x="363227" y="43156"/>
                  <a:pt x="496583" y="-8228"/>
                  <a:pt x="620546" y="1074"/>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67" name="Picture Placeholder 66">
            <a:extLst>
              <a:ext uri="{FF2B5EF4-FFF2-40B4-BE49-F238E27FC236}">
                <a16:creationId xmlns:a16="http://schemas.microsoft.com/office/drawing/2014/main" id="{3B71B6AE-BEDB-94B9-6987-0DDAA2DCD384}"/>
              </a:ext>
            </a:extLst>
          </p:cNvPr>
          <p:cNvSpPr>
            <a:spLocks noGrp="1"/>
          </p:cNvSpPr>
          <p:nvPr>
            <p:ph type="pic" sz="quarter" idx="16"/>
          </p:nvPr>
        </p:nvSpPr>
        <p:spPr>
          <a:xfrm>
            <a:off x="7810410" y="3608348"/>
            <a:ext cx="1107883" cy="1189060"/>
          </a:xfrm>
          <a:custGeom>
            <a:avLst/>
            <a:gdLst>
              <a:gd name="connsiteX0" fmla="*/ 518352 w 1107883"/>
              <a:gd name="connsiteY0" fmla="*/ 3 h 1189060"/>
              <a:gd name="connsiteX1" fmla="*/ 916906 w 1107883"/>
              <a:gd name="connsiteY1" fmla="*/ 119284 h 1189060"/>
              <a:gd name="connsiteX2" fmla="*/ 1107883 w 1107883"/>
              <a:gd name="connsiteY2" fmla="*/ 511437 h 1189060"/>
              <a:gd name="connsiteX3" fmla="*/ 1088833 w 1107883"/>
              <a:gd name="connsiteY3" fmla="*/ 665779 h 1189060"/>
              <a:gd name="connsiteX4" fmla="*/ 586579 w 1107883"/>
              <a:gd name="connsiteY4" fmla="*/ 1186029 h 1189060"/>
              <a:gd name="connsiteX5" fmla="*/ 239869 w 1107883"/>
              <a:gd name="connsiteY5" fmla="*/ 1070344 h 1189060"/>
              <a:gd name="connsiteX6" fmla="*/ 316 w 1107883"/>
              <a:gd name="connsiteY6" fmla="*/ 469749 h 1189060"/>
              <a:gd name="connsiteX7" fmla="*/ 261967 w 1107883"/>
              <a:gd name="connsiteY7" fmla="*/ 46424 h 1189060"/>
              <a:gd name="connsiteX8" fmla="*/ 518352 w 1107883"/>
              <a:gd name="connsiteY8" fmla="*/ 3 h 118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883" h="1189060">
                <a:moveTo>
                  <a:pt x="518352" y="3"/>
                </a:moveTo>
                <a:cubicBezTo>
                  <a:pt x="664673" y="-378"/>
                  <a:pt x="809989" y="40763"/>
                  <a:pt x="916906" y="119284"/>
                </a:cubicBezTo>
                <a:cubicBezTo>
                  <a:pt x="1041779" y="212419"/>
                  <a:pt x="1107883" y="350748"/>
                  <a:pt x="1107883" y="511437"/>
                </a:cubicBezTo>
                <a:cubicBezTo>
                  <a:pt x="1107883" y="560990"/>
                  <a:pt x="1101596" y="612626"/>
                  <a:pt x="1088833" y="665779"/>
                </a:cubicBezTo>
                <a:cubicBezTo>
                  <a:pt x="1025015" y="931068"/>
                  <a:pt x="818513" y="1144909"/>
                  <a:pt x="586579" y="1186029"/>
                </a:cubicBezTo>
                <a:cubicBezTo>
                  <a:pt x="459516" y="1200904"/>
                  <a:pt x="339596" y="1160827"/>
                  <a:pt x="239869" y="1070344"/>
                </a:cubicBezTo>
                <a:cubicBezTo>
                  <a:pt x="90327" y="934668"/>
                  <a:pt x="-6257" y="692781"/>
                  <a:pt x="316" y="469749"/>
                </a:cubicBezTo>
                <a:cubicBezTo>
                  <a:pt x="3554" y="272109"/>
                  <a:pt x="106234" y="105924"/>
                  <a:pt x="261967" y="46424"/>
                </a:cubicBezTo>
                <a:cubicBezTo>
                  <a:pt x="342406" y="15407"/>
                  <a:pt x="430560" y="231"/>
                  <a:pt x="518352" y="3"/>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68" name="Picture Placeholder 67">
            <a:extLst>
              <a:ext uri="{FF2B5EF4-FFF2-40B4-BE49-F238E27FC236}">
                <a16:creationId xmlns:a16="http://schemas.microsoft.com/office/drawing/2014/main" id="{906C151D-F8D9-E488-C77D-9C9B042AEA15}"/>
              </a:ext>
            </a:extLst>
          </p:cNvPr>
          <p:cNvSpPr>
            <a:spLocks noGrp="1"/>
          </p:cNvSpPr>
          <p:nvPr>
            <p:ph type="pic" sz="quarter" idx="17"/>
          </p:nvPr>
        </p:nvSpPr>
        <p:spPr>
          <a:xfrm>
            <a:off x="7803666" y="2055915"/>
            <a:ext cx="1164457" cy="1154057"/>
          </a:xfrm>
          <a:custGeom>
            <a:avLst/>
            <a:gdLst>
              <a:gd name="connsiteX0" fmla="*/ 657822 w 1164457"/>
              <a:gd name="connsiteY0" fmla="*/ 2070 h 1154057"/>
              <a:gd name="connsiteX1" fmla="*/ 957005 w 1164457"/>
              <a:gd name="connsiteY1" fmla="*/ 147925 h 1154057"/>
              <a:gd name="connsiteX2" fmla="*/ 1052947 w 1164457"/>
              <a:gd name="connsiteY2" fmla="*/ 270411 h 1154057"/>
              <a:gd name="connsiteX3" fmla="*/ 1067576 w 1164457"/>
              <a:gd name="connsiteY3" fmla="*/ 991397 h 1154057"/>
              <a:gd name="connsiteX4" fmla="*/ 741089 w 1164457"/>
              <a:gd name="connsiteY4" fmla="*/ 1153384 h 1154057"/>
              <a:gd name="connsiteX5" fmla="*/ 741184 w 1164457"/>
              <a:gd name="connsiteY5" fmla="*/ 1153479 h 1154057"/>
              <a:gd name="connsiteX6" fmla="*/ 146440 w 1164457"/>
              <a:gd name="connsiteY6" fmla="*/ 897331 h 1154057"/>
              <a:gd name="connsiteX7" fmla="*/ 30930 w 1164457"/>
              <a:gd name="connsiteY7" fmla="*/ 414021 h 1154057"/>
              <a:gd name="connsiteX8" fmla="*/ 544361 w 1164457"/>
              <a:gd name="connsiteY8" fmla="*/ 4979 h 1154057"/>
              <a:gd name="connsiteX9" fmla="*/ 657822 w 1164457"/>
              <a:gd name="connsiteY9" fmla="*/ 2070 h 115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4457" h="1154057">
                <a:moveTo>
                  <a:pt x="657822" y="2070"/>
                </a:moveTo>
                <a:cubicBezTo>
                  <a:pt x="768851" y="12563"/>
                  <a:pt x="871584" y="62740"/>
                  <a:pt x="957005" y="147925"/>
                </a:cubicBezTo>
                <a:cubicBezTo>
                  <a:pt x="992152" y="182975"/>
                  <a:pt x="1024355" y="223898"/>
                  <a:pt x="1052947" y="270411"/>
                </a:cubicBezTo>
                <a:cubicBezTo>
                  <a:pt x="1196005" y="502877"/>
                  <a:pt x="1201990" y="799286"/>
                  <a:pt x="1067576" y="991397"/>
                </a:cubicBezTo>
                <a:cubicBezTo>
                  <a:pt x="988543" y="1091242"/>
                  <a:pt x="875502" y="1147227"/>
                  <a:pt x="741089" y="1153384"/>
                </a:cubicBezTo>
                <a:lnTo>
                  <a:pt x="741184" y="1153479"/>
                </a:lnTo>
                <a:cubicBezTo>
                  <a:pt x="539516" y="1162763"/>
                  <a:pt x="299947" y="1059602"/>
                  <a:pt x="146440" y="897331"/>
                </a:cubicBezTo>
                <a:cubicBezTo>
                  <a:pt x="8702" y="755331"/>
                  <a:pt x="-36705" y="565588"/>
                  <a:pt x="30930" y="414021"/>
                </a:cubicBezTo>
                <a:cubicBezTo>
                  <a:pt x="123547" y="204668"/>
                  <a:pt x="334714" y="36429"/>
                  <a:pt x="544361" y="4979"/>
                </a:cubicBezTo>
                <a:cubicBezTo>
                  <a:pt x="582880" y="-515"/>
                  <a:pt x="620812" y="-1427"/>
                  <a:pt x="657822" y="2070"/>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69" name="Picture Placeholder 68">
            <a:extLst>
              <a:ext uri="{FF2B5EF4-FFF2-40B4-BE49-F238E27FC236}">
                <a16:creationId xmlns:a16="http://schemas.microsoft.com/office/drawing/2014/main" id="{97C88B23-F01B-B969-B774-88297D25CAD5}"/>
              </a:ext>
            </a:extLst>
          </p:cNvPr>
          <p:cNvSpPr>
            <a:spLocks noGrp="1"/>
          </p:cNvSpPr>
          <p:nvPr>
            <p:ph type="pic" sz="quarter" idx="18"/>
          </p:nvPr>
        </p:nvSpPr>
        <p:spPr>
          <a:xfrm>
            <a:off x="9065723" y="3648937"/>
            <a:ext cx="1189061" cy="1107883"/>
          </a:xfrm>
          <a:custGeom>
            <a:avLst/>
            <a:gdLst>
              <a:gd name="connsiteX0" fmla="*/ 719312 w 1189061"/>
              <a:gd name="connsiteY0" fmla="*/ 316 h 1107883"/>
              <a:gd name="connsiteX1" fmla="*/ 1142638 w 1189061"/>
              <a:gd name="connsiteY1" fmla="*/ 261967 h 1107883"/>
              <a:gd name="connsiteX2" fmla="*/ 1069778 w 1189061"/>
              <a:gd name="connsiteY2" fmla="*/ 916906 h 1107883"/>
              <a:gd name="connsiteX3" fmla="*/ 677624 w 1189061"/>
              <a:gd name="connsiteY3" fmla="*/ 1107883 h 1107883"/>
              <a:gd name="connsiteX4" fmla="*/ 523283 w 1189061"/>
              <a:gd name="connsiteY4" fmla="*/ 1088833 h 1107883"/>
              <a:gd name="connsiteX5" fmla="*/ 3032 w 1189061"/>
              <a:gd name="connsiteY5" fmla="*/ 586579 h 1107883"/>
              <a:gd name="connsiteX6" fmla="*/ 118717 w 1189061"/>
              <a:gd name="connsiteY6" fmla="*/ 239869 h 1107883"/>
              <a:gd name="connsiteX7" fmla="*/ 719312 w 1189061"/>
              <a:gd name="connsiteY7" fmla="*/ 316 h 110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1" h="1107883">
                <a:moveTo>
                  <a:pt x="719312" y="316"/>
                </a:moveTo>
                <a:cubicBezTo>
                  <a:pt x="916953" y="3554"/>
                  <a:pt x="1083137" y="106234"/>
                  <a:pt x="1142638" y="261967"/>
                </a:cubicBezTo>
                <a:cubicBezTo>
                  <a:pt x="1225351" y="476470"/>
                  <a:pt x="1195411" y="745838"/>
                  <a:pt x="1069778" y="916906"/>
                </a:cubicBezTo>
                <a:cubicBezTo>
                  <a:pt x="976643" y="1041779"/>
                  <a:pt x="838313" y="1107883"/>
                  <a:pt x="677624" y="1107883"/>
                </a:cubicBezTo>
                <a:cubicBezTo>
                  <a:pt x="628072" y="1107883"/>
                  <a:pt x="576435" y="1101596"/>
                  <a:pt x="523283" y="1088833"/>
                </a:cubicBezTo>
                <a:cubicBezTo>
                  <a:pt x="257994" y="1025015"/>
                  <a:pt x="44152" y="818513"/>
                  <a:pt x="3032" y="586579"/>
                </a:cubicBezTo>
                <a:cubicBezTo>
                  <a:pt x="-11843" y="459516"/>
                  <a:pt x="28235" y="339596"/>
                  <a:pt x="118717" y="239869"/>
                </a:cubicBezTo>
                <a:cubicBezTo>
                  <a:pt x="254394" y="90327"/>
                  <a:pt x="496280" y="-6257"/>
                  <a:pt x="719312" y="316"/>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70" name="Picture Placeholder 69">
            <a:extLst>
              <a:ext uri="{FF2B5EF4-FFF2-40B4-BE49-F238E27FC236}">
                <a16:creationId xmlns:a16="http://schemas.microsoft.com/office/drawing/2014/main" id="{999EFC1E-B95B-3F1C-CE75-B89111D6591C}"/>
              </a:ext>
            </a:extLst>
          </p:cNvPr>
          <p:cNvSpPr>
            <a:spLocks noGrp="1"/>
          </p:cNvSpPr>
          <p:nvPr>
            <p:ph type="pic" sz="quarter" idx="19"/>
          </p:nvPr>
        </p:nvSpPr>
        <p:spPr>
          <a:xfrm>
            <a:off x="9091307" y="2055915"/>
            <a:ext cx="1164633" cy="1154057"/>
          </a:xfrm>
          <a:custGeom>
            <a:avLst/>
            <a:gdLst>
              <a:gd name="connsiteX0" fmla="*/ 423358 w 1164633"/>
              <a:gd name="connsiteY0" fmla="*/ 579 h 1154057"/>
              <a:gd name="connsiteX1" fmla="*/ 1018102 w 1164633"/>
              <a:gd name="connsiteY1" fmla="*/ 256727 h 1154057"/>
              <a:gd name="connsiteX2" fmla="*/ 1133708 w 1164633"/>
              <a:gd name="connsiteY2" fmla="*/ 740037 h 1154057"/>
              <a:gd name="connsiteX3" fmla="*/ 620182 w 1164633"/>
              <a:gd name="connsiteY3" fmla="*/ 1149079 h 1154057"/>
              <a:gd name="connsiteX4" fmla="*/ 207537 w 1164633"/>
              <a:gd name="connsiteY4" fmla="*/ 1006132 h 1154057"/>
              <a:gd name="connsiteX5" fmla="*/ 111595 w 1164633"/>
              <a:gd name="connsiteY5" fmla="*/ 883647 h 1154057"/>
              <a:gd name="connsiteX6" fmla="*/ 96871 w 1164633"/>
              <a:gd name="connsiteY6" fmla="*/ 162661 h 1154057"/>
              <a:gd name="connsiteX7" fmla="*/ 423358 w 1164633"/>
              <a:gd name="connsiteY7" fmla="*/ 579 h 115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633" h="1154057">
                <a:moveTo>
                  <a:pt x="423358" y="579"/>
                </a:moveTo>
                <a:cubicBezTo>
                  <a:pt x="625026" y="-8705"/>
                  <a:pt x="864596" y="94456"/>
                  <a:pt x="1018102" y="256727"/>
                </a:cubicBezTo>
                <a:cubicBezTo>
                  <a:pt x="1155936" y="398727"/>
                  <a:pt x="1201342" y="588470"/>
                  <a:pt x="1133708" y="740037"/>
                </a:cubicBezTo>
                <a:cubicBezTo>
                  <a:pt x="1041090" y="949389"/>
                  <a:pt x="829924" y="1117629"/>
                  <a:pt x="620182" y="1149079"/>
                </a:cubicBezTo>
                <a:cubicBezTo>
                  <a:pt x="466105" y="1171057"/>
                  <a:pt x="321432" y="1119713"/>
                  <a:pt x="207537" y="1006132"/>
                </a:cubicBezTo>
                <a:cubicBezTo>
                  <a:pt x="172390" y="971083"/>
                  <a:pt x="140188" y="930159"/>
                  <a:pt x="111595" y="883647"/>
                </a:cubicBezTo>
                <a:cubicBezTo>
                  <a:pt x="-31558" y="651181"/>
                  <a:pt x="-37542" y="354772"/>
                  <a:pt x="96871" y="162661"/>
                </a:cubicBezTo>
                <a:cubicBezTo>
                  <a:pt x="175905" y="62721"/>
                  <a:pt x="288850" y="6736"/>
                  <a:pt x="423358" y="579"/>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71" name="Picture Placeholder 70">
            <a:extLst>
              <a:ext uri="{FF2B5EF4-FFF2-40B4-BE49-F238E27FC236}">
                <a16:creationId xmlns:a16="http://schemas.microsoft.com/office/drawing/2014/main" id="{8E8FEB9C-40A3-9F02-121F-D2BC9CAE02D1}"/>
              </a:ext>
            </a:extLst>
          </p:cNvPr>
          <p:cNvSpPr>
            <a:spLocks noGrp="1"/>
          </p:cNvSpPr>
          <p:nvPr>
            <p:ph type="pic" sz="quarter" idx="20"/>
          </p:nvPr>
        </p:nvSpPr>
        <p:spPr>
          <a:xfrm>
            <a:off x="10402215" y="3608348"/>
            <a:ext cx="1107882" cy="1189061"/>
          </a:xfrm>
          <a:custGeom>
            <a:avLst/>
            <a:gdLst>
              <a:gd name="connsiteX0" fmla="*/ 615058 w 1107882"/>
              <a:gd name="connsiteY0" fmla="*/ 2108 h 1189061"/>
              <a:gd name="connsiteX1" fmla="*/ 868013 w 1107882"/>
              <a:gd name="connsiteY1" fmla="*/ 118717 h 1189061"/>
              <a:gd name="connsiteX2" fmla="*/ 1107567 w 1107882"/>
              <a:gd name="connsiteY2" fmla="*/ 719312 h 1189061"/>
              <a:gd name="connsiteX3" fmla="*/ 845915 w 1107882"/>
              <a:gd name="connsiteY3" fmla="*/ 1142638 h 1189061"/>
              <a:gd name="connsiteX4" fmla="*/ 190976 w 1107882"/>
              <a:gd name="connsiteY4" fmla="*/ 1069778 h 1189061"/>
              <a:gd name="connsiteX5" fmla="*/ 0 w 1107882"/>
              <a:gd name="connsiteY5" fmla="*/ 677624 h 1189061"/>
              <a:gd name="connsiteX6" fmla="*/ 19050 w 1107882"/>
              <a:gd name="connsiteY6" fmla="*/ 523283 h 1189061"/>
              <a:gd name="connsiteX7" fmla="*/ 521303 w 1107882"/>
              <a:gd name="connsiteY7" fmla="*/ 3032 h 1189061"/>
              <a:gd name="connsiteX8" fmla="*/ 615058 w 1107882"/>
              <a:gd name="connsiteY8" fmla="*/ 2108 h 118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882" h="1189061">
                <a:moveTo>
                  <a:pt x="615058" y="2108"/>
                </a:moveTo>
                <a:cubicBezTo>
                  <a:pt x="707065" y="11346"/>
                  <a:pt x="793218" y="50856"/>
                  <a:pt x="868013" y="118717"/>
                </a:cubicBezTo>
                <a:cubicBezTo>
                  <a:pt x="1017556" y="254394"/>
                  <a:pt x="1114139" y="496280"/>
                  <a:pt x="1107567" y="719312"/>
                </a:cubicBezTo>
                <a:cubicBezTo>
                  <a:pt x="1104329" y="916953"/>
                  <a:pt x="1001649" y="1083137"/>
                  <a:pt x="845915" y="1142638"/>
                </a:cubicBezTo>
                <a:cubicBezTo>
                  <a:pt x="631412" y="1225351"/>
                  <a:pt x="362045" y="1195411"/>
                  <a:pt x="190976" y="1069778"/>
                </a:cubicBezTo>
                <a:cubicBezTo>
                  <a:pt x="66104" y="976643"/>
                  <a:pt x="0" y="838313"/>
                  <a:pt x="0" y="677624"/>
                </a:cubicBezTo>
                <a:cubicBezTo>
                  <a:pt x="0" y="628072"/>
                  <a:pt x="6287" y="576435"/>
                  <a:pt x="19050" y="523283"/>
                </a:cubicBezTo>
                <a:cubicBezTo>
                  <a:pt x="82868" y="257994"/>
                  <a:pt x="289370" y="44152"/>
                  <a:pt x="521303" y="3032"/>
                </a:cubicBezTo>
                <a:cubicBezTo>
                  <a:pt x="553069" y="-687"/>
                  <a:pt x="584389" y="-971"/>
                  <a:pt x="615058" y="2108"/>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72" name="Picture Placeholder 71">
            <a:extLst>
              <a:ext uri="{FF2B5EF4-FFF2-40B4-BE49-F238E27FC236}">
                <a16:creationId xmlns:a16="http://schemas.microsoft.com/office/drawing/2014/main" id="{D9FEA025-F3DE-8FBE-6582-61EB9226E41C}"/>
              </a:ext>
            </a:extLst>
          </p:cNvPr>
          <p:cNvSpPr>
            <a:spLocks noGrp="1"/>
          </p:cNvSpPr>
          <p:nvPr>
            <p:ph type="pic" sz="quarter" idx="21"/>
          </p:nvPr>
        </p:nvSpPr>
        <p:spPr>
          <a:xfrm>
            <a:off x="10379124" y="2050622"/>
            <a:ext cx="1154064" cy="1164642"/>
          </a:xfrm>
          <a:custGeom>
            <a:avLst/>
            <a:gdLst>
              <a:gd name="connsiteX0" fmla="*/ 646043 w 1154064"/>
              <a:gd name="connsiteY0" fmla="*/ 144 h 1164642"/>
              <a:gd name="connsiteX1" fmla="*/ 991404 w 1154064"/>
              <a:gd name="connsiteY1" fmla="*/ 96881 h 1164642"/>
              <a:gd name="connsiteX2" fmla="*/ 1153391 w 1154064"/>
              <a:gd name="connsiteY2" fmla="*/ 423368 h 1164642"/>
              <a:gd name="connsiteX3" fmla="*/ 1153486 w 1154064"/>
              <a:gd name="connsiteY3" fmla="*/ 423368 h 1164642"/>
              <a:gd name="connsiteX4" fmla="*/ 897337 w 1154064"/>
              <a:gd name="connsiteY4" fmla="*/ 1018112 h 1164642"/>
              <a:gd name="connsiteX5" fmla="*/ 414027 w 1154064"/>
              <a:gd name="connsiteY5" fmla="*/ 1133717 h 1164642"/>
              <a:gd name="connsiteX6" fmla="*/ 4985 w 1154064"/>
              <a:gd name="connsiteY6" fmla="*/ 620191 h 1164642"/>
              <a:gd name="connsiteX7" fmla="*/ 147932 w 1154064"/>
              <a:gd name="connsiteY7" fmla="*/ 207451 h 1164642"/>
              <a:gd name="connsiteX8" fmla="*/ 270417 w 1154064"/>
              <a:gd name="connsiteY8" fmla="*/ 111510 h 1164642"/>
              <a:gd name="connsiteX9" fmla="*/ 646043 w 1154064"/>
              <a:gd name="connsiteY9" fmla="*/ 144 h 116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064" h="1164642">
                <a:moveTo>
                  <a:pt x="646043" y="144"/>
                </a:moveTo>
                <a:cubicBezTo>
                  <a:pt x="773218" y="-2433"/>
                  <a:pt x="895348" y="29674"/>
                  <a:pt x="991404" y="96881"/>
                </a:cubicBezTo>
                <a:cubicBezTo>
                  <a:pt x="1091248" y="175914"/>
                  <a:pt x="1147234" y="288954"/>
                  <a:pt x="1153391" y="423368"/>
                </a:cubicBezTo>
                <a:lnTo>
                  <a:pt x="1153486" y="423368"/>
                </a:lnTo>
                <a:cubicBezTo>
                  <a:pt x="1162769" y="625036"/>
                  <a:pt x="1059609" y="864605"/>
                  <a:pt x="897337" y="1018112"/>
                </a:cubicBezTo>
                <a:cubicBezTo>
                  <a:pt x="755338" y="1155945"/>
                  <a:pt x="565594" y="1201351"/>
                  <a:pt x="414027" y="1133717"/>
                </a:cubicBezTo>
                <a:cubicBezTo>
                  <a:pt x="204675" y="1041100"/>
                  <a:pt x="36435" y="829838"/>
                  <a:pt x="4985" y="620191"/>
                </a:cubicBezTo>
                <a:cubicBezTo>
                  <a:pt x="-16992" y="466114"/>
                  <a:pt x="34257" y="321442"/>
                  <a:pt x="147932" y="207451"/>
                </a:cubicBezTo>
                <a:cubicBezTo>
                  <a:pt x="182982" y="172304"/>
                  <a:pt x="223905" y="140102"/>
                  <a:pt x="270417" y="111510"/>
                </a:cubicBezTo>
                <a:cubicBezTo>
                  <a:pt x="386650" y="39981"/>
                  <a:pt x="518869" y="2720"/>
                  <a:pt x="646043" y="144"/>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47" name="Picture Placeholder 46">
            <a:extLst>
              <a:ext uri="{FF2B5EF4-FFF2-40B4-BE49-F238E27FC236}">
                <a16:creationId xmlns:a16="http://schemas.microsoft.com/office/drawing/2014/main" id="{D0D75CA1-3DB1-D879-A1A7-ACAD5AEC0A2A}"/>
              </a:ext>
            </a:extLst>
          </p:cNvPr>
          <p:cNvSpPr>
            <a:spLocks noGrp="1"/>
          </p:cNvSpPr>
          <p:nvPr>
            <p:ph type="pic" sz="quarter" idx="13"/>
          </p:nvPr>
        </p:nvSpPr>
        <p:spPr>
          <a:xfrm>
            <a:off x="6491422" y="2079002"/>
            <a:ext cx="1189060" cy="1107882"/>
          </a:xfrm>
          <a:custGeom>
            <a:avLst/>
            <a:gdLst>
              <a:gd name="connsiteX0" fmla="*/ 511437 w 1189060"/>
              <a:gd name="connsiteY0" fmla="*/ 0 h 1107882"/>
              <a:gd name="connsiteX1" fmla="*/ 665779 w 1189060"/>
              <a:gd name="connsiteY1" fmla="*/ 19050 h 1107882"/>
              <a:gd name="connsiteX2" fmla="*/ 1186029 w 1189060"/>
              <a:gd name="connsiteY2" fmla="*/ 521303 h 1107882"/>
              <a:gd name="connsiteX3" fmla="*/ 1070344 w 1189060"/>
              <a:gd name="connsiteY3" fmla="*/ 868013 h 1107882"/>
              <a:gd name="connsiteX4" fmla="*/ 469749 w 1189060"/>
              <a:gd name="connsiteY4" fmla="*/ 1107567 h 1107882"/>
              <a:gd name="connsiteX5" fmla="*/ 46424 w 1189060"/>
              <a:gd name="connsiteY5" fmla="*/ 845915 h 1107882"/>
              <a:gd name="connsiteX6" fmla="*/ 119284 w 1189060"/>
              <a:gd name="connsiteY6" fmla="*/ 190976 h 1107882"/>
              <a:gd name="connsiteX7" fmla="*/ 511437 w 1189060"/>
              <a:gd name="connsiteY7" fmla="*/ 0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511437" y="0"/>
                </a:moveTo>
                <a:cubicBezTo>
                  <a:pt x="560990" y="0"/>
                  <a:pt x="612626" y="6287"/>
                  <a:pt x="665779" y="19050"/>
                </a:cubicBezTo>
                <a:cubicBezTo>
                  <a:pt x="931068" y="82868"/>
                  <a:pt x="1144909" y="289370"/>
                  <a:pt x="1186029" y="521303"/>
                </a:cubicBezTo>
                <a:cubicBezTo>
                  <a:pt x="1200904" y="648367"/>
                  <a:pt x="1160827" y="768287"/>
                  <a:pt x="1070344" y="868013"/>
                </a:cubicBez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lose/>
              </a:path>
            </a:pathLst>
          </a:custGeom>
        </p:spPr>
        <p:txBody>
          <a:bodyPr wrap="square" anchor="ctr">
            <a:noAutofit/>
          </a:bodyPr>
          <a:lstStyle>
            <a:lvl1pPr marL="0" indent="0" algn="ctr">
              <a:buNone/>
              <a:defRPr sz="1000">
                <a:solidFill>
                  <a:schemeClr val="tx1"/>
                </a:solidFill>
              </a:defRPr>
            </a:lvl1pPr>
          </a:lstStyle>
          <a:p>
            <a:endParaRPr lang="en-US" dirty="0"/>
          </a:p>
        </p:txBody>
      </p:sp>
      <p:sp>
        <p:nvSpPr>
          <p:cNvPr id="3" name="Slide Number Placeholder 2">
            <a:extLst>
              <a:ext uri="{FF2B5EF4-FFF2-40B4-BE49-F238E27FC236}">
                <a16:creationId xmlns:a16="http://schemas.microsoft.com/office/drawing/2014/main" id="{A4E0687F-B388-1A33-A0CD-221AC0EF9B92}"/>
              </a:ext>
            </a:extLst>
          </p:cNvPr>
          <p:cNvSpPr>
            <a:spLocks noGrp="1"/>
          </p:cNvSpPr>
          <p:nvPr>
            <p:ph type="sldNum" sz="quarter" idx="22"/>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859882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p>
            <a:r>
              <a:rPr lang="en-GB" dirty="0"/>
              <a:t>Regular heading </a:t>
            </a:r>
            <a:r>
              <a:rPr lang="en-GB"/>
              <a:t>goes here</a:t>
            </a:r>
            <a:endParaRPr lang="en-GB" dirty="0"/>
          </a:p>
        </p:txBody>
      </p:sp>
      <p:sp>
        <p:nvSpPr>
          <p:cNvPr id="3" name="Text Placeholder 9">
            <a:extLst>
              <a:ext uri="{FF2B5EF4-FFF2-40B4-BE49-F238E27FC236}">
                <a16:creationId xmlns:a16="http://schemas.microsoft.com/office/drawing/2014/main" id="{ED9BA653-7394-2180-DDD3-07AB23FF2F44}"/>
              </a:ext>
            </a:extLst>
          </p:cNvPr>
          <p:cNvSpPr>
            <a:spLocks noGrp="1"/>
          </p:cNvSpPr>
          <p:nvPr>
            <p:ph type="body" sz="quarter" idx="18" hasCustomPrompt="1"/>
          </p:nvPr>
        </p:nvSpPr>
        <p:spPr>
          <a:xfrm>
            <a:off x="674159" y="1051658"/>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dirty="0"/>
              <a:t>Subheading </a:t>
            </a:r>
            <a:r>
              <a:rPr lang="en-GB"/>
              <a:t>goes here</a:t>
            </a:r>
            <a:endParaRPr lang="en-GB" dirty="0"/>
          </a:p>
        </p:txBody>
      </p:sp>
    </p:spTree>
    <p:extLst>
      <p:ext uri="{BB962C8B-B14F-4D97-AF65-F5344CB8AC3E}">
        <p14:creationId xmlns:p14="http://schemas.microsoft.com/office/powerpoint/2010/main" val="206970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only (co-host logos)">
    <p:spTree>
      <p:nvGrpSpPr>
        <p:cNvPr id="1" name=""/>
        <p:cNvGrpSpPr/>
        <p:nvPr/>
      </p:nvGrpSpPr>
      <p:grpSpPr>
        <a:xfrm>
          <a:off x="0" y="0"/>
          <a:ext cx="0" cy="0"/>
          <a:chOff x="0" y="0"/>
          <a:chExt cx="0" cy="0"/>
        </a:xfrm>
      </p:grpSpPr>
      <p:sp>
        <p:nvSpPr>
          <p:cNvPr id="119" name="Rechthoek 118">
            <a:extLst>
              <a:ext uri="{FF2B5EF4-FFF2-40B4-BE49-F238E27FC236}">
                <a16:creationId xmlns:a16="http://schemas.microsoft.com/office/drawing/2014/main" id="{F9842152-AC8C-126A-C81B-7CE4F6828A38}"/>
              </a:ext>
            </a:extLst>
          </p:cNvPr>
          <p:cNvSpPr/>
          <p:nvPr userDrawn="1"/>
        </p:nvSpPr>
        <p:spPr>
          <a:xfrm>
            <a:off x="0" y="5314950"/>
            <a:ext cx="12192000" cy="154305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GB" sz="1400" dirty="0">
              <a:solidFill>
                <a:schemeClr val="accent1"/>
              </a:solidFill>
            </a:endParaRPr>
          </a:p>
        </p:txBody>
      </p:sp>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p>
            <a:r>
              <a:rPr lang="en-GB" dirty="0"/>
              <a:t>Regular heading </a:t>
            </a:r>
            <a:r>
              <a:rPr lang="en-GB"/>
              <a:t>goes here</a:t>
            </a:r>
            <a:endParaRPr lang="en-GB" dirty="0"/>
          </a:p>
        </p:txBody>
      </p:sp>
      <p:sp>
        <p:nvSpPr>
          <p:cNvPr id="120" name="Text Placeholder 9">
            <a:extLst>
              <a:ext uri="{FF2B5EF4-FFF2-40B4-BE49-F238E27FC236}">
                <a16:creationId xmlns:a16="http://schemas.microsoft.com/office/drawing/2014/main" id="{E78F1ECD-A0EE-5D28-82FC-0A2057D1559E}"/>
              </a:ext>
            </a:extLst>
          </p:cNvPr>
          <p:cNvSpPr>
            <a:spLocks noGrp="1"/>
          </p:cNvSpPr>
          <p:nvPr>
            <p:ph type="body" sz="quarter" idx="18" hasCustomPrompt="1"/>
          </p:nvPr>
        </p:nvSpPr>
        <p:spPr>
          <a:xfrm>
            <a:off x="674159" y="1051658"/>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dirty="0"/>
              <a:t>Subheading </a:t>
            </a:r>
            <a:r>
              <a:rPr lang="en-GB"/>
              <a:t>goes here</a:t>
            </a:r>
            <a:endParaRPr lang="en-GB" dirty="0"/>
          </a:p>
        </p:txBody>
      </p:sp>
    </p:spTree>
    <p:extLst>
      <p:ext uri="{BB962C8B-B14F-4D97-AF65-F5344CB8AC3E}">
        <p14:creationId xmlns:p14="http://schemas.microsoft.com/office/powerpoint/2010/main" val="1117673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Slide (Whit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1FC47AC-3C70-D163-7E67-9994B20661F4}"/>
              </a:ext>
            </a:extLst>
          </p:cNvPr>
          <p:cNvSpPr>
            <a:spLocks noGrp="1"/>
          </p:cNvSpPr>
          <p:nvPr>
            <p:ph type="sldNum" sz="quarter" idx="27"/>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182107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Main (Green)">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6F3918CB-A61A-8A43-05DE-7D51ECBE796D}"/>
              </a:ext>
            </a:extLst>
          </p:cNvPr>
          <p:cNvSpPr>
            <a:spLocks noGrp="1"/>
          </p:cNvSpPr>
          <p:nvPr>
            <p:ph type="sldNum" sz="quarter" idx="18"/>
          </p:nvPr>
        </p:nvSpPr>
        <p:spPr/>
        <p:txBody>
          <a:bodyPr/>
          <a:lstStyle/>
          <a:p>
            <a:fld id="{0994303E-A424-9540-91A8-53B791C91E8F}" type="slidenum">
              <a:rPr lang="en-GB" smtClean="0"/>
              <a:pPr/>
              <a:t>‹#›</a:t>
            </a:fld>
            <a:endParaRPr lang="en-GB" dirty="0"/>
          </a:p>
        </p:txBody>
      </p:sp>
      <p:sp>
        <p:nvSpPr>
          <p:cNvPr id="14" name="Title 13">
            <a:extLst>
              <a:ext uri="{FF2B5EF4-FFF2-40B4-BE49-F238E27FC236}">
                <a16:creationId xmlns:a16="http://schemas.microsoft.com/office/drawing/2014/main" id="{B2461144-37F7-1B8E-8C8F-A142D7874919}"/>
              </a:ext>
            </a:extLst>
          </p:cNvPr>
          <p:cNvSpPr>
            <a:spLocks noGrp="1"/>
          </p:cNvSpPr>
          <p:nvPr>
            <p:ph type="title" hasCustomPrompt="1"/>
          </p:nvPr>
        </p:nvSpPr>
        <p:spPr/>
        <p:txBody>
          <a:bodyPr/>
          <a:lstStyle/>
          <a:p>
            <a:r>
              <a:rPr lang="en-GB" dirty="0"/>
              <a:t>Regular heading </a:t>
            </a:r>
            <a:r>
              <a:rPr lang="en-GB"/>
              <a:t>goes here</a:t>
            </a:r>
            <a:endParaRPr lang="en-GB" dirty="0"/>
          </a:p>
        </p:txBody>
      </p:sp>
      <p:sp>
        <p:nvSpPr>
          <p:cNvPr id="3" name="Text Placeholder 2">
            <a:extLst>
              <a:ext uri="{FF2B5EF4-FFF2-40B4-BE49-F238E27FC236}">
                <a16:creationId xmlns:a16="http://schemas.microsoft.com/office/drawing/2014/main" id="{39844A63-D478-63A3-32FA-965832495FE9}"/>
              </a:ext>
            </a:extLst>
          </p:cNvPr>
          <p:cNvSpPr>
            <a:spLocks noGrp="1"/>
          </p:cNvSpPr>
          <p:nvPr>
            <p:ph type="body" sz="quarter" idx="22" hasCustomPrompt="1"/>
          </p:nvPr>
        </p:nvSpPr>
        <p:spPr>
          <a:xfrm>
            <a:off x="658813" y="1833563"/>
            <a:ext cx="5113337" cy="3971925"/>
          </a:xfrm>
        </p:spPr>
        <p:txBody>
          <a:bodyPr/>
          <a:lstStyle>
            <a:lvl1pPr marL="0" indent="0">
              <a:buFont typeface="Arial" panose="020B0604020202020204" pitchFamily="34" charset="0"/>
              <a:buNone/>
              <a:tabLst/>
              <a:defRPr/>
            </a:lvl1pPr>
          </a:lstStyle>
          <a:p>
            <a:pPr lvl="0"/>
            <a:r>
              <a:rPr lang="en-GB" dirty="0" err="1"/>
              <a:t>Sed</a:t>
            </a:r>
            <a:r>
              <a:rPr lang="en-GB" dirty="0"/>
              <a:t> </a:t>
            </a:r>
            <a:r>
              <a:rPr lang="en-GB" dirty="0" err="1"/>
              <a:t>ut</a:t>
            </a:r>
            <a:r>
              <a:rPr lang="en-GB" dirty="0"/>
              <a:t> </a:t>
            </a:r>
            <a:r>
              <a:rPr lang="en-GB" dirty="0" err="1"/>
              <a:t>perspiciatis</a:t>
            </a:r>
            <a:r>
              <a:rPr lang="en-GB" dirty="0"/>
              <a:t> </a:t>
            </a:r>
            <a:r>
              <a:rPr lang="en-GB" dirty="0" err="1"/>
              <a:t>unde</a:t>
            </a:r>
            <a:r>
              <a:rPr lang="en-GB" dirty="0"/>
              <a:t> </a:t>
            </a:r>
            <a:r>
              <a:rPr lang="en-GB" dirty="0" err="1"/>
              <a:t>omnis</a:t>
            </a:r>
            <a:r>
              <a:rPr lang="en-GB" dirty="0"/>
              <a:t> </a:t>
            </a:r>
            <a:r>
              <a:rPr lang="en-GB" dirty="0" err="1"/>
              <a:t>iste</a:t>
            </a:r>
            <a:r>
              <a:rPr lang="en-GB" dirty="0"/>
              <a:t> </a:t>
            </a:r>
            <a:r>
              <a:rPr lang="en-GB" dirty="0" err="1"/>
              <a:t>natus</a:t>
            </a:r>
            <a:r>
              <a:rPr lang="en-GB" dirty="0"/>
              <a:t> error sit </a:t>
            </a:r>
            <a:r>
              <a:rPr lang="en-GB" dirty="0" err="1"/>
              <a:t>voluptatem</a:t>
            </a:r>
            <a:r>
              <a:rPr lang="en-GB" dirty="0"/>
              <a:t> </a:t>
            </a:r>
            <a:r>
              <a:rPr lang="en-GB" dirty="0" err="1"/>
              <a:t>accusantium</a:t>
            </a:r>
            <a:r>
              <a:rPr lang="en-GB" dirty="0"/>
              <a:t> </a:t>
            </a:r>
            <a:r>
              <a:rPr lang="en-GB" dirty="0" err="1"/>
              <a:t>doloremque</a:t>
            </a:r>
            <a:r>
              <a:rPr lang="en-GB" dirty="0"/>
              <a:t> </a:t>
            </a:r>
            <a:r>
              <a:rPr lang="en-GB" dirty="0" err="1"/>
              <a:t>laudantium</a:t>
            </a:r>
            <a:r>
              <a:rPr lang="en-GB" dirty="0"/>
              <a:t>, </a:t>
            </a:r>
            <a:r>
              <a:rPr lang="en-GB" dirty="0" err="1"/>
              <a:t>totam</a:t>
            </a:r>
            <a:r>
              <a:rPr lang="en-GB" dirty="0"/>
              <a:t> rem </a:t>
            </a:r>
            <a:r>
              <a:rPr lang="en-GB" dirty="0" err="1"/>
              <a:t>aperiam</a:t>
            </a:r>
            <a:r>
              <a:rPr lang="en-GB" dirty="0"/>
              <a:t>, </a:t>
            </a:r>
            <a:r>
              <a:rPr lang="en-GB" dirty="0" err="1"/>
              <a:t>eaque</a:t>
            </a:r>
            <a:r>
              <a:rPr lang="en-GB" dirty="0"/>
              <a:t> </a:t>
            </a:r>
            <a:r>
              <a:rPr lang="en-GB" dirty="0" err="1"/>
              <a:t>ipsa</a:t>
            </a:r>
            <a:r>
              <a:rPr lang="en-GB" dirty="0"/>
              <a:t> </a:t>
            </a:r>
            <a:r>
              <a:rPr lang="en-GB" dirty="0" err="1"/>
              <a:t>quae</a:t>
            </a:r>
            <a:r>
              <a:rPr lang="en-GB" dirty="0"/>
              <a:t> ab </a:t>
            </a:r>
            <a:r>
              <a:rPr lang="en-GB" dirty="0" err="1"/>
              <a:t>illo</a:t>
            </a:r>
            <a:r>
              <a:rPr lang="en-GB" dirty="0"/>
              <a:t> </a:t>
            </a:r>
            <a:r>
              <a:rPr lang="en-GB" dirty="0" err="1"/>
              <a:t>inventore</a:t>
            </a:r>
            <a:r>
              <a:rPr lang="en-GB" dirty="0"/>
              <a:t> </a:t>
            </a:r>
            <a:r>
              <a:rPr lang="en-GB" dirty="0" err="1"/>
              <a:t>veritatis</a:t>
            </a:r>
            <a:r>
              <a:rPr lang="en-GB" dirty="0"/>
              <a:t> et quasi </a:t>
            </a:r>
            <a:r>
              <a:rPr lang="en-GB" dirty="0" err="1"/>
              <a:t>architecto</a:t>
            </a:r>
            <a:r>
              <a:rPr lang="en-GB" dirty="0"/>
              <a:t> beatae vitae dicta sunt </a:t>
            </a:r>
            <a:r>
              <a:rPr lang="en-GB" dirty="0" err="1"/>
              <a:t>explicabo</a:t>
            </a:r>
            <a:r>
              <a:rPr lang="en-GB" dirty="0"/>
              <a:t>. Nemo </a:t>
            </a:r>
            <a:r>
              <a:rPr lang="en-GB" dirty="0" err="1"/>
              <a:t>enim</a:t>
            </a:r>
            <a:r>
              <a:rPr lang="en-GB" dirty="0"/>
              <a:t> </a:t>
            </a:r>
            <a:r>
              <a:rPr lang="en-GB" dirty="0" err="1"/>
              <a:t>ipsam</a:t>
            </a:r>
            <a:r>
              <a:rPr lang="en-GB" dirty="0"/>
              <a:t> </a:t>
            </a:r>
            <a:r>
              <a:rPr lang="en-GB" dirty="0" err="1"/>
              <a:t>voluptatem</a:t>
            </a:r>
            <a:r>
              <a:rPr lang="en-GB" dirty="0"/>
              <a:t> </a:t>
            </a:r>
            <a:r>
              <a:rPr lang="en-GB" dirty="0" err="1"/>
              <a:t>quia</a:t>
            </a:r>
            <a:r>
              <a:rPr lang="en-GB" dirty="0"/>
              <a:t> </a:t>
            </a:r>
            <a:r>
              <a:rPr lang="en-GB" dirty="0" err="1"/>
              <a:t>voluptas</a:t>
            </a:r>
            <a:r>
              <a:rPr lang="en-GB" dirty="0"/>
              <a:t> sit </a:t>
            </a:r>
            <a:r>
              <a:rPr lang="en-GB" dirty="0" err="1"/>
              <a:t>aspernatur</a:t>
            </a:r>
            <a:r>
              <a:rPr lang="en-GB" dirty="0"/>
              <a:t> </a:t>
            </a:r>
            <a:r>
              <a:rPr lang="en-GB" dirty="0" err="1"/>
              <a:t>aut</a:t>
            </a:r>
            <a:r>
              <a:rPr lang="en-GB" dirty="0"/>
              <a:t> </a:t>
            </a:r>
            <a:r>
              <a:rPr lang="en-GB" dirty="0" err="1"/>
              <a:t>odit</a:t>
            </a:r>
            <a:r>
              <a:rPr lang="en-GB" dirty="0"/>
              <a:t> </a:t>
            </a:r>
            <a:r>
              <a:rPr lang="en-GB" dirty="0" err="1"/>
              <a:t>aut</a:t>
            </a:r>
            <a:r>
              <a:rPr lang="en-GB" dirty="0"/>
              <a:t> fugit, </a:t>
            </a:r>
            <a:r>
              <a:rPr lang="en-GB" dirty="0" err="1"/>
              <a:t>sed</a:t>
            </a:r>
            <a:r>
              <a:rPr lang="en-GB" dirty="0"/>
              <a:t> </a:t>
            </a:r>
            <a:r>
              <a:rPr lang="en-GB" dirty="0" err="1"/>
              <a:t>quia</a:t>
            </a:r>
            <a:r>
              <a:rPr lang="en-GB" dirty="0"/>
              <a:t> </a:t>
            </a:r>
            <a:r>
              <a:rPr lang="en-GB" dirty="0" err="1"/>
              <a:t>consequuntur</a:t>
            </a:r>
            <a:r>
              <a:rPr lang="en-GB" dirty="0"/>
              <a:t> </a:t>
            </a:r>
            <a:r>
              <a:rPr lang="en-GB" dirty="0" err="1"/>
              <a:t>magni</a:t>
            </a:r>
            <a:r>
              <a:rPr lang="en-GB" dirty="0"/>
              <a:t> </a:t>
            </a:r>
            <a:r>
              <a:rPr lang="en-GB" dirty="0" err="1"/>
              <a:t>dolores</a:t>
            </a:r>
            <a:r>
              <a:rPr lang="en-GB" dirty="0"/>
              <a:t> </a:t>
            </a:r>
            <a:r>
              <a:rPr lang="en-GB" dirty="0" err="1"/>
              <a:t>eos</a:t>
            </a:r>
            <a:r>
              <a:rPr lang="en-GB" dirty="0"/>
              <a:t> qui </a:t>
            </a:r>
            <a:r>
              <a:rPr lang="en-GB" dirty="0" err="1"/>
              <a:t>ratione</a:t>
            </a:r>
            <a:r>
              <a:rPr lang="en-GB" dirty="0"/>
              <a:t> </a:t>
            </a:r>
            <a:r>
              <a:rPr lang="en-GB" dirty="0" err="1"/>
              <a:t>voluptatem</a:t>
            </a:r>
            <a:r>
              <a:rPr lang="en-GB" dirty="0"/>
              <a:t> </a:t>
            </a:r>
            <a:r>
              <a:rPr lang="en-GB" dirty="0" err="1"/>
              <a:t>sequi</a:t>
            </a:r>
            <a:r>
              <a:rPr lang="en-GB" dirty="0"/>
              <a:t> </a:t>
            </a:r>
            <a:r>
              <a:rPr lang="en-GB" dirty="0" err="1"/>
              <a:t>nesciunt</a:t>
            </a:r>
            <a:r>
              <a:rPr lang="en-GB" dirty="0"/>
              <a:t>. </a:t>
            </a:r>
            <a:r>
              <a:rPr lang="en-GB" dirty="0" err="1"/>
              <a:t>Neque</a:t>
            </a:r>
            <a:r>
              <a:rPr lang="en-GB" dirty="0"/>
              <a:t> </a:t>
            </a:r>
            <a:r>
              <a:rPr lang="en-GB" dirty="0" err="1"/>
              <a:t>porro</a:t>
            </a:r>
            <a:r>
              <a:rPr lang="en-GB" dirty="0"/>
              <a:t> </a:t>
            </a:r>
            <a:r>
              <a:rPr lang="en-GB" dirty="0" err="1"/>
              <a:t>quisquam</a:t>
            </a:r>
            <a:r>
              <a:rPr lang="en-GB" dirty="0"/>
              <a:t> </a:t>
            </a:r>
            <a:r>
              <a:rPr lang="en-GB" dirty="0" err="1"/>
              <a:t>est</a:t>
            </a:r>
            <a:r>
              <a:rPr lang="en-GB" dirty="0"/>
              <a:t>, qui </a:t>
            </a:r>
            <a:r>
              <a:rPr lang="en-GB" dirty="0" err="1"/>
              <a:t>dolorem</a:t>
            </a:r>
            <a:r>
              <a:rPr lang="en-GB" dirty="0"/>
              <a:t> ipsum </a:t>
            </a:r>
            <a:r>
              <a:rPr lang="en-GB" dirty="0" err="1"/>
              <a:t>quia</a:t>
            </a:r>
            <a:r>
              <a:rPr lang="en-GB" dirty="0"/>
              <a:t>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a:t>
            </a:r>
            <a:r>
              <a:rPr lang="en-GB" dirty="0"/>
              <a:t> </a:t>
            </a:r>
            <a:r>
              <a:rPr lang="en-GB" dirty="0" err="1"/>
              <a:t>velit</a:t>
            </a:r>
            <a:r>
              <a:rPr lang="en-GB" dirty="0"/>
              <a:t>, </a:t>
            </a:r>
            <a:r>
              <a:rPr lang="en-GB" dirty="0" err="1"/>
              <a:t>sed</a:t>
            </a:r>
            <a:r>
              <a:rPr lang="en-GB" dirty="0"/>
              <a:t> </a:t>
            </a:r>
            <a:r>
              <a:rPr lang="en-GB" dirty="0" err="1"/>
              <a:t>quia</a:t>
            </a:r>
            <a:r>
              <a:rPr lang="en-GB" dirty="0"/>
              <a:t> non </a:t>
            </a:r>
            <a:r>
              <a:rPr lang="en-GB" dirty="0" err="1"/>
              <a:t>numquam</a:t>
            </a:r>
            <a:r>
              <a:rPr lang="en-GB" dirty="0"/>
              <a:t> </a:t>
            </a:r>
            <a:r>
              <a:rPr lang="en-GB" dirty="0" err="1"/>
              <a:t>eius</a:t>
            </a:r>
            <a:r>
              <a:rPr lang="en-GB" dirty="0"/>
              <a:t> </a:t>
            </a:r>
            <a:r>
              <a:rPr lang="en-GB" dirty="0" err="1"/>
              <a:t>modi</a:t>
            </a:r>
            <a:r>
              <a:rPr lang="en-GB" dirty="0"/>
              <a:t> </a:t>
            </a:r>
            <a:r>
              <a:rPr lang="en-GB" dirty="0" err="1"/>
              <a:t>tempora</a:t>
            </a:r>
            <a:r>
              <a:rPr lang="en-GB" dirty="0"/>
              <a:t> </a:t>
            </a:r>
            <a:r>
              <a:rPr lang="en-GB" dirty="0" err="1"/>
              <a:t>incidunt</a:t>
            </a:r>
            <a:r>
              <a:rPr lang="en-GB" dirty="0"/>
              <a:t> </a:t>
            </a:r>
            <a:r>
              <a:rPr lang="en-GB" dirty="0" err="1"/>
              <a:t>ut</a:t>
            </a:r>
            <a:r>
              <a:rPr lang="en-GB" dirty="0"/>
              <a:t> labore et dolore </a:t>
            </a:r>
            <a:r>
              <a:rPr lang="en-GB" dirty="0" err="1"/>
              <a:t>magnam</a:t>
            </a:r>
            <a:r>
              <a:rPr lang="en-GB" dirty="0"/>
              <a:t> </a:t>
            </a:r>
            <a:r>
              <a:rPr lang="en-GB" dirty="0" err="1"/>
              <a:t>aliquam</a:t>
            </a:r>
            <a:r>
              <a:rPr lang="en-GB" dirty="0"/>
              <a:t> </a:t>
            </a:r>
            <a:r>
              <a:rPr lang="en-GB" dirty="0" err="1"/>
              <a:t>quaerat</a:t>
            </a:r>
            <a:r>
              <a:rPr lang="en-GB" dirty="0"/>
              <a:t> </a:t>
            </a:r>
            <a:r>
              <a:rPr lang="en-GB" err="1"/>
              <a:t>voluptatem</a:t>
            </a:r>
            <a:r>
              <a:rPr lang="en-GB"/>
              <a:t>.</a:t>
            </a:r>
            <a:endParaRPr lang="en-GB" dirty="0"/>
          </a:p>
        </p:txBody>
      </p:sp>
      <p:sp>
        <p:nvSpPr>
          <p:cNvPr id="4" name="Text Placeholder 2">
            <a:extLst>
              <a:ext uri="{FF2B5EF4-FFF2-40B4-BE49-F238E27FC236}">
                <a16:creationId xmlns:a16="http://schemas.microsoft.com/office/drawing/2014/main" id="{F5A256AF-D608-21F3-EDE3-B2B7738BFC28}"/>
              </a:ext>
            </a:extLst>
          </p:cNvPr>
          <p:cNvSpPr>
            <a:spLocks noGrp="1"/>
          </p:cNvSpPr>
          <p:nvPr>
            <p:ph type="body" sz="quarter" idx="23" hasCustomPrompt="1"/>
          </p:nvPr>
        </p:nvSpPr>
        <p:spPr>
          <a:xfrm>
            <a:off x="6420342" y="1833563"/>
            <a:ext cx="5113337" cy="3971925"/>
          </a:xfrm>
        </p:spPr>
        <p:txBody>
          <a:bodyPr/>
          <a:lstStyle>
            <a:lvl1pPr marL="0" indent="0">
              <a:buNone/>
              <a:defRPr/>
            </a:lvl1pPr>
          </a:lstStyle>
          <a:p>
            <a:pPr lvl="0"/>
            <a:r>
              <a:rPr lang="en-GB" dirty="0" err="1"/>
              <a:t>Sed</a:t>
            </a:r>
            <a:r>
              <a:rPr lang="en-GB" dirty="0"/>
              <a:t> </a:t>
            </a:r>
            <a:r>
              <a:rPr lang="en-GB" dirty="0" err="1"/>
              <a:t>ut</a:t>
            </a:r>
            <a:r>
              <a:rPr lang="en-GB" dirty="0"/>
              <a:t> </a:t>
            </a:r>
            <a:r>
              <a:rPr lang="en-GB" dirty="0" err="1"/>
              <a:t>perspiciatis</a:t>
            </a:r>
            <a:r>
              <a:rPr lang="en-GB" dirty="0"/>
              <a:t> </a:t>
            </a:r>
            <a:r>
              <a:rPr lang="en-GB" dirty="0" err="1"/>
              <a:t>unde</a:t>
            </a:r>
            <a:r>
              <a:rPr lang="en-GB" dirty="0"/>
              <a:t> </a:t>
            </a:r>
            <a:r>
              <a:rPr lang="en-GB" dirty="0" err="1"/>
              <a:t>omnis</a:t>
            </a:r>
            <a:r>
              <a:rPr lang="en-GB" dirty="0"/>
              <a:t> </a:t>
            </a:r>
            <a:r>
              <a:rPr lang="en-GB" dirty="0" err="1"/>
              <a:t>iste</a:t>
            </a:r>
            <a:r>
              <a:rPr lang="en-GB" dirty="0"/>
              <a:t> </a:t>
            </a:r>
            <a:r>
              <a:rPr lang="en-GB" dirty="0" err="1"/>
              <a:t>natus</a:t>
            </a:r>
            <a:r>
              <a:rPr lang="en-GB" dirty="0"/>
              <a:t> error sit </a:t>
            </a:r>
            <a:r>
              <a:rPr lang="en-GB" dirty="0" err="1"/>
              <a:t>voluptatem</a:t>
            </a:r>
            <a:r>
              <a:rPr lang="en-GB" dirty="0"/>
              <a:t> </a:t>
            </a:r>
            <a:r>
              <a:rPr lang="en-GB" dirty="0" err="1"/>
              <a:t>accusantium</a:t>
            </a:r>
            <a:r>
              <a:rPr lang="en-GB" dirty="0"/>
              <a:t> </a:t>
            </a:r>
            <a:r>
              <a:rPr lang="en-GB" dirty="0" err="1"/>
              <a:t>doloremque</a:t>
            </a:r>
            <a:r>
              <a:rPr lang="en-GB" dirty="0"/>
              <a:t> </a:t>
            </a:r>
            <a:r>
              <a:rPr lang="en-GB" dirty="0" err="1"/>
              <a:t>laudantium</a:t>
            </a:r>
            <a:r>
              <a:rPr lang="en-GB" dirty="0"/>
              <a:t>, </a:t>
            </a:r>
            <a:r>
              <a:rPr lang="en-GB" dirty="0" err="1"/>
              <a:t>totam</a:t>
            </a:r>
            <a:r>
              <a:rPr lang="en-GB" dirty="0"/>
              <a:t> rem </a:t>
            </a:r>
            <a:r>
              <a:rPr lang="en-GB" dirty="0" err="1"/>
              <a:t>aperiam</a:t>
            </a:r>
            <a:r>
              <a:rPr lang="en-GB" dirty="0"/>
              <a:t>, </a:t>
            </a:r>
            <a:r>
              <a:rPr lang="en-GB" dirty="0" err="1"/>
              <a:t>eaque</a:t>
            </a:r>
            <a:r>
              <a:rPr lang="en-GB" dirty="0"/>
              <a:t> </a:t>
            </a:r>
            <a:r>
              <a:rPr lang="en-GB" dirty="0" err="1"/>
              <a:t>ipsa</a:t>
            </a:r>
            <a:r>
              <a:rPr lang="en-GB" dirty="0"/>
              <a:t> </a:t>
            </a:r>
            <a:r>
              <a:rPr lang="en-GB" dirty="0" err="1"/>
              <a:t>quae</a:t>
            </a:r>
            <a:r>
              <a:rPr lang="en-GB" dirty="0"/>
              <a:t> ab </a:t>
            </a:r>
            <a:r>
              <a:rPr lang="en-GB" dirty="0" err="1"/>
              <a:t>illo</a:t>
            </a:r>
            <a:r>
              <a:rPr lang="en-GB" dirty="0"/>
              <a:t> </a:t>
            </a:r>
            <a:r>
              <a:rPr lang="en-GB" dirty="0" err="1"/>
              <a:t>inventore</a:t>
            </a:r>
            <a:r>
              <a:rPr lang="en-GB" dirty="0"/>
              <a:t> </a:t>
            </a:r>
            <a:r>
              <a:rPr lang="en-GB" dirty="0" err="1"/>
              <a:t>veritatis</a:t>
            </a:r>
            <a:r>
              <a:rPr lang="en-GB" dirty="0"/>
              <a:t> et quasi </a:t>
            </a:r>
            <a:r>
              <a:rPr lang="en-GB" dirty="0" err="1"/>
              <a:t>architecto</a:t>
            </a:r>
            <a:r>
              <a:rPr lang="en-GB" dirty="0"/>
              <a:t> beatae vitae dicta sunt </a:t>
            </a:r>
            <a:r>
              <a:rPr lang="en-GB" dirty="0" err="1"/>
              <a:t>explicabo</a:t>
            </a:r>
            <a:r>
              <a:rPr lang="en-GB" dirty="0"/>
              <a:t>. Nemo </a:t>
            </a:r>
            <a:r>
              <a:rPr lang="en-GB" dirty="0" err="1"/>
              <a:t>enim</a:t>
            </a:r>
            <a:r>
              <a:rPr lang="en-GB" dirty="0"/>
              <a:t> </a:t>
            </a:r>
            <a:r>
              <a:rPr lang="en-GB" dirty="0" err="1"/>
              <a:t>ipsam</a:t>
            </a:r>
            <a:r>
              <a:rPr lang="en-GB" dirty="0"/>
              <a:t> </a:t>
            </a:r>
            <a:r>
              <a:rPr lang="en-GB" dirty="0" err="1"/>
              <a:t>voluptatem</a:t>
            </a:r>
            <a:r>
              <a:rPr lang="en-GB" dirty="0"/>
              <a:t> </a:t>
            </a:r>
            <a:r>
              <a:rPr lang="en-GB" dirty="0" err="1"/>
              <a:t>quia</a:t>
            </a:r>
            <a:r>
              <a:rPr lang="en-GB" dirty="0"/>
              <a:t> </a:t>
            </a:r>
            <a:r>
              <a:rPr lang="en-GB" dirty="0" err="1"/>
              <a:t>voluptas</a:t>
            </a:r>
            <a:r>
              <a:rPr lang="en-GB" dirty="0"/>
              <a:t> sit </a:t>
            </a:r>
            <a:r>
              <a:rPr lang="en-GB" dirty="0" err="1"/>
              <a:t>aspernatur</a:t>
            </a:r>
            <a:r>
              <a:rPr lang="en-GB" dirty="0"/>
              <a:t> </a:t>
            </a:r>
            <a:r>
              <a:rPr lang="en-GB" dirty="0" err="1"/>
              <a:t>aut</a:t>
            </a:r>
            <a:r>
              <a:rPr lang="en-GB" dirty="0"/>
              <a:t> </a:t>
            </a:r>
            <a:r>
              <a:rPr lang="en-GB" dirty="0" err="1"/>
              <a:t>odit</a:t>
            </a:r>
            <a:r>
              <a:rPr lang="en-GB" dirty="0"/>
              <a:t> </a:t>
            </a:r>
            <a:r>
              <a:rPr lang="en-GB" dirty="0" err="1"/>
              <a:t>aut</a:t>
            </a:r>
            <a:r>
              <a:rPr lang="en-GB" dirty="0"/>
              <a:t> fugit, </a:t>
            </a:r>
            <a:r>
              <a:rPr lang="en-GB" dirty="0" err="1"/>
              <a:t>sed</a:t>
            </a:r>
            <a:r>
              <a:rPr lang="en-GB" dirty="0"/>
              <a:t> </a:t>
            </a:r>
            <a:r>
              <a:rPr lang="en-GB" dirty="0" err="1"/>
              <a:t>quia</a:t>
            </a:r>
            <a:r>
              <a:rPr lang="en-GB" dirty="0"/>
              <a:t> </a:t>
            </a:r>
            <a:r>
              <a:rPr lang="en-GB" dirty="0" err="1"/>
              <a:t>consequuntur</a:t>
            </a:r>
            <a:r>
              <a:rPr lang="en-GB" dirty="0"/>
              <a:t> </a:t>
            </a:r>
            <a:r>
              <a:rPr lang="en-GB" dirty="0" err="1"/>
              <a:t>magni</a:t>
            </a:r>
            <a:r>
              <a:rPr lang="en-GB" dirty="0"/>
              <a:t> </a:t>
            </a:r>
            <a:r>
              <a:rPr lang="en-GB" dirty="0" err="1"/>
              <a:t>dolores</a:t>
            </a:r>
            <a:r>
              <a:rPr lang="en-GB" dirty="0"/>
              <a:t> </a:t>
            </a:r>
            <a:r>
              <a:rPr lang="en-GB" dirty="0" err="1"/>
              <a:t>eos</a:t>
            </a:r>
            <a:r>
              <a:rPr lang="en-GB" dirty="0"/>
              <a:t> qui </a:t>
            </a:r>
            <a:r>
              <a:rPr lang="en-GB" dirty="0" err="1"/>
              <a:t>ratione</a:t>
            </a:r>
            <a:r>
              <a:rPr lang="en-GB" dirty="0"/>
              <a:t> </a:t>
            </a:r>
            <a:r>
              <a:rPr lang="en-GB" dirty="0" err="1"/>
              <a:t>voluptatem</a:t>
            </a:r>
            <a:r>
              <a:rPr lang="en-GB" dirty="0"/>
              <a:t> </a:t>
            </a:r>
            <a:r>
              <a:rPr lang="en-GB" dirty="0" err="1"/>
              <a:t>sequi</a:t>
            </a:r>
            <a:r>
              <a:rPr lang="en-GB" dirty="0"/>
              <a:t> </a:t>
            </a:r>
            <a:r>
              <a:rPr lang="en-GB" dirty="0" err="1"/>
              <a:t>nesciunt</a:t>
            </a:r>
            <a:r>
              <a:rPr lang="en-GB" dirty="0"/>
              <a:t>. </a:t>
            </a:r>
            <a:r>
              <a:rPr lang="en-GB" dirty="0" err="1"/>
              <a:t>Neque</a:t>
            </a:r>
            <a:r>
              <a:rPr lang="en-GB" dirty="0"/>
              <a:t> </a:t>
            </a:r>
            <a:r>
              <a:rPr lang="en-GB" dirty="0" err="1"/>
              <a:t>porro</a:t>
            </a:r>
            <a:r>
              <a:rPr lang="en-GB" dirty="0"/>
              <a:t> </a:t>
            </a:r>
            <a:r>
              <a:rPr lang="en-GB" dirty="0" err="1"/>
              <a:t>quisquam</a:t>
            </a:r>
            <a:r>
              <a:rPr lang="en-GB" dirty="0"/>
              <a:t> </a:t>
            </a:r>
            <a:r>
              <a:rPr lang="en-GB" dirty="0" err="1"/>
              <a:t>est</a:t>
            </a:r>
            <a:r>
              <a:rPr lang="en-GB" dirty="0"/>
              <a:t>, qui </a:t>
            </a:r>
            <a:r>
              <a:rPr lang="en-GB" dirty="0" err="1"/>
              <a:t>dolorem</a:t>
            </a:r>
            <a:r>
              <a:rPr lang="en-GB" dirty="0"/>
              <a:t> ipsum </a:t>
            </a:r>
            <a:r>
              <a:rPr lang="en-GB" dirty="0" err="1"/>
              <a:t>quia</a:t>
            </a:r>
            <a:r>
              <a:rPr lang="en-GB" dirty="0"/>
              <a:t>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a:t>
            </a:r>
            <a:r>
              <a:rPr lang="en-GB" dirty="0"/>
              <a:t> </a:t>
            </a:r>
            <a:r>
              <a:rPr lang="en-GB" dirty="0" err="1"/>
              <a:t>velit</a:t>
            </a:r>
            <a:r>
              <a:rPr lang="en-GB" dirty="0"/>
              <a:t>, </a:t>
            </a:r>
            <a:r>
              <a:rPr lang="en-GB" dirty="0" err="1"/>
              <a:t>sed</a:t>
            </a:r>
            <a:r>
              <a:rPr lang="en-GB" dirty="0"/>
              <a:t> </a:t>
            </a:r>
            <a:r>
              <a:rPr lang="en-GB" dirty="0" err="1"/>
              <a:t>quia</a:t>
            </a:r>
            <a:r>
              <a:rPr lang="en-GB" dirty="0"/>
              <a:t> non </a:t>
            </a:r>
            <a:r>
              <a:rPr lang="en-GB" dirty="0" err="1"/>
              <a:t>numquam</a:t>
            </a:r>
            <a:r>
              <a:rPr lang="en-GB" dirty="0"/>
              <a:t> </a:t>
            </a:r>
            <a:r>
              <a:rPr lang="en-GB" dirty="0" err="1"/>
              <a:t>eius</a:t>
            </a:r>
            <a:r>
              <a:rPr lang="en-GB" dirty="0"/>
              <a:t> </a:t>
            </a:r>
            <a:r>
              <a:rPr lang="en-GB" dirty="0" err="1"/>
              <a:t>modi</a:t>
            </a:r>
            <a:r>
              <a:rPr lang="en-GB" dirty="0"/>
              <a:t> </a:t>
            </a:r>
            <a:r>
              <a:rPr lang="en-GB" dirty="0" err="1"/>
              <a:t>tempora</a:t>
            </a:r>
            <a:r>
              <a:rPr lang="en-GB" dirty="0"/>
              <a:t> </a:t>
            </a:r>
            <a:r>
              <a:rPr lang="en-GB" dirty="0" err="1"/>
              <a:t>incidunt</a:t>
            </a:r>
            <a:r>
              <a:rPr lang="en-GB" dirty="0"/>
              <a:t> </a:t>
            </a:r>
            <a:r>
              <a:rPr lang="en-GB" dirty="0" err="1"/>
              <a:t>ut</a:t>
            </a:r>
            <a:r>
              <a:rPr lang="en-GB" dirty="0"/>
              <a:t> labore et dolore </a:t>
            </a:r>
            <a:r>
              <a:rPr lang="en-GB" dirty="0" err="1"/>
              <a:t>magnam</a:t>
            </a:r>
            <a:r>
              <a:rPr lang="en-GB" dirty="0"/>
              <a:t> </a:t>
            </a:r>
            <a:r>
              <a:rPr lang="en-GB" dirty="0" err="1"/>
              <a:t>aliquam</a:t>
            </a:r>
            <a:r>
              <a:rPr lang="en-GB" dirty="0"/>
              <a:t> </a:t>
            </a:r>
            <a:r>
              <a:rPr lang="en-GB" dirty="0" err="1"/>
              <a:t>quaerat</a:t>
            </a:r>
            <a:r>
              <a:rPr lang="en-GB" dirty="0"/>
              <a:t> </a:t>
            </a:r>
            <a:r>
              <a:rPr lang="en-GB" err="1"/>
              <a:t>voluptatem</a:t>
            </a:r>
            <a:r>
              <a:rPr lang="en-GB"/>
              <a:t>.</a:t>
            </a:r>
            <a:endParaRPr lang="en-GB" dirty="0"/>
          </a:p>
        </p:txBody>
      </p:sp>
      <p:sp>
        <p:nvSpPr>
          <p:cNvPr id="2" name="Text Placeholder 9">
            <a:extLst>
              <a:ext uri="{FF2B5EF4-FFF2-40B4-BE49-F238E27FC236}">
                <a16:creationId xmlns:a16="http://schemas.microsoft.com/office/drawing/2014/main" id="{A46896B8-2F78-CBAA-4C2C-358B3DF25EF1}"/>
              </a:ext>
            </a:extLst>
          </p:cNvPr>
          <p:cNvSpPr>
            <a:spLocks noGrp="1"/>
          </p:cNvSpPr>
          <p:nvPr>
            <p:ph type="body" sz="quarter" idx="24" hasCustomPrompt="1"/>
          </p:nvPr>
        </p:nvSpPr>
        <p:spPr>
          <a:xfrm>
            <a:off x="674159" y="1051658"/>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dirty="0"/>
              <a:t>Subheading </a:t>
            </a:r>
            <a:r>
              <a:rPr lang="en-GB"/>
              <a:t>goes here</a:t>
            </a:r>
            <a:endParaRPr lang="en-GB" dirty="0"/>
          </a:p>
        </p:txBody>
      </p:sp>
    </p:spTree>
    <p:extLst>
      <p:ext uri="{BB962C8B-B14F-4D97-AF65-F5344CB8AC3E}">
        <p14:creationId xmlns:p14="http://schemas.microsoft.com/office/powerpoint/2010/main" val="2552416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hapter Title">
    <p:spTree>
      <p:nvGrpSpPr>
        <p:cNvPr id="1" name=""/>
        <p:cNvGrpSpPr/>
        <p:nvPr/>
      </p:nvGrpSpPr>
      <p:grpSpPr>
        <a:xfrm>
          <a:off x="0" y="0"/>
          <a:ext cx="0" cy="0"/>
          <a:chOff x="0" y="0"/>
          <a:chExt cx="0" cy="0"/>
        </a:xfrm>
      </p:grpSpPr>
      <p:sp>
        <p:nvSpPr>
          <p:cNvPr id="3" name="Graphic 48">
            <a:extLst>
              <a:ext uri="{FF2B5EF4-FFF2-40B4-BE49-F238E27FC236}">
                <a16:creationId xmlns:a16="http://schemas.microsoft.com/office/drawing/2014/main" id="{75DAC041-23E1-D93E-FCC2-75B842262D09}"/>
              </a:ext>
            </a:extLst>
          </p:cNvPr>
          <p:cNvSpPr/>
          <p:nvPr userDrawn="1"/>
        </p:nvSpPr>
        <p:spPr>
          <a:xfrm>
            <a:off x="674768" y="802691"/>
            <a:ext cx="5097382" cy="4749380"/>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tx1"/>
          </a:solidFill>
          <a:ln w="9449" cap="flat">
            <a:noFill/>
            <a:prstDash val="solid"/>
            <a:miter/>
          </a:ln>
        </p:spPr>
        <p:txBody>
          <a:bodyPr rtlCol="0" anchor="ctr"/>
          <a:lstStyle/>
          <a:p>
            <a:endParaRPr lang="en-GB" dirty="0"/>
          </a:p>
        </p:txBody>
      </p:sp>
      <p:sp>
        <p:nvSpPr>
          <p:cNvPr id="2" name="Title Placeholder 1">
            <a:extLst>
              <a:ext uri="{FF2B5EF4-FFF2-40B4-BE49-F238E27FC236}">
                <a16:creationId xmlns:a16="http://schemas.microsoft.com/office/drawing/2014/main" id="{21ABC006-C4FF-A1F4-36AF-0C94003C2FA9}"/>
              </a:ext>
            </a:extLst>
          </p:cNvPr>
          <p:cNvSpPr>
            <a:spLocks noGrp="1"/>
          </p:cNvSpPr>
          <p:nvPr>
            <p:ph type="title" hasCustomPrompt="1"/>
          </p:nvPr>
        </p:nvSpPr>
        <p:spPr>
          <a:xfrm>
            <a:off x="6419849" y="549275"/>
            <a:ext cx="5113339" cy="5256213"/>
          </a:xfrm>
          <a:prstGeom prst="rect">
            <a:avLst/>
          </a:prstGeom>
        </p:spPr>
        <p:txBody>
          <a:bodyPr vert="horz" lIns="0" tIns="0" rIns="0" bIns="0" rtlCol="0" anchor="ctr">
            <a:normAutofit/>
          </a:bodyPr>
          <a:lstStyle>
            <a:lvl1pPr>
              <a:lnSpc>
                <a:spcPct val="90000"/>
              </a:lnSpc>
              <a:defRPr sz="6500" b="1">
                <a:solidFill>
                  <a:srgbClr val="00625F"/>
                </a:solidFill>
              </a:defRPr>
            </a:lvl1pPr>
          </a:lstStyle>
          <a:p>
            <a:r>
              <a:rPr lang="en-GB" dirty="0"/>
              <a:t>Chapter Slide Title</a:t>
            </a:r>
          </a:p>
        </p:txBody>
      </p:sp>
      <p:sp>
        <p:nvSpPr>
          <p:cNvPr id="4" name="Text Placeholder 3">
            <a:extLst>
              <a:ext uri="{FF2B5EF4-FFF2-40B4-BE49-F238E27FC236}">
                <a16:creationId xmlns:a16="http://schemas.microsoft.com/office/drawing/2014/main" id="{F9D378FF-8076-D182-237A-7F57163EC86A}"/>
              </a:ext>
            </a:extLst>
          </p:cNvPr>
          <p:cNvSpPr>
            <a:spLocks noGrp="1"/>
          </p:cNvSpPr>
          <p:nvPr>
            <p:ph type="body" sz="quarter" idx="10" hasCustomPrompt="1"/>
          </p:nvPr>
        </p:nvSpPr>
        <p:spPr>
          <a:xfrm>
            <a:off x="674768" y="1880701"/>
            <a:ext cx="5097382" cy="2593361"/>
          </a:xfrm>
          <a:prstGeom prst="rect">
            <a:avLst/>
          </a:prstGeom>
        </p:spPr>
        <p:txBody>
          <a:bodyPr anchor="ctr">
            <a:noAutofit/>
          </a:bodyPr>
          <a:lstStyle>
            <a:lvl1pPr marL="0" indent="0" algn="ctr">
              <a:lnSpc>
                <a:spcPct val="100000"/>
              </a:lnSpc>
              <a:spcBef>
                <a:spcPts val="0"/>
              </a:spcBef>
              <a:buNone/>
              <a:defRPr sz="25000">
                <a:solidFill>
                  <a:schemeClr val="accent2"/>
                </a:solidFill>
              </a:defRPr>
            </a:lvl1pPr>
          </a:lstStyle>
          <a:p>
            <a:pPr lvl="0"/>
            <a:r>
              <a:rPr lang="en-GB" dirty="0"/>
              <a:t>01</a:t>
            </a:r>
          </a:p>
        </p:txBody>
      </p:sp>
    </p:spTree>
    <p:extLst>
      <p:ext uri="{BB962C8B-B14F-4D97-AF65-F5344CB8AC3E}">
        <p14:creationId xmlns:p14="http://schemas.microsoft.com/office/powerpoint/2010/main" val="865204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55" presetClass="entr" presetSubtype="0" fill="hold" grpId="0" nodeType="withEffect">
                                  <p:stCondLst>
                                    <p:cond delay="750"/>
                                  </p:stCondLst>
                                  <p:iterate type="lt">
                                    <p:tmPct val="25000"/>
                                  </p:iterate>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cBhvr>
                                        <p:cTn id="11" dur="400" fill="hold"/>
                                        <p:tgtEl>
                                          <p:spTgt spid="4">
                                            <p:txEl>
                                              <p:pRg st="0" end="0"/>
                                            </p:txEl>
                                          </p:spTgt>
                                        </p:tgtEl>
                                        <p:attrNameLst>
                                          <p:attrName>ppt_w</p:attrName>
                                        </p:attrNameLst>
                                      </p:cBhvr>
                                      <p:tavLst>
                                        <p:tav tm="0">
                                          <p:val>
                                            <p:strVal val="#ppt_w*0.70"/>
                                          </p:val>
                                        </p:tav>
                                        <p:tav tm="100000">
                                          <p:val>
                                            <p:strVal val="#ppt_w"/>
                                          </p:val>
                                        </p:tav>
                                      </p:tavLst>
                                    </p:anim>
                                    <p:anim calcmode="lin" valueType="num">
                                      <p:cBhvr>
                                        <p:cTn id="12" dur="400" fill="hold"/>
                                        <p:tgtEl>
                                          <p:spTgt spid="4">
                                            <p:txEl>
                                              <p:pRg st="0" end="0"/>
                                            </p:txEl>
                                          </p:spTgt>
                                        </p:tgtEl>
                                        <p:attrNameLst>
                                          <p:attrName>ppt_h</p:attrName>
                                        </p:attrNameLst>
                                      </p:cBhvr>
                                      <p:tavLst>
                                        <p:tav tm="0">
                                          <p:val>
                                            <p:strVal val="#ppt_h"/>
                                          </p:val>
                                        </p:tav>
                                        <p:tav tm="100000">
                                          <p:val>
                                            <p:strVal val="#ppt_h"/>
                                          </p:val>
                                        </p:tav>
                                      </p:tavLst>
                                    </p:anim>
                                    <p:animEffect transition="in" filter="fade">
                                      <p:cBhvr>
                                        <p:cTn id="13" dur="400"/>
                                        <p:tgtEl>
                                          <p:spTgt spid="4">
                                            <p:txEl>
                                              <p:pRg st="0" end="0"/>
                                            </p:txEl>
                                          </p:spTgt>
                                        </p:tgtEl>
                                      </p:cBhvr>
                                    </p:animEffect>
                                  </p:childTnLst>
                                </p:cTn>
                              </p:par>
                              <p:par>
                                <p:cTn id="14" presetID="55" presetClass="entr" presetSubtype="0" fill="hold" grpId="0" nodeType="withEffect">
                                  <p:stCondLst>
                                    <p:cond delay="1000"/>
                                  </p:stCondLst>
                                  <p:iterate type="lt">
                                    <p:tmPct val="10000"/>
                                  </p:iterate>
                                  <p:childTnLst>
                                    <p:set>
                                      <p:cBhvr>
                                        <p:cTn id="15" dur="1" fill="hold">
                                          <p:stCondLst>
                                            <p:cond delay="0"/>
                                          </p:stCondLst>
                                        </p:cTn>
                                        <p:tgtEl>
                                          <p:spTgt spid="2"/>
                                        </p:tgtEl>
                                        <p:attrNameLst>
                                          <p:attrName>style.visibility</p:attrName>
                                        </p:attrNameLst>
                                      </p:cBhvr>
                                      <p:to>
                                        <p:strVal val="visible"/>
                                      </p:to>
                                    </p:set>
                                    <p:anim calcmode="lin" valueType="num">
                                      <p:cBhvr>
                                        <p:cTn id="16" dur="400" fill="hold"/>
                                        <p:tgtEl>
                                          <p:spTgt spid="2"/>
                                        </p:tgtEl>
                                        <p:attrNameLst>
                                          <p:attrName>ppt_w</p:attrName>
                                        </p:attrNameLst>
                                      </p:cBhvr>
                                      <p:tavLst>
                                        <p:tav tm="0">
                                          <p:val>
                                            <p:strVal val="#ppt_w*0.70"/>
                                          </p:val>
                                        </p:tav>
                                        <p:tav tm="100000">
                                          <p:val>
                                            <p:strVal val="#ppt_w"/>
                                          </p:val>
                                        </p:tav>
                                      </p:tavLst>
                                    </p:anim>
                                    <p:anim calcmode="lin" valueType="num">
                                      <p:cBhvr>
                                        <p:cTn id="17" dur="400" fill="hold"/>
                                        <p:tgtEl>
                                          <p:spTgt spid="2"/>
                                        </p:tgtEl>
                                        <p:attrNameLst>
                                          <p:attrName>ppt_h</p:attrName>
                                        </p:attrNameLst>
                                      </p:cBhvr>
                                      <p:tavLst>
                                        <p:tav tm="0">
                                          <p:val>
                                            <p:strVal val="#ppt_h"/>
                                          </p:val>
                                        </p:tav>
                                        <p:tav tm="100000">
                                          <p:val>
                                            <p:strVal val="#ppt_h"/>
                                          </p:val>
                                        </p:tav>
                                      </p:tavLst>
                                    </p:anim>
                                    <p:animEffect transition="in" filter="fade">
                                      <p:cBhvr>
                                        <p:cTn id="18"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p:bldP spid="4" grpId="0" build="p"/>
    </p:bldLst>
  </p:timing>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sp>
        <p:nvSpPr>
          <p:cNvPr id="3" name="Graphic 48">
            <a:extLst>
              <a:ext uri="{FF2B5EF4-FFF2-40B4-BE49-F238E27FC236}">
                <a16:creationId xmlns:a16="http://schemas.microsoft.com/office/drawing/2014/main" id="{75DAC041-23E1-D93E-FCC2-75B842262D09}"/>
              </a:ext>
            </a:extLst>
          </p:cNvPr>
          <p:cNvSpPr/>
          <p:nvPr userDrawn="1"/>
        </p:nvSpPr>
        <p:spPr>
          <a:xfrm>
            <a:off x="674768" y="802691"/>
            <a:ext cx="5097382" cy="4749380"/>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tx1"/>
          </a:solidFill>
          <a:ln w="9449" cap="flat">
            <a:noFill/>
            <a:prstDash val="solid"/>
            <a:miter/>
          </a:ln>
        </p:spPr>
        <p:txBody>
          <a:bodyPr rtlCol="0" anchor="ctr"/>
          <a:lstStyle/>
          <a:p>
            <a:endParaRPr lang="en-GB" dirty="0"/>
          </a:p>
        </p:txBody>
      </p:sp>
      <p:sp>
        <p:nvSpPr>
          <p:cNvPr id="2" name="Title Placeholder 1">
            <a:extLst>
              <a:ext uri="{FF2B5EF4-FFF2-40B4-BE49-F238E27FC236}">
                <a16:creationId xmlns:a16="http://schemas.microsoft.com/office/drawing/2014/main" id="{21ABC006-C4FF-A1F4-36AF-0C94003C2FA9}"/>
              </a:ext>
            </a:extLst>
          </p:cNvPr>
          <p:cNvSpPr>
            <a:spLocks noGrp="1"/>
          </p:cNvSpPr>
          <p:nvPr>
            <p:ph type="title" hasCustomPrompt="1"/>
          </p:nvPr>
        </p:nvSpPr>
        <p:spPr>
          <a:xfrm>
            <a:off x="6419849" y="549275"/>
            <a:ext cx="5113339" cy="5256213"/>
          </a:xfrm>
          <a:prstGeom prst="rect">
            <a:avLst/>
          </a:prstGeom>
        </p:spPr>
        <p:txBody>
          <a:bodyPr vert="horz" lIns="0" tIns="0" rIns="0" bIns="0" rtlCol="0" anchor="ctr">
            <a:normAutofit/>
          </a:bodyPr>
          <a:lstStyle>
            <a:lvl1pPr>
              <a:lnSpc>
                <a:spcPct val="90000"/>
              </a:lnSpc>
              <a:defRPr sz="6500" b="1">
                <a:solidFill>
                  <a:srgbClr val="00625F"/>
                </a:solidFill>
              </a:defRPr>
            </a:lvl1pPr>
          </a:lstStyle>
          <a:p>
            <a:r>
              <a:rPr lang="en-GB" dirty="0"/>
              <a:t>Chapter Slide Title</a:t>
            </a:r>
          </a:p>
        </p:txBody>
      </p:sp>
      <p:sp>
        <p:nvSpPr>
          <p:cNvPr id="4" name="Text Placeholder 3">
            <a:extLst>
              <a:ext uri="{FF2B5EF4-FFF2-40B4-BE49-F238E27FC236}">
                <a16:creationId xmlns:a16="http://schemas.microsoft.com/office/drawing/2014/main" id="{F9D378FF-8076-D182-237A-7F57163EC86A}"/>
              </a:ext>
            </a:extLst>
          </p:cNvPr>
          <p:cNvSpPr>
            <a:spLocks noGrp="1"/>
          </p:cNvSpPr>
          <p:nvPr>
            <p:ph type="body" sz="quarter" idx="10" hasCustomPrompt="1"/>
          </p:nvPr>
        </p:nvSpPr>
        <p:spPr>
          <a:xfrm>
            <a:off x="674768" y="1880701"/>
            <a:ext cx="5097382" cy="2593361"/>
          </a:xfrm>
          <a:prstGeom prst="rect">
            <a:avLst/>
          </a:prstGeom>
        </p:spPr>
        <p:txBody>
          <a:bodyPr anchor="ctr">
            <a:noAutofit/>
          </a:bodyPr>
          <a:lstStyle>
            <a:lvl1pPr marL="0" indent="0" algn="ctr">
              <a:lnSpc>
                <a:spcPct val="100000"/>
              </a:lnSpc>
              <a:spcBef>
                <a:spcPts val="0"/>
              </a:spcBef>
              <a:buNone/>
              <a:defRPr sz="25000"/>
            </a:lvl1pPr>
          </a:lstStyle>
          <a:p>
            <a:pPr lvl="0"/>
            <a:r>
              <a:rPr lang="en-GB" dirty="0"/>
              <a:t>01</a:t>
            </a:r>
          </a:p>
        </p:txBody>
      </p:sp>
    </p:spTree>
    <p:extLst>
      <p:ext uri="{BB962C8B-B14F-4D97-AF65-F5344CB8AC3E}">
        <p14:creationId xmlns:p14="http://schemas.microsoft.com/office/powerpoint/2010/main" val="2735752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55" presetClass="entr" presetSubtype="0" fill="hold" grpId="0" nodeType="withEffect">
                                  <p:stCondLst>
                                    <p:cond delay="750"/>
                                  </p:stCondLst>
                                  <p:iterate type="lt">
                                    <p:tmPct val="25000"/>
                                  </p:iterate>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cBhvr>
                                        <p:cTn id="11" dur="400" fill="hold"/>
                                        <p:tgtEl>
                                          <p:spTgt spid="4">
                                            <p:txEl>
                                              <p:pRg st="0" end="0"/>
                                            </p:txEl>
                                          </p:spTgt>
                                        </p:tgtEl>
                                        <p:attrNameLst>
                                          <p:attrName>ppt_w</p:attrName>
                                        </p:attrNameLst>
                                      </p:cBhvr>
                                      <p:tavLst>
                                        <p:tav tm="0">
                                          <p:val>
                                            <p:strVal val="#ppt_w*0.70"/>
                                          </p:val>
                                        </p:tav>
                                        <p:tav tm="100000">
                                          <p:val>
                                            <p:strVal val="#ppt_w"/>
                                          </p:val>
                                        </p:tav>
                                      </p:tavLst>
                                    </p:anim>
                                    <p:anim calcmode="lin" valueType="num">
                                      <p:cBhvr>
                                        <p:cTn id="12" dur="400" fill="hold"/>
                                        <p:tgtEl>
                                          <p:spTgt spid="4">
                                            <p:txEl>
                                              <p:pRg st="0" end="0"/>
                                            </p:txEl>
                                          </p:spTgt>
                                        </p:tgtEl>
                                        <p:attrNameLst>
                                          <p:attrName>ppt_h</p:attrName>
                                        </p:attrNameLst>
                                      </p:cBhvr>
                                      <p:tavLst>
                                        <p:tav tm="0">
                                          <p:val>
                                            <p:strVal val="#ppt_h"/>
                                          </p:val>
                                        </p:tav>
                                        <p:tav tm="100000">
                                          <p:val>
                                            <p:strVal val="#ppt_h"/>
                                          </p:val>
                                        </p:tav>
                                      </p:tavLst>
                                    </p:anim>
                                    <p:animEffect transition="in" filter="fade">
                                      <p:cBhvr>
                                        <p:cTn id="13" dur="400"/>
                                        <p:tgtEl>
                                          <p:spTgt spid="4">
                                            <p:txEl>
                                              <p:pRg st="0" end="0"/>
                                            </p:txEl>
                                          </p:spTgt>
                                        </p:tgtEl>
                                      </p:cBhvr>
                                    </p:animEffect>
                                  </p:childTnLst>
                                </p:cTn>
                              </p:par>
                              <p:par>
                                <p:cTn id="14" presetID="55" presetClass="entr" presetSubtype="0" fill="hold" grpId="0" nodeType="withEffect">
                                  <p:stCondLst>
                                    <p:cond delay="1000"/>
                                  </p:stCondLst>
                                  <p:iterate type="lt">
                                    <p:tmPct val="10000"/>
                                  </p:iterate>
                                  <p:childTnLst>
                                    <p:set>
                                      <p:cBhvr>
                                        <p:cTn id="15" dur="1" fill="hold">
                                          <p:stCondLst>
                                            <p:cond delay="0"/>
                                          </p:stCondLst>
                                        </p:cTn>
                                        <p:tgtEl>
                                          <p:spTgt spid="2"/>
                                        </p:tgtEl>
                                        <p:attrNameLst>
                                          <p:attrName>style.visibility</p:attrName>
                                        </p:attrNameLst>
                                      </p:cBhvr>
                                      <p:to>
                                        <p:strVal val="visible"/>
                                      </p:to>
                                    </p:set>
                                    <p:anim calcmode="lin" valueType="num">
                                      <p:cBhvr>
                                        <p:cTn id="16" dur="400" fill="hold"/>
                                        <p:tgtEl>
                                          <p:spTgt spid="2"/>
                                        </p:tgtEl>
                                        <p:attrNameLst>
                                          <p:attrName>ppt_w</p:attrName>
                                        </p:attrNameLst>
                                      </p:cBhvr>
                                      <p:tavLst>
                                        <p:tav tm="0">
                                          <p:val>
                                            <p:strVal val="#ppt_w*0.70"/>
                                          </p:val>
                                        </p:tav>
                                        <p:tav tm="100000">
                                          <p:val>
                                            <p:strVal val="#ppt_w"/>
                                          </p:val>
                                        </p:tav>
                                      </p:tavLst>
                                    </p:anim>
                                    <p:anim calcmode="lin" valueType="num">
                                      <p:cBhvr>
                                        <p:cTn id="17" dur="400" fill="hold"/>
                                        <p:tgtEl>
                                          <p:spTgt spid="2"/>
                                        </p:tgtEl>
                                        <p:attrNameLst>
                                          <p:attrName>ppt_h</p:attrName>
                                        </p:attrNameLst>
                                      </p:cBhvr>
                                      <p:tavLst>
                                        <p:tav tm="0">
                                          <p:val>
                                            <p:strVal val="#ppt_h"/>
                                          </p:val>
                                        </p:tav>
                                        <p:tav tm="100000">
                                          <p:val>
                                            <p:strVal val="#ppt_h"/>
                                          </p:val>
                                        </p:tav>
                                      </p:tavLst>
                                    </p:anim>
                                    <p:animEffect transition="in" filter="fade">
                                      <p:cBhvr>
                                        <p:cTn id="18"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p:bldP spid="4" grpId="0" build="p"/>
    </p:bldLst>
  </p:timing>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Title (co-host logos)">
    <p:spTree>
      <p:nvGrpSpPr>
        <p:cNvPr id="1" name=""/>
        <p:cNvGrpSpPr/>
        <p:nvPr/>
      </p:nvGrpSpPr>
      <p:grpSpPr>
        <a:xfrm>
          <a:off x="0" y="0"/>
          <a:ext cx="0" cy="0"/>
          <a:chOff x="0" y="0"/>
          <a:chExt cx="0" cy="0"/>
        </a:xfrm>
      </p:grpSpPr>
      <p:pic>
        <p:nvPicPr>
          <p:cNvPr id="48" name="Picture 6">
            <a:extLst>
              <a:ext uri="{FF2B5EF4-FFF2-40B4-BE49-F238E27FC236}">
                <a16:creationId xmlns:a16="http://schemas.microsoft.com/office/drawing/2014/main" id="{B898DE34-5327-F811-2C4A-2DD6AF4E2B7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Graphic 48">
            <a:extLst>
              <a:ext uri="{FF2B5EF4-FFF2-40B4-BE49-F238E27FC236}">
                <a16:creationId xmlns:a16="http://schemas.microsoft.com/office/drawing/2014/main" id="{75DAC041-23E1-D93E-FCC2-75B842262D09}"/>
              </a:ext>
            </a:extLst>
          </p:cNvPr>
          <p:cNvSpPr/>
          <p:nvPr userDrawn="1"/>
        </p:nvSpPr>
        <p:spPr>
          <a:xfrm>
            <a:off x="674768" y="802691"/>
            <a:ext cx="5097382" cy="4749380"/>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tx1"/>
          </a:solidFill>
          <a:ln w="9449" cap="flat">
            <a:noFill/>
            <a:prstDash val="solid"/>
            <a:miter/>
          </a:ln>
        </p:spPr>
        <p:txBody>
          <a:bodyPr rtlCol="0" anchor="ctr"/>
          <a:lstStyle/>
          <a:p>
            <a:endParaRPr lang="en-GB" dirty="0"/>
          </a:p>
        </p:txBody>
      </p:sp>
      <p:sp>
        <p:nvSpPr>
          <p:cNvPr id="2" name="Title Placeholder 1">
            <a:extLst>
              <a:ext uri="{FF2B5EF4-FFF2-40B4-BE49-F238E27FC236}">
                <a16:creationId xmlns:a16="http://schemas.microsoft.com/office/drawing/2014/main" id="{21ABC006-C4FF-A1F4-36AF-0C94003C2FA9}"/>
              </a:ext>
            </a:extLst>
          </p:cNvPr>
          <p:cNvSpPr>
            <a:spLocks noGrp="1"/>
          </p:cNvSpPr>
          <p:nvPr>
            <p:ph type="title" hasCustomPrompt="1"/>
          </p:nvPr>
        </p:nvSpPr>
        <p:spPr>
          <a:xfrm>
            <a:off x="6419849" y="549275"/>
            <a:ext cx="5113339" cy="5256213"/>
          </a:xfrm>
          <a:prstGeom prst="rect">
            <a:avLst/>
          </a:prstGeom>
        </p:spPr>
        <p:txBody>
          <a:bodyPr vert="horz" lIns="0" tIns="0" rIns="0" bIns="0" rtlCol="0" anchor="ctr">
            <a:normAutofit/>
          </a:bodyPr>
          <a:lstStyle>
            <a:lvl1pPr>
              <a:lnSpc>
                <a:spcPct val="90000"/>
              </a:lnSpc>
              <a:defRPr sz="6500" b="1">
                <a:solidFill>
                  <a:srgbClr val="00625F"/>
                </a:solidFill>
              </a:defRPr>
            </a:lvl1pPr>
          </a:lstStyle>
          <a:p>
            <a:r>
              <a:rPr lang="en-GB" dirty="0"/>
              <a:t>Chapter Slide Title</a:t>
            </a:r>
          </a:p>
        </p:txBody>
      </p:sp>
      <p:sp>
        <p:nvSpPr>
          <p:cNvPr id="4" name="Text Placeholder 3">
            <a:extLst>
              <a:ext uri="{FF2B5EF4-FFF2-40B4-BE49-F238E27FC236}">
                <a16:creationId xmlns:a16="http://schemas.microsoft.com/office/drawing/2014/main" id="{F9D378FF-8076-D182-237A-7F57163EC86A}"/>
              </a:ext>
            </a:extLst>
          </p:cNvPr>
          <p:cNvSpPr>
            <a:spLocks noGrp="1"/>
          </p:cNvSpPr>
          <p:nvPr>
            <p:ph type="body" sz="quarter" idx="10" hasCustomPrompt="1"/>
          </p:nvPr>
        </p:nvSpPr>
        <p:spPr>
          <a:xfrm>
            <a:off x="674768" y="1880701"/>
            <a:ext cx="5097382" cy="2593361"/>
          </a:xfrm>
          <a:prstGeom prst="rect">
            <a:avLst/>
          </a:prstGeom>
        </p:spPr>
        <p:txBody>
          <a:bodyPr anchor="ctr">
            <a:noAutofit/>
          </a:bodyPr>
          <a:lstStyle>
            <a:lvl1pPr marL="0" indent="0" algn="ctr">
              <a:lnSpc>
                <a:spcPct val="100000"/>
              </a:lnSpc>
              <a:spcBef>
                <a:spcPts val="0"/>
              </a:spcBef>
              <a:buNone/>
              <a:defRPr sz="25000"/>
            </a:lvl1pPr>
          </a:lstStyle>
          <a:p>
            <a:pPr lvl="0"/>
            <a:r>
              <a:rPr lang="en-GB" dirty="0"/>
              <a:t>01</a:t>
            </a:r>
          </a:p>
        </p:txBody>
      </p:sp>
    </p:spTree>
    <p:extLst>
      <p:ext uri="{BB962C8B-B14F-4D97-AF65-F5344CB8AC3E}">
        <p14:creationId xmlns:p14="http://schemas.microsoft.com/office/powerpoint/2010/main" val="101787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55" presetClass="entr" presetSubtype="0" fill="hold" grpId="0" nodeType="withEffect">
                                  <p:stCondLst>
                                    <p:cond delay="750"/>
                                  </p:stCondLst>
                                  <p:iterate type="lt">
                                    <p:tmPct val="25000"/>
                                  </p:iterate>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cBhvr>
                                        <p:cTn id="11" dur="400" fill="hold"/>
                                        <p:tgtEl>
                                          <p:spTgt spid="4">
                                            <p:txEl>
                                              <p:pRg st="0" end="0"/>
                                            </p:txEl>
                                          </p:spTgt>
                                        </p:tgtEl>
                                        <p:attrNameLst>
                                          <p:attrName>ppt_w</p:attrName>
                                        </p:attrNameLst>
                                      </p:cBhvr>
                                      <p:tavLst>
                                        <p:tav tm="0">
                                          <p:val>
                                            <p:strVal val="#ppt_w*0.70"/>
                                          </p:val>
                                        </p:tav>
                                        <p:tav tm="100000">
                                          <p:val>
                                            <p:strVal val="#ppt_w"/>
                                          </p:val>
                                        </p:tav>
                                      </p:tavLst>
                                    </p:anim>
                                    <p:anim calcmode="lin" valueType="num">
                                      <p:cBhvr>
                                        <p:cTn id="12" dur="400" fill="hold"/>
                                        <p:tgtEl>
                                          <p:spTgt spid="4">
                                            <p:txEl>
                                              <p:pRg st="0" end="0"/>
                                            </p:txEl>
                                          </p:spTgt>
                                        </p:tgtEl>
                                        <p:attrNameLst>
                                          <p:attrName>ppt_h</p:attrName>
                                        </p:attrNameLst>
                                      </p:cBhvr>
                                      <p:tavLst>
                                        <p:tav tm="0">
                                          <p:val>
                                            <p:strVal val="#ppt_h"/>
                                          </p:val>
                                        </p:tav>
                                        <p:tav tm="100000">
                                          <p:val>
                                            <p:strVal val="#ppt_h"/>
                                          </p:val>
                                        </p:tav>
                                      </p:tavLst>
                                    </p:anim>
                                    <p:animEffect transition="in" filter="fade">
                                      <p:cBhvr>
                                        <p:cTn id="13" dur="400"/>
                                        <p:tgtEl>
                                          <p:spTgt spid="4">
                                            <p:txEl>
                                              <p:pRg st="0" end="0"/>
                                            </p:txEl>
                                          </p:spTgt>
                                        </p:tgtEl>
                                      </p:cBhvr>
                                    </p:animEffect>
                                  </p:childTnLst>
                                </p:cTn>
                              </p:par>
                              <p:par>
                                <p:cTn id="14" presetID="55" presetClass="entr" presetSubtype="0" fill="hold" grpId="0" nodeType="withEffect">
                                  <p:stCondLst>
                                    <p:cond delay="1000"/>
                                  </p:stCondLst>
                                  <p:iterate type="lt">
                                    <p:tmPct val="10000"/>
                                  </p:iterate>
                                  <p:childTnLst>
                                    <p:set>
                                      <p:cBhvr>
                                        <p:cTn id="15" dur="1" fill="hold">
                                          <p:stCondLst>
                                            <p:cond delay="0"/>
                                          </p:stCondLst>
                                        </p:cTn>
                                        <p:tgtEl>
                                          <p:spTgt spid="2"/>
                                        </p:tgtEl>
                                        <p:attrNameLst>
                                          <p:attrName>style.visibility</p:attrName>
                                        </p:attrNameLst>
                                      </p:cBhvr>
                                      <p:to>
                                        <p:strVal val="visible"/>
                                      </p:to>
                                    </p:set>
                                    <p:anim calcmode="lin" valueType="num">
                                      <p:cBhvr>
                                        <p:cTn id="16" dur="400" fill="hold"/>
                                        <p:tgtEl>
                                          <p:spTgt spid="2"/>
                                        </p:tgtEl>
                                        <p:attrNameLst>
                                          <p:attrName>ppt_w</p:attrName>
                                        </p:attrNameLst>
                                      </p:cBhvr>
                                      <p:tavLst>
                                        <p:tav tm="0">
                                          <p:val>
                                            <p:strVal val="#ppt_w*0.70"/>
                                          </p:val>
                                        </p:tav>
                                        <p:tav tm="100000">
                                          <p:val>
                                            <p:strVal val="#ppt_w"/>
                                          </p:val>
                                        </p:tav>
                                      </p:tavLst>
                                    </p:anim>
                                    <p:anim calcmode="lin" valueType="num">
                                      <p:cBhvr>
                                        <p:cTn id="17" dur="400" fill="hold"/>
                                        <p:tgtEl>
                                          <p:spTgt spid="2"/>
                                        </p:tgtEl>
                                        <p:attrNameLst>
                                          <p:attrName>ppt_h</p:attrName>
                                        </p:attrNameLst>
                                      </p:cBhvr>
                                      <p:tavLst>
                                        <p:tav tm="0">
                                          <p:val>
                                            <p:strVal val="#ppt_h"/>
                                          </p:val>
                                        </p:tav>
                                        <p:tav tm="100000">
                                          <p:val>
                                            <p:strVal val="#ppt_h"/>
                                          </p:val>
                                        </p:tav>
                                      </p:tavLst>
                                    </p:anim>
                                    <p:animEffect transition="in" filter="fade">
                                      <p:cBhvr>
                                        <p:cTn id="18"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p:bldP spid="4" grpId="0" build="p"/>
    </p:bldLst>
  </p:timing>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Title (Alternative)">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8D288F47-5881-6080-C980-2A2AD3E28F3C}"/>
              </a:ext>
            </a:extLst>
          </p:cNvPr>
          <p:cNvSpPr>
            <a:spLocks noGrp="1"/>
          </p:cNvSpPr>
          <p:nvPr>
            <p:ph type="title" hasCustomPrompt="1"/>
          </p:nvPr>
        </p:nvSpPr>
        <p:spPr>
          <a:xfrm>
            <a:off x="658812" y="2766218"/>
            <a:ext cx="10874375" cy="1325563"/>
          </a:xfrm>
          <a:prstGeom prst="rect">
            <a:avLst/>
          </a:prstGeom>
        </p:spPr>
        <p:txBody>
          <a:bodyPr vert="horz" lIns="0" tIns="0" rIns="0" bIns="0" rtlCol="0" anchor="ctr">
            <a:noAutofit/>
          </a:bodyPr>
          <a:lstStyle>
            <a:lvl1pPr>
              <a:lnSpc>
                <a:spcPct val="90000"/>
              </a:lnSpc>
              <a:defRPr sz="6500" b="1">
                <a:solidFill>
                  <a:srgbClr val="00625F"/>
                </a:solidFill>
              </a:defRPr>
            </a:lvl1pPr>
          </a:lstStyle>
          <a:p>
            <a:r>
              <a:rPr lang="en-GB" dirty="0"/>
              <a:t>Chapter Slide Title</a:t>
            </a:r>
          </a:p>
        </p:txBody>
      </p:sp>
      <p:sp>
        <p:nvSpPr>
          <p:cNvPr id="7" name="Text Placeholder 11">
            <a:extLst>
              <a:ext uri="{FF2B5EF4-FFF2-40B4-BE49-F238E27FC236}">
                <a16:creationId xmlns:a16="http://schemas.microsoft.com/office/drawing/2014/main" id="{32E93567-6F5B-4FC6-6CBE-65990259E126}"/>
              </a:ext>
            </a:extLst>
          </p:cNvPr>
          <p:cNvSpPr>
            <a:spLocks noGrp="1"/>
          </p:cNvSpPr>
          <p:nvPr>
            <p:ph type="body" sz="quarter" idx="17" hasCustomPrompt="1"/>
          </p:nvPr>
        </p:nvSpPr>
        <p:spPr>
          <a:xfrm>
            <a:off x="658812" y="4091781"/>
            <a:ext cx="10874376" cy="626878"/>
          </a:xfrm>
          <a:prstGeom prst="rect">
            <a:avLst/>
          </a:prstGeom>
        </p:spPr>
        <p:txBody>
          <a:bodyPr lIns="0">
            <a:noAutofit/>
          </a:bodyPr>
          <a:lstStyle>
            <a:lvl1pPr marL="0" indent="0">
              <a:buNone/>
              <a:defRPr sz="3500" b="0">
                <a:solidFill>
                  <a:schemeClr val="bg1"/>
                </a:solidFill>
              </a:defRPr>
            </a:lvl1pPr>
          </a:lstStyle>
          <a:p>
            <a:pPr lvl="0"/>
            <a:r>
              <a:rPr lang="en-GB" dirty="0"/>
              <a:t>With </a:t>
            </a:r>
            <a:r>
              <a:rPr lang="en-GB" dirty="0" err="1"/>
              <a:t>subheadline</a:t>
            </a:r>
            <a:endParaRPr lang="en-GB" dirty="0"/>
          </a:p>
        </p:txBody>
      </p:sp>
      <p:sp>
        <p:nvSpPr>
          <p:cNvPr id="6" name="Text Placeholder 5">
            <a:extLst>
              <a:ext uri="{FF2B5EF4-FFF2-40B4-BE49-F238E27FC236}">
                <a16:creationId xmlns:a16="http://schemas.microsoft.com/office/drawing/2014/main" id="{FF172E3E-335A-B483-BB34-6EE33C77F51F}"/>
              </a:ext>
            </a:extLst>
          </p:cNvPr>
          <p:cNvSpPr>
            <a:spLocks noGrp="1"/>
          </p:cNvSpPr>
          <p:nvPr>
            <p:ph type="body" sz="quarter" idx="18" hasCustomPrompt="1"/>
          </p:nvPr>
        </p:nvSpPr>
        <p:spPr>
          <a:xfrm>
            <a:off x="658813" y="549274"/>
            <a:ext cx="5113336" cy="1681635"/>
          </a:xfrm>
          <a:prstGeom prst="rect">
            <a:avLst/>
          </a:prstGeom>
        </p:spPr>
        <p:txBody>
          <a:bodyPr lIns="0">
            <a:noAutofit/>
          </a:bodyPr>
          <a:lstStyle>
            <a:lvl1pPr marL="0" indent="0">
              <a:buNone/>
              <a:defRPr sz="12500" b="0"/>
            </a:lvl1pPr>
          </a:lstStyle>
          <a:p>
            <a:pPr lvl="0"/>
            <a:r>
              <a:rPr lang="en-GB" dirty="0"/>
              <a:t>01</a:t>
            </a:r>
          </a:p>
        </p:txBody>
      </p:sp>
    </p:spTree>
    <p:extLst>
      <p:ext uri="{BB962C8B-B14F-4D97-AF65-F5344CB8AC3E}">
        <p14:creationId xmlns:p14="http://schemas.microsoft.com/office/powerpoint/2010/main" val="1996619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iterate type="lt">
                                    <p:tmPct val="25000"/>
                                  </p:iterate>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p:cTn id="7" dur="400" fill="hold"/>
                                        <p:tgtEl>
                                          <p:spTgt spid="6">
                                            <p:txEl>
                                              <p:pRg st="0" end="0"/>
                                            </p:txEl>
                                          </p:spTgt>
                                        </p:tgtEl>
                                        <p:attrNameLst>
                                          <p:attrName>ppt_w</p:attrName>
                                        </p:attrNameLst>
                                      </p:cBhvr>
                                      <p:tavLst>
                                        <p:tav tm="0">
                                          <p:val>
                                            <p:strVal val="#ppt_w*0.70"/>
                                          </p:val>
                                        </p:tav>
                                        <p:tav tm="100000">
                                          <p:val>
                                            <p:strVal val="#ppt_w"/>
                                          </p:val>
                                        </p:tav>
                                      </p:tavLst>
                                    </p:anim>
                                    <p:anim calcmode="lin" valueType="num">
                                      <p:cBhvr>
                                        <p:cTn id="8" dur="400" fill="hold"/>
                                        <p:tgtEl>
                                          <p:spTgt spid="6">
                                            <p:txEl>
                                              <p:pRg st="0" end="0"/>
                                            </p:txEl>
                                          </p:spTgt>
                                        </p:tgtEl>
                                        <p:attrNameLst>
                                          <p:attrName>ppt_h</p:attrName>
                                        </p:attrNameLst>
                                      </p:cBhvr>
                                      <p:tavLst>
                                        <p:tav tm="0">
                                          <p:val>
                                            <p:strVal val="#ppt_h"/>
                                          </p:val>
                                        </p:tav>
                                        <p:tav tm="100000">
                                          <p:val>
                                            <p:strVal val="#ppt_h"/>
                                          </p:val>
                                        </p:tav>
                                      </p:tavLst>
                                    </p:anim>
                                    <p:animEffect transition="in" filter="fade">
                                      <p:cBhvr>
                                        <p:cTn id="9" dur="400"/>
                                        <p:tgtEl>
                                          <p:spTgt spid="6">
                                            <p:txEl>
                                              <p:pRg st="0" end="0"/>
                                            </p:txEl>
                                          </p:spTgt>
                                        </p:tgtEl>
                                      </p:cBhvr>
                                    </p:animEffect>
                                  </p:childTnLst>
                                </p:cTn>
                              </p:par>
                              <p:par>
                                <p:cTn id="10" presetID="55" presetClass="entr" presetSubtype="0" fill="hold" grpId="0" nodeType="withEffect">
                                  <p:stCondLst>
                                    <p:cond delay="250"/>
                                  </p:stCondLst>
                                  <p:iterate type="lt">
                                    <p:tmPct val="10000"/>
                                  </p:iterate>
                                  <p:childTnLst>
                                    <p:set>
                                      <p:cBhvr>
                                        <p:cTn id="11" dur="1" fill="hold">
                                          <p:stCondLst>
                                            <p:cond delay="0"/>
                                          </p:stCondLst>
                                        </p:cTn>
                                        <p:tgtEl>
                                          <p:spTgt spid="11"/>
                                        </p:tgtEl>
                                        <p:attrNameLst>
                                          <p:attrName>style.visibility</p:attrName>
                                        </p:attrNameLst>
                                      </p:cBhvr>
                                      <p:to>
                                        <p:strVal val="visible"/>
                                      </p:to>
                                    </p:set>
                                    <p:anim calcmode="lin" valueType="num">
                                      <p:cBhvr>
                                        <p:cTn id="12" dur="400" fill="hold"/>
                                        <p:tgtEl>
                                          <p:spTgt spid="11"/>
                                        </p:tgtEl>
                                        <p:attrNameLst>
                                          <p:attrName>ppt_w</p:attrName>
                                        </p:attrNameLst>
                                      </p:cBhvr>
                                      <p:tavLst>
                                        <p:tav tm="0">
                                          <p:val>
                                            <p:strVal val="#ppt_w*0.70"/>
                                          </p:val>
                                        </p:tav>
                                        <p:tav tm="100000">
                                          <p:val>
                                            <p:strVal val="#ppt_w"/>
                                          </p:val>
                                        </p:tav>
                                      </p:tavLst>
                                    </p:anim>
                                    <p:anim calcmode="lin" valueType="num">
                                      <p:cBhvr>
                                        <p:cTn id="13" dur="400" fill="hold"/>
                                        <p:tgtEl>
                                          <p:spTgt spid="11"/>
                                        </p:tgtEl>
                                        <p:attrNameLst>
                                          <p:attrName>ppt_h</p:attrName>
                                        </p:attrNameLst>
                                      </p:cBhvr>
                                      <p:tavLst>
                                        <p:tav tm="0">
                                          <p:val>
                                            <p:strVal val="#ppt_h"/>
                                          </p:val>
                                        </p:tav>
                                        <p:tav tm="100000">
                                          <p:val>
                                            <p:strVal val="#ppt_h"/>
                                          </p:val>
                                        </p:tav>
                                      </p:tavLst>
                                    </p:anim>
                                    <p:animEffect transition="in" filter="fade">
                                      <p:cBhvr>
                                        <p:cTn id="14" dur="400"/>
                                        <p:tgtEl>
                                          <p:spTgt spid="11"/>
                                        </p:tgtEl>
                                      </p:cBhvr>
                                    </p:animEffect>
                                  </p:childTnLst>
                                </p:cTn>
                              </p:par>
                            </p:childTnLst>
                          </p:cTn>
                        </p:par>
                        <p:par>
                          <p:cTn id="15" fill="hold">
                            <p:stCondLst>
                              <p:cond delay="1290"/>
                            </p:stCondLst>
                            <p:childTnLst>
                              <p:par>
                                <p:cTn id="16" presetID="10" presetClass="entr" presetSubtype="0" fill="hold" grpId="0" nodeType="afterEffect">
                                  <p:stCondLst>
                                    <p:cond delay="0"/>
                                  </p:stCondLst>
                                  <p:childTnLst>
                                    <p:set>
                                      <p:cBhvr>
                                        <p:cTn id="17" dur="1" fill="hold">
                                          <p:stCondLst>
                                            <p:cond delay="0"/>
                                          </p:stCondLst>
                                        </p:cTn>
                                        <p:tgtEl>
                                          <p:spTgt spid="7">
                                            <p:txEl>
                                              <p:pRg st="0" end="0"/>
                                            </p:txEl>
                                          </p:spTgt>
                                        </p:tgtEl>
                                        <p:attrNameLst>
                                          <p:attrName>style.visibility</p:attrName>
                                        </p:attrNameLst>
                                      </p:cBhvr>
                                      <p:to>
                                        <p:strVal val="visible"/>
                                      </p:to>
                                    </p:set>
                                    <p:animEffect transition="in" filter="fade">
                                      <p:cBhvr>
                                        <p:cTn id="18" dur="75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750"/>
                        <p:tgtEl>
                          <p:spTgt spid="7"/>
                        </p:tgtEl>
                      </p:cBhvr>
                    </p:animEffect>
                  </p:childTnLst>
                </p:cTn>
              </p:par>
            </p:tnLst>
          </p:tmpl>
        </p:tmplLst>
      </p:bldP>
      <p:bldP spid="6" grpId="0" build="p">
        <p:tmplLst>
          <p:tmpl lvl="1">
            <p:tnLst>
              <p:par>
                <p:cTn presetID="55" presetClass="entr" presetSubtype="0" fill="hold" nodeType="withEffect">
                  <p:stCondLst>
                    <p:cond delay="0"/>
                  </p:stCondLst>
                  <p:iterate type="lt">
                    <p:tmPct val="25000"/>
                  </p:iterate>
                  <p:childTnLst>
                    <p:set>
                      <p:cBhvr>
                        <p:cTn dur="1" fill="hold">
                          <p:stCondLst>
                            <p:cond delay="0"/>
                          </p:stCondLst>
                        </p:cTn>
                        <p:tgtEl>
                          <p:spTgt spid="6"/>
                        </p:tgtEl>
                        <p:attrNameLst>
                          <p:attrName>style.visibility</p:attrName>
                        </p:attrNameLst>
                      </p:cBhvr>
                      <p:to>
                        <p:strVal val="visible"/>
                      </p:to>
                    </p:set>
                    <p:anim calcmode="lin" valueType="num">
                      <p:cBhvr>
                        <p:cTn dur="400" fill="hold"/>
                        <p:tgtEl>
                          <p:spTgt spid="6"/>
                        </p:tgtEl>
                        <p:attrNameLst>
                          <p:attrName>ppt_w</p:attrName>
                        </p:attrNameLst>
                      </p:cBhvr>
                      <p:tavLst>
                        <p:tav tm="0">
                          <p:val>
                            <p:strVal val="#ppt_w*0.70"/>
                          </p:val>
                        </p:tav>
                        <p:tav tm="100000">
                          <p:val>
                            <p:strVal val="#ppt_w"/>
                          </p:val>
                        </p:tav>
                      </p:tavLst>
                    </p:anim>
                    <p:anim calcmode="lin" valueType="num">
                      <p:cBhvr>
                        <p:cTn dur="400" fill="hold"/>
                        <p:tgtEl>
                          <p:spTgt spid="6"/>
                        </p:tgtEl>
                        <p:attrNameLst>
                          <p:attrName>ppt_h</p:attrName>
                        </p:attrNameLst>
                      </p:cBhvr>
                      <p:tavLst>
                        <p:tav tm="0">
                          <p:val>
                            <p:strVal val="#ppt_h"/>
                          </p:val>
                        </p:tav>
                        <p:tav tm="100000">
                          <p:val>
                            <p:strVal val="#ppt_h"/>
                          </p:val>
                        </p:tav>
                      </p:tavLst>
                    </p:anim>
                    <p:animEffect transition="in" filter="fade">
                      <p:cBhvr>
                        <p:cTn dur="400"/>
                        <p:tgtEl>
                          <p:spTgt spid="6"/>
                        </p:tgtEl>
                      </p:cBhvr>
                    </p:animEffect>
                  </p:childTnLst>
                </p:cTn>
              </p:par>
            </p:tnLst>
          </p:tmpl>
        </p:tmplLst>
      </p:bldP>
    </p:bldLst>
  </p:timing>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List (Light Gree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DA97F53-639D-93C5-615B-372205021791}"/>
              </a:ext>
            </a:extLst>
          </p:cNvPr>
          <p:cNvSpPr>
            <a:spLocks noGrp="1"/>
          </p:cNvSpPr>
          <p:nvPr>
            <p:ph type="sldNum" sz="quarter" idx="10"/>
          </p:nvPr>
        </p:nvSpPr>
        <p:spPr/>
        <p:txBody>
          <a:bodyPr/>
          <a:lstStyle>
            <a:lvl1pPr>
              <a:defRPr>
                <a:solidFill>
                  <a:srgbClr val="00625F"/>
                </a:solidFill>
              </a:defRPr>
            </a:lvl1pPr>
          </a:lstStyle>
          <a:p>
            <a:fld id="{0994303E-A424-9540-91A8-53B791C91E8F}" type="slidenum">
              <a:rPr lang="en-GB" smtClean="0"/>
              <a:pPr/>
              <a:t>‹#›</a:t>
            </a:fld>
            <a:endParaRPr lang="en-GB" dirty="0"/>
          </a:p>
        </p:txBody>
      </p:sp>
      <p:sp>
        <p:nvSpPr>
          <p:cNvPr id="7" name="Text Placeholder 11">
            <a:extLst>
              <a:ext uri="{FF2B5EF4-FFF2-40B4-BE49-F238E27FC236}">
                <a16:creationId xmlns:a16="http://schemas.microsoft.com/office/drawing/2014/main" id="{88500907-6177-1837-EE8C-28EBF9D577A8}"/>
              </a:ext>
            </a:extLst>
          </p:cNvPr>
          <p:cNvSpPr>
            <a:spLocks noGrp="1"/>
          </p:cNvSpPr>
          <p:nvPr>
            <p:ph type="body" sz="quarter" idx="16" hasCustomPrompt="1"/>
          </p:nvPr>
        </p:nvSpPr>
        <p:spPr>
          <a:xfrm>
            <a:off x="658813" y="3755424"/>
            <a:ext cx="3187973" cy="520092"/>
          </a:xfrm>
          <a:prstGeom prst="rect">
            <a:avLst/>
          </a:prstGeom>
        </p:spPr>
        <p:txBody>
          <a:bodyPr>
            <a:noAutofit/>
          </a:bodyPr>
          <a:lstStyle>
            <a:lvl1pPr marL="0" indent="0" algn="ctr">
              <a:lnSpc>
                <a:spcPct val="100000"/>
              </a:lnSpc>
              <a:spcBef>
                <a:spcPts val="0"/>
              </a:spcBef>
              <a:spcAft>
                <a:spcPts val="1000"/>
              </a:spcAft>
              <a:buNone/>
              <a:defRPr sz="2400" b="1">
                <a:solidFill>
                  <a:srgbClr val="00625F"/>
                </a:solidFill>
                <a:latin typeface="+mj-lt"/>
              </a:defRPr>
            </a:lvl1pPr>
          </a:lstStyle>
          <a:p>
            <a:pPr lvl="0"/>
            <a:r>
              <a:rPr lang="en-GB" dirty="0"/>
              <a:t>Header 1</a:t>
            </a:r>
          </a:p>
        </p:txBody>
      </p:sp>
      <p:sp>
        <p:nvSpPr>
          <p:cNvPr id="10" name="Text Placeholder 11">
            <a:extLst>
              <a:ext uri="{FF2B5EF4-FFF2-40B4-BE49-F238E27FC236}">
                <a16:creationId xmlns:a16="http://schemas.microsoft.com/office/drawing/2014/main" id="{6FFE71A5-58F5-11A2-E38C-407FB3D38EAA}"/>
              </a:ext>
            </a:extLst>
          </p:cNvPr>
          <p:cNvSpPr>
            <a:spLocks noGrp="1"/>
          </p:cNvSpPr>
          <p:nvPr>
            <p:ph type="body" sz="quarter" idx="17" hasCustomPrompt="1"/>
          </p:nvPr>
        </p:nvSpPr>
        <p:spPr>
          <a:xfrm>
            <a:off x="658813" y="4275517"/>
            <a:ext cx="3187973" cy="1529972"/>
          </a:xfrm>
          <a:prstGeom prst="rect">
            <a:avLst/>
          </a:prstGeom>
        </p:spPr>
        <p:txBody>
          <a:bodyPr>
            <a:noAutofit/>
          </a:bodyPr>
          <a:lstStyle>
            <a:lvl1pPr marL="0" indent="0" algn="ctr">
              <a:buNone/>
              <a:defRPr sz="1200" b="0"/>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p:txBody>
      </p:sp>
      <p:sp>
        <p:nvSpPr>
          <p:cNvPr id="11" name="Picture Placeholder 10">
            <a:extLst>
              <a:ext uri="{FF2B5EF4-FFF2-40B4-BE49-F238E27FC236}">
                <a16:creationId xmlns:a16="http://schemas.microsoft.com/office/drawing/2014/main" id="{132D89C5-8B8A-0FBA-F742-DCE5B63EDD5F}"/>
              </a:ext>
            </a:extLst>
          </p:cNvPr>
          <p:cNvSpPr>
            <a:spLocks noGrp="1"/>
          </p:cNvSpPr>
          <p:nvPr>
            <p:ph type="pic" sz="quarter" idx="18"/>
          </p:nvPr>
        </p:nvSpPr>
        <p:spPr>
          <a:xfrm>
            <a:off x="4619918"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GB" dirty="0"/>
              <a:t>Click icon to add picture</a:t>
            </a:r>
          </a:p>
        </p:txBody>
      </p:sp>
      <p:sp>
        <p:nvSpPr>
          <p:cNvPr id="12" name="Text Placeholder 11">
            <a:extLst>
              <a:ext uri="{FF2B5EF4-FFF2-40B4-BE49-F238E27FC236}">
                <a16:creationId xmlns:a16="http://schemas.microsoft.com/office/drawing/2014/main" id="{9536AA97-F495-8EAD-7D23-C05F66EFBF5E}"/>
              </a:ext>
            </a:extLst>
          </p:cNvPr>
          <p:cNvSpPr>
            <a:spLocks noGrp="1"/>
          </p:cNvSpPr>
          <p:nvPr>
            <p:ph type="body" sz="quarter" idx="19" hasCustomPrompt="1"/>
          </p:nvPr>
        </p:nvSpPr>
        <p:spPr>
          <a:xfrm>
            <a:off x="4500345" y="4275517"/>
            <a:ext cx="3187973" cy="1529972"/>
          </a:xfrm>
          <a:prstGeom prst="rect">
            <a:avLst/>
          </a:prstGeom>
        </p:spPr>
        <p:txBody>
          <a:bodyPr>
            <a:noAutofit/>
          </a:bodyPr>
          <a:lstStyle>
            <a:lvl1pPr marL="0" indent="0" algn="ctr">
              <a:buNone/>
              <a:defRPr sz="1200" b="0"/>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p:txBody>
      </p:sp>
      <p:sp>
        <p:nvSpPr>
          <p:cNvPr id="13" name="Text Placeholder 11">
            <a:extLst>
              <a:ext uri="{FF2B5EF4-FFF2-40B4-BE49-F238E27FC236}">
                <a16:creationId xmlns:a16="http://schemas.microsoft.com/office/drawing/2014/main" id="{7C963B89-7477-66FC-0968-BBA6D8F2DC59}"/>
              </a:ext>
            </a:extLst>
          </p:cNvPr>
          <p:cNvSpPr>
            <a:spLocks noGrp="1"/>
          </p:cNvSpPr>
          <p:nvPr>
            <p:ph type="body" sz="quarter" idx="20" hasCustomPrompt="1"/>
          </p:nvPr>
        </p:nvSpPr>
        <p:spPr>
          <a:xfrm>
            <a:off x="8343546" y="4275517"/>
            <a:ext cx="3187973" cy="1529972"/>
          </a:xfrm>
          <a:prstGeom prst="rect">
            <a:avLst/>
          </a:prstGeom>
        </p:spPr>
        <p:txBody>
          <a:bodyPr>
            <a:noAutofit/>
          </a:bodyPr>
          <a:lstStyle>
            <a:lvl1pPr marL="0" indent="0" algn="ctr">
              <a:buNone/>
              <a:defRPr sz="1200" b="0"/>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p:txBody>
      </p:sp>
      <p:sp>
        <p:nvSpPr>
          <p:cNvPr id="15" name="Picture Placeholder 14">
            <a:extLst>
              <a:ext uri="{FF2B5EF4-FFF2-40B4-BE49-F238E27FC236}">
                <a16:creationId xmlns:a16="http://schemas.microsoft.com/office/drawing/2014/main" id="{23E2FBDF-5239-189C-2DB8-DBBB70EB600A}"/>
              </a:ext>
            </a:extLst>
          </p:cNvPr>
          <p:cNvSpPr>
            <a:spLocks noGrp="1"/>
          </p:cNvSpPr>
          <p:nvPr>
            <p:ph type="pic" sz="quarter" idx="21"/>
          </p:nvPr>
        </p:nvSpPr>
        <p:spPr>
          <a:xfrm>
            <a:off x="8463119"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GB" dirty="0"/>
              <a:t>Click icon to add picture</a:t>
            </a:r>
          </a:p>
        </p:txBody>
      </p:sp>
      <p:sp>
        <p:nvSpPr>
          <p:cNvPr id="17" name="Picture Placeholder 16">
            <a:extLst>
              <a:ext uri="{FF2B5EF4-FFF2-40B4-BE49-F238E27FC236}">
                <a16:creationId xmlns:a16="http://schemas.microsoft.com/office/drawing/2014/main" id="{5F5CC71D-15CD-C902-7B81-E9881716049F}"/>
              </a:ext>
            </a:extLst>
          </p:cNvPr>
          <p:cNvSpPr>
            <a:spLocks noGrp="1"/>
          </p:cNvSpPr>
          <p:nvPr>
            <p:ph type="pic" sz="quarter" idx="22"/>
          </p:nvPr>
        </p:nvSpPr>
        <p:spPr>
          <a:xfrm>
            <a:off x="778386"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GB" dirty="0"/>
              <a:t>Click icon to add picture</a:t>
            </a:r>
          </a:p>
        </p:txBody>
      </p:sp>
      <p:sp>
        <p:nvSpPr>
          <p:cNvPr id="19" name="Text Placeholder 11">
            <a:extLst>
              <a:ext uri="{FF2B5EF4-FFF2-40B4-BE49-F238E27FC236}">
                <a16:creationId xmlns:a16="http://schemas.microsoft.com/office/drawing/2014/main" id="{E41D0B81-9E30-7BC1-D8EE-C0A7FCABD9FF}"/>
              </a:ext>
            </a:extLst>
          </p:cNvPr>
          <p:cNvSpPr>
            <a:spLocks noGrp="1"/>
          </p:cNvSpPr>
          <p:nvPr>
            <p:ph type="body" sz="quarter" idx="23" hasCustomPrompt="1"/>
          </p:nvPr>
        </p:nvSpPr>
        <p:spPr>
          <a:xfrm>
            <a:off x="4500345" y="3755424"/>
            <a:ext cx="3187973" cy="520092"/>
          </a:xfrm>
          <a:prstGeom prst="rect">
            <a:avLst/>
          </a:prstGeom>
        </p:spPr>
        <p:txBody>
          <a:bodyPr>
            <a:noAutofit/>
          </a:bodyPr>
          <a:lstStyle>
            <a:lvl1pPr marL="0" indent="0" algn="ctr">
              <a:lnSpc>
                <a:spcPct val="100000"/>
              </a:lnSpc>
              <a:spcBef>
                <a:spcPts val="0"/>
              </a:spcBef>
              <a:spcAft>
                <a:spcPts val="1000"/>
              </a:spcAft>
              <a:buNone/>
              <a:defRPr sz="2400" b="1">
                <a:solidFill>
                  <a:srgbClr val="00625F"/>
                </a:solidFill>
                <a:latin typeface="+mj-lt"/>
              </a:defRPr>
            </a:lvl1pPr>
          </a:lstStyle>
          <a:p>
            <a:pPr lvl="0"/>
            <a:r>
              <a:rPr lang="en-GB" dirty="0"/>
              <a:t>Header 2</a:t>
            </a:r>
          </a:p>
        </p:txBody>
      </p:sp>
      <p:sp>
        <p:nvSpPr>
          <p:cNvPr id="20" name="Text Placeholder 11">
            <a:extLst>
              <a:ext uri="{FF2B5EF4-FFF2-40B4-BE49-F238E27FC236}">
                <a16:creationId xmlns:a16="http://schemas.microsoft.com/office/drawing/2014/main" id="{81235BED-6852-1C88-8BB1-C82C76768766}"/>
              </a:ext>
            </a:extLst>
          </p:cNvPr>
          <p:cNvSpPr>
            <a:spLocks noGrp="1"/>
          </p:cNvSpPr>
          <p:nvPr>
            <p:ph type="body" sz="quarter" idx="24" hasCustomPrompt="1"/>
          </p:nvPr>
        </p:nvSpPr>
        <p:spPr>
          <a:xfrm>
            <a:off x="8343546" y="3755424"/>
            <a:ext cx="3187973" cy="520092"/>
          </a:xfrm>
          <a:prstGeom prst="rect">
            <a:avLst/>
          </a:prstGeom>
        </p:spPr>
        <p:txBody>
          <a:bodyPr>
            <a:noAutofit/>
          </a:bodyPr>
          <a:lstStyle>
            <a:lvl1pPr marL="0" indent="0" algn="ctr">
              <a:lnSpc>
                <a:spcPct val="100000"/>
              </a:lnSpc>
              <a:spcBef>
                <a:spcPts val="0"/>
              </a:spcBef>
              <a:spcAft>
                <a:spcPts val="1000"/>
              </a:spcAft>
              <a:buNone/>
              <a:defRPr sz="2400" b="1">
                <a:solidFill>
                  <a:srgbClr val="00625F"/>
                </a:solidFill>
                <a:latin typeface="+mj-lt"/>
              </a:defRPr>
            </a:lvl1pPr>
          </a:lstStyle>
          <a:p>
            <a:pPr lvl="0"/>
            <a:r>
              <a:rPr lang="en-GB" dirty="0"/>
              <a:t>Header 3</a:t>
            </a:r>
          </a:p>
        </p:txBody>
      </p:sp>
    </p:spTree>
    <p:extLst>
      <p:ext uri="{BB962C8B-B14F-4D97-AF65-F5344CB8AC3E}">
        <p14:creationId xmlns:p14="http://schemas.microsoft.com/office/powerpoint/2010/main" val="141580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Ripple Right">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658813" y="549276"/>
            <a:ext cx="5113337" cy="1262530"/>
          </a:xfrm>
        </p:spPr>
        <p:txBody>
          <a:bodyPr anchor="b" anchorCtr="0">
            <a:noAutofit/>
          </a:bodyPr>
          <a:lstStyle>
            <a:lvl1pPr marL="0" indent="0">
              <a:lnSpc>
                <a:spcPct val="90000"/>
              </a:lnSpc>
              <a:spcBef>
                <a:spcPts val="0"/>
              </a:spcBef>
              <a:buNone/>
              <a:defRPr sz="4800" b="1">
                <a:solidFill>
                  <a:schemeClr val="tx2"/>
                </a:solidFill>
                <a:latin typeface="+mj-lt"/>
              </a:defRPr>
            </a:lvl1pPr>
          </a:lstStyle>
          <a:p>
            <a:pPr lvl="0"/>
            <a:r>
              <a:rPr lang="en-GB" dirty="0"/>
              <a:t>A captivating headline</a:t>
            </a:r>
          </a:p>
        </p:txBody>
      </p:sp>
      <p:sp>
        <p:nvSpPr>
          <p:cNvPr id="3" name="Graphic 2">
            <a:extLst>
              <a:ext uri="{FF2B5EF4-FFF2-40B4-BE49-F238E27FC236}">
                <a16:creationId xmlns:a16="http://schemas.microsoft.com/office/drawing/2014/main" id="{B25CF752-074D-9B3E-B631-8489DEFC32EC}"/>
              </a:ext>
            </a:extLst>
          </p:cNvPr>
          <p:cNvSpPr/>
          <p:nvPr userDrawn="1"/>
        </p:nvSpPr>
        <p:spPr>
          <a:xfrm>
            <a:off x="7594280"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accent2">
              <a:lumMod val="60000"/>
              <a:lumOff val="40000"/>
            </a:schemeClr>
          </a:solidFill>
          <a:ln w="6350" cap="flat">
            <a:noFill/>
            <a:prstDash val="solid"/>
            <a:miter/>
          </a:ln>
        </p:spPr>
        <p:txBody>
          <a:bodyPr rtlCol="0" anchor="ctr"/>
          <a:lstStyle/>
          <a:p>
            <a:endParaRPr lang="en-GB" dirty="0"/>
          </a:p>
        </p:txBody>
      </p:sp>
      <p:sp>
        <p:nvSpPr>
          <p:cNvPr id="10" name="Slide Number Placeholder 9">
            <a:extLst>
              <a:ext uri="{FF2B5EF4-FFF2-40B4-BE49-F238E27FC236}">
                <a16:creationId xmlns:a16="http://schemas.microsoft.com/office/drawing/2014/main" id="{A9648C54-60DB-26A4-D087-869DAC88F7B1}"/>
              </a:ext>
            </a:extLst>
          </p:cNvPr>
          <p:cNvSpPr>
            <a:spLocks noGrp="1"/>
          </p:cNvSpPr>
          <p:nvPr>
            <p:ph type="sldNum" sz="quarter" idx="18"/>
          </p:nvPr>
        </p:nvSpPr>
        <p:spPr/>
        <p:txBody>
          <a:bodyPr/>
          <a:lstStyle/>
          <a:p>
            <a:fld id="{0994303E-A424-9540-91A8-53B791C91E8F}" type="slidenum">
              <a:rPr lang="en-GB" smtClean="0"/>
              <a:pPr/>
              <a:t>‹#›</a:t>
            </a:fld>
            <a:endParaRPr lang="en-GB" dirty="0"/>
          </a:p>
        </p:txBody>
      </p:sp>
      <p:sp>
        <p:nvSpPr>
          <p:cNvPr id="35" name="Text Placeholder 9">
            <a:extLst>
              <a:ext uri="{FF2B5EF4-FFF2-40B4-BE49-F238E27FC236}">
                <a16:creationId xmlns:a16="http://schemas.microsoft.com/office/drawing/2014/main" id="{9EDF14DF-164B-0FF5-0DEA-DEF7FF36313F}"/>
              </a:ext>
            </a:extLst>
          </p:cNvPr>
          <p:cNvSpPr>
            <a:spLocks noGrp="1"/>
          </p:cNvSpPr>
          <p:nvPr>
            <p:ph type="body" sz="quarter" idx="19" hasCustomPrompt="1"/>
          </p:nvPr>
        </p:nvSpPr>
        <p:spPr>
          <a:xfrm>
            <a:off x="674160" y="1868607"/>
            <a:ext cx="5113338" cy="411162"/>
          </a:xfrm>
          <a:prstGeom prst="rect">
            <a:avLst/>
          </a:prstGeom>
        </p:spPr>
        <p:txBody>
          <a:bodyPr>
            <a:no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dirty="0"/>
              <a:t>Subheading goes here</a:t>
            </a:r>
          </a:p>
        </p:txBody>
      </p:sp>
      <p:sp>
        <p:nvSpPr>
          <p:cNvPr id="37" name="Tijdelijke aanduiding voor tekst 36">
            <a:extLst>
              <a:ext uri="{FF2B5EF4-FFF2-40B4-BE49-F238E27FC236}">
                <a16:creationId xmlns:a16="http://schemas.microsoft.com/office/drawing/2014/main" id="{2D9287EE-287F-05C3-40A6-C95D840119CC}"/>
              </a:ext>
            </a:extLst>
          </p:cNvPr>
          <p:cNvSpPr>
            <a:spLocks noGrp="1"/>
          </p:cNvSpPr>
          <p:nvPr>
            <p:ph type="body" sz="quarter" idx="20" hasCustomPrompt="1"/>
          </p:nvPr>
        </p:nvSpPr>
        <p:spPr>
          <a:xfrm>
            <a:off x="658813" y="2577228"/>
            <a:ext cx="5113337" cy="3228260"/>
          </a:xfrm>
        </p:spPr>
        <p:txBody>
          <a:bodyPr/>
          <a:lstStyle/>
          <a:p>
            <a:pPr lvl="0"/>
            <a:r>
              <a:rPr lang="en-GB" dirty="0"/>
              <a:t>Plain text</a:t>
            </a:r>
          </a:p>
          <a:p>
            <a:pPr lvl="1"/>
            <a:r>
              <a:rPr lang="en-GB" dirty="0"/>
              <a:t>Bullet</a:t>
            </a:r>
          </a:p>
          <a:p>
            <a:pPr lvl="2"/>
            <a:r>
              <a:rPr lang="en-GB" dirty="0"/>
              <a:t>Sub-bullet</a:t>
            </a:r>
          </a:p>
          <a:p>
            <a:pPr lvl="3"/>
            <a:r>
              <a:rPr lang="en-GB" dirty="0"/>
              <a:t>Header #1</a:t>
            </a:r>
          </a:p>
          <a:p>
            <a:pPr lvl="4"/>
            <a:r>
              <a:rPr lang="en-GB" dirty="0"/>
              <a:t>Header #2</a:t>
            </a:r>
          </a:p>
        </p:txBody>
      </p:sp>
    </p:spTree>
    <p:extLst>
      <p:ext uri="{BB962C8B-B14F-4D97-AF65-F5344CB8AC3E}">
        <p14:creationId xmlns:p14="http://schemas.microsoft.com/office/powerpoint/2010/main" val="204558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mp; Twirl">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25B6C1A5-44FF-F1AD-DBF4-D4CCDB07A7E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Graphic 2">
            <a:extLst>
              <a:ext uri="{FF2B5EF4-FFF2-40B4-BE49-F238E27FC236}">
                <a16:creationId xmlns:a16="http://schemas.microsoft.com/office/drawing/2014/main" id="{2C9A5477-FA54-1B76-75EA-F9CE4CA68E22}"/>
              </a:ext>
            </a:extLst>
          </p:cNvPr>
          <p:cNvSpPr/>
          <p:nvPr userDrawn="1"/>
        </p:nvSpPr>
        <p:spPr>
          <a:xfrm>
            <a:off x="7594280"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accent2">
              <a:lumMod val="60000"/>
              <a:lumOff val="40000"/>
            </a:schemeClr>
          </a:solidFill>
          <a:ln w="6350" cap="flat">
            <a:noFill/>
            <a:prstDash val="solid"/>
            <a:miter/>
          </a:ln>
        </p:spPr>
        <p:txBody>
          <a:bodyPr rtlCol="0" anchor="ctr"/>
          <a:lstStyle/>
          <a:p>
            <a:endParaRPr lang="en-GB" dirty="0"/>
          </a:p>
        </p:txBody>
      </p:sp>
      <p:sp>
        <p:nvSpPr>
          <p:cNvPr id="10" name="Text Placeholder 9">
            <a:extLst>
              <a:ext uri="{FF2B5EF4-FFF2-40B4-BE49-F238E27FC236}">
                <a16:creationId xmlns:a16="http://schemas.microsoft.com/office/drawing/2014/main" id="{F865479B-4854-AF39-B9FB-ED1CC2C6FC47}"/>
              </a:ext>
            </a:extLst>
          </p:cNvPr>
          <p:cNvSpPr>
            <a:spLocks noGrp="1"/>
          </p:cNvSpPr>
          <p:nvPr>
            <p:ph type="body" sz="quarter" idx="18" hasCustomPrompt="1"/>
          </p:nvPr>
        </p:nvSpPr>
        <p:spPr>
          <a:xfrm>
            <a:off x="674159" y="1051658"/>
            <a:ext cx="10859029" cy="411162"/>
          </a:xfrm>
          <a:prstGeom prst="rect">
            <a:avLst/>
          </a:prstGeom>
        </p:spPr>
        <p:txBody>
          <a:bodyPr>
            <a:no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dirty="0"/>
              <a:t>Subheading </a:t>
            </a:r>
            <a:r>
              <a:rPr lang="en-GB"/>
              <a:t>goes here</a:t>
            </a:r>
            <a:endParaRPr lang="en-GB" dirty="0"/>
          </a:p>
        </p:txBody>
      </p:sp>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lvl1pPr>
              <a:defRPr>
                <a:solidFill>
                  <a:schemeClr val="tx2"/>
                </a:solidFill>
              </a:defRPr>
            </a:lvl1pPr>
          </a:lstStyle>
          <a:p>
            <a:r>
              <a:rPr lang="en-GB" dirty="0"/>
              <a:t>Regular heading </a:t>
            </a:r>
            <a:r>
              <a:rPr lang="en-GB"/>
              <a:t>goes here</a:t>
            </a:r>
            <a:endParaRPr lang="en-GB" dirty="0"/>
          </a:p>
        </p:txBody>
      </p:sp>
    </p:spTree>
    <p:extLst>
      <p:ext uri="{BB962C8B-B14F-4D97-AF65-F5344CB8AC3E}">
        <p14:creationId xmlns:p14="http://schemas.microsoft.com/office/powerpoint/2010/main" val="3487682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25B6C1A5-44FF-F1AD-DBF4-D4CCDB07A7E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lvl1pPr>
              <a:defRPr>
                <a:solidFill>
                  <a:schemeClr val="tx2"/>
                </a:solidFill>
              </a:defRPr>
            </a:lvl1pPr>
          </a:lstStyle>
          <a:p>
            <a:r>
              <a:rPr lang="en-GB" dirty="0"/>
              <a:t>Regular heading </a:t>
            </a:r>
            <a:r>
              <a:rPr lang="en-GB"/>
              <a:t>goes here</a:t>
            </a:r>
            <a:endParaRPr lang="en-GB" dirty="0"/>
          </a:p>
        </p:txBody>
      </p:sp>
      <p:sp>
        <p:nvSpPr>
          <p:cNvPr id="4" name="Text Placeholder 9">
            <a:extLst>
              <a:ext uri="{FF2B5EF4-FFF2-40B4-BE49-F238E27FC236}">
                <a16:creationId xmlns:a16="http://schemas.microsoft.com/office/drawing/2014/main" id="{2C531370-F196-1C33-7DC8-DBF0301C2AE1}"/>
              </a:ext>
            </a:extLst>
          </p:cNvPr>
          <p:cNvSpPr>
            <a:spLocks noGrp="1"/>
          </p:cNvSpPr>
          <p:nvPr>
            <p:ph type="body" sz="quarter" idx="18" hasCustomPrompt="1"/>
          </p:nvPr>
        </p:nvSpPr>
        <p:spPr>
          <a:xfrm>
            <a:off x="674159" y="1051658"/>
            <a:ext cx="10859029" cy="411162"/>
          </a:xfrm>
          <a:prstGeom prst="rect">
            <a:avLst/>
          </a:prstGeom>
        </p:spPr>
        <p:txBody>
          <a:bodyPr>
            <a:no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dirty="0"/>
              <a:t>Subheading </a:t>
            </a:r>
            <a:r>
              <a:rPr lang="en-GB"/>
              <a:t>goes here</a:t>
            </a:r>
            <a:endParaRPr lang="en-GB" dirty="0"/>
          </a:p>
        </p:txBody>
      </p:sp>
    </p:spTree>
    <p:extLst>
      <p:ext uri="{BB962C8B-B14F-4D97-AF65-F5344CB8AC3E}">
        <p14:creationId xmlns:p14="http://schemas.microsoft.com/office/powerpoint/2010/main" val="443322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Light Gree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1D89FB0-6CFF-6E62-33F9-DC5EB8AA7D66}"/>
              </a:ext>
            </a:extLst>
          </p:cNvPr>
          <p:cNvSpPr>
            <a:spLocks noGrp="1"/>
          </p:cNvSpPr>
          <p:nvPr>
            <p:ph type="sldNum" sz="quarter" idx="10"/>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371363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act Page (Final Slide)">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D336762B-12C6-AC7D-20A8-0BF19D420C4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6" name="Freeform 45">
            <a:extLst>
              <a:ext uri="{FF2B5EF4-FFF2-40B4-BE49-F238E27FC236}">
                <a16:creationId xmlns:a16="http://schemas.microsoft.com/office/drawing/2014/main" id="{ED58F06A-4E75-11CA-DD84-D82A28580E6C}"/>
              </a:ext>
            </a:extLst>
          </p:cNvPr>
          <p:cNvSpPr/>
          <p:nvPr userDrawn="1"/>
        </p:nvSpPr>
        <p:spPr>
          <a:xfrm rot="16200000">
            <a:off x="6526030" y="1192031"/>
            <a:ext cx="6858001" cy="4473941"/>
          </a:xfrm>
          <a:custGeom>
            <a:avLst/>
            <a:gdLst>
              <a:gd name="connsiteX0" fmla="*/ 6858001 w 6858001"/>
              <a:gd name="connsiteY0" fmla="*/ 1481976 h 4473941"/>
              <a:gd name="connsiteX1" fmla="*/ 6858001 w 6858001"/>
              <a:gd name="connsiteY1" fmla="*/ 4473941 h 4473941"/>
              <a:gd name="connsiteX2" fmla="*/ 0 w 6858001"/>
              <a:gd name="connsiteY2" fmla="*/ 4473940 h 4473941"/>
              <a:gd name="connsiteX3" fmla="*/ 0 w 6858001"/>
              <a:gd name="connsiteY3" fmla="*/ 1453992 h 4473941"/>
              <a:gd name="connsiteX4" fmla="*/ 180785 w 6858001"/>
              <a:gd name="connsiteY4" fmla="*/ 1237882 h 4473941"/>
              <a:gd name="connsiteX5" fmla="*/ 1224135 w 6858001"/>
              <a:gd name="connsiteY5" fmla="*/ 494665 h 4473941"/>
              <a:gd name="connsiteX6" fmla="*/ 6850143 w 6858001"/>
              <a:gd name="connsiteY6" fmla="*/ 1470727 h 447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1" h="4473941">
                <a:moveTo>
                  <a:pt x="6858001" y="1481976"/>
                </a:moveTo>
                <a:lnTo>
                  <a:pt x="6858001" y="4473941"/>
                </a:lnTo>
                <a:lnTo>
                  <a:pt x="0" y="4473940"/>
                </a:lnTo>
                <a:lnTo>
                  <a:pt x="0" y="1453992"/>
                </a:lnTo>
                <a:lnTo>
                  <a:pt x="180785" y="1237882"/>
                </a:lnTo>
                <a:cubicBezTo>
                  <a:pt x="455780" y="940752"/>
                  <a:pt x="802029" y="686848"/>
                  <a:pt x="1224135" y="494665"/>
                </a:cubicBezTo>
                <a:cubicBezTo>
                  <a:pt x="3073807" y="-359263"/>
                  <a:pt x="5639368" y="-153222"/>
                  <a:pt x="6850143" y="1470727"/>
                </a:cubicBezTo>
                <a:close/>
              </a:path>
            </a:pathLst>
          </a:custGeom>
          <a:solidFill>
            <a:schemeClr val="bg1"/>
          </a:solidFill>
          <a:ln w="6350" cap="flat">
            <a:noFill/>
            <a:prstDash val="solid"/>
            <a:miter/>
          </a:ln>
        </p:spPr>
        <p:txBody>
          <a:bodyPr wrap="square" rtlCol="0" anchor="ctr">
            <a:noAutofit/>
          </a:bodyPr>
          <a:lstStyle/>
          <a:p>
            <a:endParaRPr lang="en-GB" dirty="0"/>
          </a:p>
        </p:txBody>
      </p:sp>
      <p:sp>
        <p:nvSpPr>
          <p:cNvPr id="2" name="Text Placeholder 11">
            <a:extLst>
              <a:ext uri="{FF2B5EF4-FFF2-40B4-BE49-F238E27FC236}">
                <a16:creationId xmlns:a16="http://schemas.microsoft.com/office/drawing/2014/main" id="{E22C4AC5-96D3-7189-5886-4FE0212159BA}"/>
              </a:ext>
            </a:extLst>
          </p:cNvPr>
          <p:cNvSpPr>
            <a:spLocks noGrp="1"/>
          </p:cNvSpPr>
          <p:nvPr>
            <p:ph type="body" sz="quarter" idx="16" hasCustomPrompt="1"/>
          </p:nvPr>
        </p:nvSpPr>
        <p:spPr>
          <a:xfrm>
            <a:off x="658813" y="888335"/>
            <a:ext cx="5113337" cy="877403"/>
          </a:xfrm>
          <a:prstGeom prst="rect">
            <a:avLst/>
          </a:prstGeom>
        </p:spPr>
        <p:txBody>
          <a:bodyPr lIns="0">
            <a:noAutofit/>
          </a:bodyPr>
          <a:lstStyle>
            <a:lvl1pPr marL="0" indent="0">
              <a:lnSpc>
                <a:spcPct val="80000"/>
              </a:lnSpc>
              <a:buNone/>
              <a:defRPr sz="6600" b="1">
                <a:solidFill>
                  <a:srgbClr val="00625F"/>
                </a:solidFill>
                <a:latin typeface="+mj-lt"/>
              </a:defRPr>
            </a:lvl1pPr>
          </a:lstStyle>
          <a:p>
            <a:pPr lvl="0"/>
            <a:r>
              <a:rPr lang="en-GB" dirty="0"/>
              <a:t>Contact Us</a:t>
            </a:r>
          </a:p>
        </p:txBody>
      </p:sp>
      <p:sp>
        <p:nvSpPr>
          <p:cNvPr id="4" name="Text Placeholder 11">
            <a:extLst>
              <a:ext uri="{FF2B5EF4-FFF2-40B4-BE49-F238E27FC236}">
                <a16:creationId xmlns:a16="http://schemas.microsoft.com/office/drawing/2014/main" id="{C3B0FC59-A6B2-62AF-6E58-C250AB0F4720}"/>
              </a:ext>
            </a:extLst>
          </p:cNvPr>
          <p:cNvSpPr>
            <a:spLocks noGrp="1"/>
          </p:cNvSpPr>
          <p:nvPr>
            <p:ph type="body" sz="quarter" idx="19" hasCustomPrompt="1"/>
          </p:nvPr>
        </p:nvSpPr>
        <p:spPr>
          <a:xfrm>
            <a:off x="8684529" y="1765738"/>
            <a:ext cx="2848659" cy="571851"/>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1">
                <a:solidFill>
                  <a:srgbClr val="00625F"/>
                </a:solidFill>
              </a:defRPr>
            </a:lvl1pPr>
          </a:lstStyle>
          <a:p>
            <a:pPr lvl="0"/>
            <a:r>
              <a:rPr lang="en-GB" dirty="0"/>
              <a:t>Partners</a:t>
            </a:r>
          </a:p>
        </p:txBody>
      </p:sp>
      <p:sp>
        <p:nvSpPr>
          <p:cNvPr id="5" name="Text Placeholder 11">
            <a:extLst>
              <a:ext uri="{FF2B5EF4-FFF2-40B4-BE49-F238E27FC236}">
                <a16:creationId xmlns:a16="http://schemas.microsoft.com/office/drawing/2014/main" id="{9E83BBAB-1045-7AEF-2E19-E4B77CB02FEE}"/>
              </a:ext>
            </a:extLst>
          </p:cNvPr>
          <p:cNvSpPr>
            <a:spLocks noGrp="1"/>
          </p:cNvSpPr>
          <p:nvPr>
            <p:ph type="body" sz="quarter" idx="20" hasCustomPrompt="1"/>
          </p:nvPr>
        </p:nvSpPr>
        <p:spPr>
          <a:xfrm>
            <a:off x="658812" y="3787265"/>
            <a:ext cx="5113337" cy="447092"/>
          </a:xfrm>
          <a:prstGeom prst="rect">
            <a:avLst/>
          </a:prstGeom>
        </p:spPr>
        <p:txBody>
          <a:bodyPr lIns="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2400" b="1" i="0">
                <a:solidFill>
                  <a:srgbClr val="00625F"/>
                </a:solidFill>
                <a:latin typeface="+mj-lt"/>
                <a:cs typeface="Arial" panose="020B0604020202020204" pitchFamily="34" charset="0"/>
              </a:defRPr>
            </a:lvl1pPr>
          </a:lstStyle>
          <a:p>
            <a:pPr lvl="0"/>
            <a:r>
              <a:rPr lang="en-GB" dirty="0"/>
              <a:t>Name Surname</a:t>
            </a:r>
          </a:p>
        </p:txBody>
      </p:sp>
      <p:sp>
        <p:nvSpPr>
          <p:cNvPr id="9" name="Text Placeholder 11">
            <a:extLst>
              <a:ext uri="{FF2B5EF4-FFF2-40B4-BE49-F238E27FC236}">
                <a16:creationId xmlns:a16="http://schemas.microsoft.com/office/drawing/2014/main" id="{B96F8581-777C-F944-7BB7-C749DB8995F2}"/>
              </a:ext>
            </a:extLst>
          </p:cNvPr>
          <p:cNvSpPr>
            <a:spLocks noGrp="1"/>
          </p:cNvSpPr>
          <p:nvPr>
            <p:ph type="body" sz="quarter" idx="22" hasCustomPrompt="1"/>
          </p:nvPr>
        </p:nvSpPr>
        <p:spPr>
          <a:xfrm>
            <a:off x="658812" y="4348215"/>
            <a:ext cx="5113337" cy="962820"/>
          </a:xfrm>
          <a:prstGeom prst="rect">
            <a:avLst/>
          </a:prstGeom>
        </p:spPr>
        <p:txBody>
          <a:bodyPr lIns="0">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1"/>
                </a:solidFill>
              </a:defRPr>
            </a:lvl1pPr>
          </a:lstStyle>
          <a:p>
            <a:pPr lvl="0"/>
            <a:r>
              <a:rPr lang="en-GB" dirty="0"/>
              <a:t>Name of Job Position</a:t>
            </a:r>
          </a:p>
          <a:p>
            <a:pPr lvl="0"/>
            <a:r>
              <a:rPr lang="en-GB" dirty="0" err="1"/>
              <a:t>name@idhtrade.org</a:t>
            </a:r>
            <a:endParaRPr lang="en-GB" dirty="0"/>
          </a:p>
        </p:txBody>
      </p:sp>
      <p:pic>
        <p:nvPicPr>
          <p:cNvPr id="16" name="Picture 15" descr="Graphical user interface, text&#10;&#10;Description automatically generated">
            <a:extLst>
              <a:ext uri="{FF2B5EF4-FFF2-40B4-BE49-F238E27FC236}">
                <a16:creationId xmlns:a16="http://schemas.microsoft.com/office/drawing/2014/main" id="{C2F429DD-6783-6D1F-03DD-3FCD7D374DC9}"/>
              </a:ext>
            </a:extLst>
          </p:cNvPr>
          <p:cNvPicPr>
            <a:picLocks noChangeAspect="1"/>
          </p:cNvPicPr>
          <p:nvPr userDrawn="1"/>
        </p:nvPicPr>
        <p:blipFill>
          <a:blip r:embed="rId3"/>
          <a:stretch>
            <a:fillRect/>
          </a:stretch>
        </p:blipFill>
        <p:spPr>
          <a:xfrm>
            <a:off x="8798437" y="2483316"/>
            <a:ext cx="2722792" cy="1242274"/>
          </a:xfrm>
          <a:prstGeom prst="rect">
            <a:avLst/>
          </a:prstGeom>
        </p:spPr>
      </p:pic>
      <p:pic>
        <p:nvPicPr>
          <p:cNvPr id="18" name="Picture 17" descr="Graphical user interface, text, application&#10;&#10;Description automatically generated">
            <a:extLst>
              <a:ext uri="{FF2B5EF4-FFF2-40B4-BE49-F238E27FC236}">
                <a16:creationId xmlns:a16="http://schemas.microsoft.com/office/drawing/2014/main" id="{8A975317-6BC8-AC61-CFC7-F779B29C063D}"/>
              </a:ext>
            </a:extLst>
          </p:cNvPr>
          <p:cNvPicPr>
            <a:picLocks noChangeAspect="1"/>
          </p:cNvPicPr>
          <p:nvPr userDrawn="1"/>
        </p:nvPicPr>
        <p:blipFill>
          <a:blip r:embed="rId4"/>
          <a:stretch>
            <a:fillRect/>
          </a:stretch>
        </p:blipFill>
        <p:spPr>
          <a:xfrm>
            <a:off x="8711162" y="3980828"/>
            <a:ext cx="3068779" cy="1520566"/>
          </a:xfrm>
          <a:prstGeom prst="rect">
            <a:avLst/>
          </a:prstGeom>
        </p:spPr>
      </p:pic>
      <p:grpSp>
        <p:nvGrpSpPr>
          <p:cNvPr id="47" name="Graphic 77">
            <a:extLst>
              <a:ext uri="{FF2B5EF4-FFF2-40B4-BE49-F238E27FC236}">
                <a16:creationId xmlns:a16="http://schemas.microsoft.com/office/drawing/2014/main" id="{D3DB2466-759A-BEE6-FD80-51C730E1EB6E}"/>
              </a:ext>
            </a:extLst>
          </p:cNvPr>
          <p:cNvGrpSpPr>
            <a:grpSpLocks noChangeAspect="1"/>
          </p:cNvGrpSpPr>
          <p:nvPr userDrawn="1"/>
        </p:nvGrpSpPr>
        <p:grpSpPr>
          <a:xfrm>
            <a:off x="658813" y="5600144"/>
            <a:ext cx="1935718" cy="708581"/>
            <a:chOff x="4489439" y="2838428"/>
            <a:chExt cx="3217768" cy="1177883"/>
          </a:xfrm>
          <a:solidFill>
            <a:schemeClr val="bg1"/>
          </a:solidFill>
        </p:grpSpPr>
        <p:sp>
          <p:nvSpPr>
            <p:cNvPr id="48" name="Freeform 47">
              <a:extLst>
                <a:ext uri="{FF2B5EF4-FFF2-40B4-BE49-F238E27FC236}">
                  <a16:creationId xmlns:a16="http://schemas.microsoft.com/office/drawing/2014/main" id="{770B7D1E-71B1-1F4B-E7B4-3B362402317E}"/>
                </a:ext>
              </a:extLst>
            </p:cNvPr>
            <p:cNvSpPr/>
            <p:nvPr/>
          </p:nvSpPr>
          <p:spPr>
            <a:xfrm>
              <a:off x="4489439" y="2838428"/>
              <a:ext cx="3217388" cy="1177883"/>
            </a:xfrm>
            <a:custGeom>
              <a:avLst/>
              <a:gdLst>
                <a:gd name="connsiteX0" fmla="*/ 1527089 w 3217388"/>
                <a:gd name="connsiteY0" fmla="*/ 295107 h 1177883"/>
                <a:gd name="connsiteX1" fmla="*/ 1705520 w 3217388"/>
                <a:gd name="connsiteY1" fmla="*/ 295107 h 1177883"/>
                <a:gd name="connsiteX2" fmla="*/ 1705520 w 3217388"/>
                <a:gd name="connsiteY2" fmla="*/ 947283 h 1177883"/>
                <a:gd name="connsiteX3" fmla="*/ 1527089 w 3217388"/>
                <a:gd name="connsiteY3" fmla="*/ 947283 h 1177883"/>
                <a:gd name="connsiteX4" fmla="*/ 1527089 w 3217388"/>
                <a:gd name="connsiteY4" fmla="*/ 295107 h 1177883"/>
                <a:gd name="connsiteX5" fmla="*/ 2318481 w 3217388"/>
                <a:gd name="connsiteY5" fmla="*/ 4403 h 1177883"/>
                <a:gd name="connsiteX6" fmla="*/ 2318481 w 3217388"/>
                <a:gd name="connsiteY6" fmla="*/ 386070 h 1177883"/>
                <a:gd name="connsiteX7" fmla="*/ 2100884 w 3217388"/>
                <a:gd name="connsiteY7" fmla="*/ 274533 h 1177883"/>
                <a:gd name="connsiteX8" fmla="*/ 1939848 w 3217388"/>
                <a:gd name="connsiteY8" fmla="*/ 318919 h 1177883"/>
                <a:gd name="connsiteX9" fmla="*/ 1819785 w 3217388"/>
                <a:gd name="connsiteY9" fmla="*/ 441792 h 1177883"/>
                <a:gd name="connsiteX10" fmla="*/ 1776817 w 3217388"/>
                <a:gd name="connsiteY10" fmla="*/ 620576 h 1177883"/>
                <a:gd name="connsiteX11" fmla="*/ 1819785 w 3217388"/>
                <a:gd name="connsiteY11" fmla="*/ 800027 h 1177883"/>
                <a:gd name="connsiteX12" fmla="*/ 1940419 w 3217388"/>
                <a:gd name="connsiteY12" fmla="*/ 922899 h 1177883"/>
                <a:gd name="connsiteX13" fmla="*/ 2111816 w 3217388"/>
                <a:gd name="connsiteY13" fmla="*/ 966619 h 1177883"/>
                <a:gd name="connsiteX14" fmla="*/ 2318481 w 3217388"/>
                <a:gd name="connsiteY14" fmla="*/ 864606 h 1177883"/>
                <a:gd name="connsiteX15" fmla="*/ 2318481 w 3217388"/>
                <a:gd name="connsiteY15" fmla="*/ 947283 h 1177883"/>
                <a:gd name="connsiteX16" fmla="*/ 2496913 w 3217388"/>
                <a:gd name="connsiteY16" fmla="*/ 947283 h 1177883"/>
                <a:gd name="connsiteX17" fmla="*/ 2496913 w 3217388"/>
                <a:gd name="connsiteY17" fmla="*/ 4403 h 1177883"/>
                <a:gd name="connsiteX18" fmla="*/ 2318481 w 3217388"/>
                <a:gd name="connsiteY18" fmla="*/ 4403 h 1177883"/>
                <a:gd name="connsiteX19" fmla="*/ 2146323 w 3217388"/>
                <a:gd name="connsiteY19" fmla="*/ 813648 h 1177883"/>
                <a:gd name="connsiteX20" fmla="*/ 1957815 w 3217388"/>
                <a:gd name="connsiteY20" fmla="*/ 620576 h 1177883"/>
                <a:gd name="connsiteX21" fmla="*/ 2146323 w 3217388"/>
                <a:gd name="connsiteY21" fmla="*/ 427504 h 1177883"/>
                <a:gd name="connsiteX22" fmla="*/ 2334832 w 3217388"/>
                <a:gd name="connsiteY22" fmla="*/ 620576 h 1177883"/>
                <a:gd name="connsiteX23" fmla="*/ 2146323 w 3217388"/>
                <a:gd name="connsiteY23" fmla="*/ 813648 h 1177883"/>
                <a:gd name="connsiteX24" fmla="*/ 3186113 w 3217388"/>
                <a:gd name="connsiteY24" fmla="*/ 403787 h 1177883"/>
                <a:gd name="connsiteX25" fmla="*/ 3097515 w 3217388"/>
                <a:gd name="connsiteY25" fmla="*/ 307298 h 1177883"/>
                <a:gd name="connsiteX26" fmla="*/ 2959485 w 3217388"/>
                <a:gd name="connsiteY26" fmla="*/ 274533 h 1177883"/>
                <a:gd name="connsiteX27" fmla="*/ 2759189 w 3217388"/>
                <a:gd name="connsiteY27" fmla="*/ 385975 h 1177883"/>
                <a:gd name="connsiteX28" fmla="*/ 2759189 w 3217388"/>
                <a:gd name="connsiteY28" fmla="*/ 4403 h 1177883"/>
                <a:gd name="connsiteX29" fmla="*/ 2580567 w 3217388"/>
                <a:gd name="connsiteY29" fmla="*/ 4403 h 1177883"/>
                <a:gd name="connsiteX30" fmla="*/ 2580567 w 3217388"/>
                <a:gd name="connsiteY30" fmla="*/ 947283 h 1177883"/>
                <a:gd name="connsiteX31" fmla="*/ 2759094 w 3217388"/>
                <a:gd name="connsiteY31" fmla="*/ 947283 h 1177883"/>
                <a:gd name="connsiteX32" fmla="*/ 2759094 w 3217388"/>
                <a:gd name="connsiteY32" fmla="*/ 598097 h 1177883"/>
                <a:gd name="connsiteX33" fmla="*/ 2902162 w 3217388"/>
                <a:gd name="connsiteY33" fmla="*/ 429219 h 1177883"/>
                <a:gd name="connsiteX34" fmla="*/ 3038957 w 3217388"/>
                <a:gd name="connsiteY34" fmla="*/ 598097 h 1177883"/>
                <a:gd name="connsiteX35" fmla="*/ 3038957 w 3217388"/>
                <a:gd name="connsiteY35" fmla="*/ 947283 h 1177883"/>
                <a:gd name="connsiteX36" fmla="*/ 3217388 w 3217388"/>
                <a:gd name="connsiteY36" fmla="*/ 947283 h 1177883"/>
                <a:gd name="connsiteX37" fmla="*/ 3217388 w 3217388"/>
                <a:gd name="connsiteY37" fmla="*/ 560092 h 1177883"/>
                <a:gd name="connsiteX38" fmla="*/ 3185923 w 3217388"/>
                <a:gd name="connsiteY38" fmla="*/ 403787 h 1177883"/>
                <a:gd name="connsiteX39" fmla="*/ 1731282 w 3217388"/>
                <a:gd name="connsiteY39" fmla="*/ 100701 h 1177883"/>
                <a:gd name="connsiteX40" fmla="*/ 1615972 w 3217388"/>
                <a:gd name="connsiteY40" fmla="*/ 216906 h 1177883"/>
                <a:gd name="connsiteX41" fmla="*/ 1507221 w 3217388"/>
                <a:gd name="connsiteY41" fmla="*/ 156803 h 1177883"/>
                <a:gd name="connsiteX42" fmla="*/ 1560836 w 3217388"/>
                <a:gd name="connsiteY42" fmla="*/ 8499 h 1177883"/>
                <a:gd name="connsiteX43" fmla="*/ 1731187 w 3217388"/>
                <a:gd name="connsiteY43" fmla="*/ 100606 h 1177883"/>
                <a:gd name="connsiteX44" fmla="*/ 1731187 w 3217388"/>
                <a:gd name="connsiteY44" fmla="*/ 100606 h 1177883"/>
                <a:gd name="connsiteX45" fmla="*/ 243274 w 3217388"/>
                <a:gd name="connsiteY45" fmla="*/ 1020912 h 1177883"/>
                <a:gd name="connsiteX46" fmla="*/ 250974 w 3217388"/>
                <a:gd name="connsiteY46" fmla="*/ 1046439 h 1177883"/>
                <a:gd name="connsiteX47" fmla="*/ 217798 w 3217388"/>
                <a:gd name="connsiteY47" fmla="*/ 1047010 h 1177883"/>
                <a:gd name="connsiteX48" fmla="*/ 198975 w 3217388"/>
                <a:gd name="connsiteY48" fmla="*/ 1012625 h 1177883"/>
                <a:gd name="connsiteX49" fmla="*/ 243274 w 3217388"/>
                <a:gd name="connsiteY49" fmla="*/ 1020912 h 1177883"/>
                <a:gd name="connsiteX50" fmla="*/ 848820 w 3217388"/>
                <a:gd name="connsiteY50" fmla="*/ 564283 h 1177883"/>
                <a:gd name="connsiteX51" fmla="*/ 826290 w 3217388"/>
                <a:gd name="connsiteY51" fmla="*/ 650103 h 1177883"/>
                <a:gd name="connsiteX52" fmla="*/ 712121 w 3217388"/>
                <a:gd name="connsiteY52" fmla="*/ 716302 h 1177883"/>
                <a:gd name="connsiteX53" fmla="*/ 683507 w 3217388"/>
                <a:gd name="connsiteY53" fmla="*/ 719255 h 1177883"/>
                <a:gd name="connsiteX54" fmla="*/ 564489 w 3217388"/>
                <a:gd name="connsiteY54" fmla="*/ 646103 h 1177883"/>
                <a:gd name="connsiteX55" fmla="*/ 631223 w 3217388"/>
                <a:gd name="connsiteY55" fmla="*/ 446173 h 1177883"/>
                <a:gd name="connsiteX56" fmla="*/ 765451 w 3217388"/>
                <a:gd name="connsiteY56" fmla="*/ 454841 h 1177883"/>
                <a:gd name="connsiteX57" fmla="*/ 848915 w 3217388"/>
                <a:gd name="connsiteY57" fmla="*/ 563997 h 1177883"/>
                <a:gd name="connsiteX58" fmla="*/ 848915 w 3217388"/>
                <a:gd name="connsiteY58" fmla="*/ 564188 h 1177883"/>
                <a:gd name="connsiteX59" fmla="*/ 808039 w 3217388"/>
                <a:gd name="connsiteY59" fmla="*/ 570760 h 1177883"/>
                <a:gd name="connsiteX60" fmla="*/ 718680 w 3217388"/>
                <a:gd name="connsiteY60" fmla="*/ 484749 h 1177883"/>
                <a:gd name="connsiteX61" fmla="*/ 692158 w 3217388"/>
                <a:gd name="connsiteY61" fmla="*/ 481511 h 1177883"/>
                <a:gd name="connsiteX62" fmla="*/ 624759 w 3217388"/>
                <a:gd name="connsiteY62" fmla="*/ 514182 h 1177883"/>
                <a:gd name="connsiteX63" fmla="*/ 612211 w 3217388"/>
                <a:gd name="connsiteY63" fmla="*/ 626291 h 1177883"/>
                <a:gd name="connsiteX64" fmla="*/ 684933 w 3217388"/>
                <a:gd name="connsiteY64" fmla="*/ 671058 h 1177883"/>
                <a:gd name="connsiteX65" fmla="*/ 788076 w 3217388"/>
                <a:gd name="connsiteY65" fmla="*/ 630006 h 1177883"/>
                <a:gd name="connsiteX66" fmla="*/ 807943 w 3217388"/>
                <a:gd name="connsiteY66" fmla="*/ 570665 h 1177883"/>
                <a:gd name="connsiteX67" fmla="*/ 893024 w 3217388"/>
                <a:gd name="connsiteY67" fmla="*/ 502656 h 1177883"/>
                <a:gd name="connsiteX68" fmla="*/ 838173 w 3217388"/>
                <a:gd name="connsiteY68" fmla="*/ 782977 h 1177883"/>
                <a:gd name="connsiteX69" fmla="*/ 677043 w 3217388"/>
                <a:gd name="connsiteY69" fmla="*/ 846414 h 1177883"/>
                <a:gd name="connsiteX70" fmla="*/ 622097 w 3217388"/>
                <a:gd name="connsiteY70" fmla="*/ 840508 h 1177883"/>
                <a:gd name="connsiteX71" fmla="*/ 418569 w 3217388"/>
                <a:gd name="connsiteY71" fmla="*/ 675059 h 1177883"/>
                <a:gd name="connsiteX72" fmla="*/ 419710 w 3217388"/>
                <a:gd name="connsiteY72" fmla="*/ 475224 h 1177883"/>
                <a:gd name="connsiteX73" fmla="*/ 569147 w 3217388"/>
                <a:gd name="connsiteY73" fmla="*/ 334254 h 1177883"/>
                <a:gd name="connsiteX74" fmla="*/ 753663 w 3217388"/>
                <a:gd name="connsiteY74" fmla="*/ 342922 h 1177883"/>
                <a:gd name="connsiteX75" fmla="*/ 893024 w 3217388"/>
                <a:gd name="connsiteY75" fmla="*/ 502561 h 1177883"/>
                <a:gd name="connsiteX76" fmla="*/ 880381 w 3217388"/>
                <a:gd name="connsiteY76" fmla="*/ 507323 h 1177883"/>
                <a:gd name="connsiteX77" fmla="*/ 880381 w 3217388"/>
                <a:gd name="connsiteY77" fmla="*/ 507323 h 1177883"/>
                <a:gd name="connsiteX78" fmla="*/ 670198 w 3217388"/>
                <a:gd name="connsiteY78" fmla="*/ 370449 h 1177883"/>
                <a:gd name="connsiteX79" fmla="*/ 669153 w 3217388"/>
                <a:gd name="connsiteY79" fmla="*/ 370449 h 1177883"/>
                <a:gd name="connsiteX80" fmla="*/ 485588 w 3217388"/>
                <a:gd name="connsiteY80" fmla="*/ 460746 h 1177883"/>
                <a:gd name="connsiteX81" fmla="*/ 448704 w 3217388"/>
                <a:gd name="connsiteY81" fmla="*/ 664391 h 1177883"/>
                <a:gd name="connsiteX82" fmla="*/ 557170 w 3217388"/>
                <a:gd name="connsiteY82" fmla="*/ 793264 h 1177883"/>
                <a:gd name="connsiteX83" fmla="*/ 734270 w 3217388"/>
                <a:gd name="connsiteY83" fmla="*/ 794121 h 1177883"/>
                <a:gd name="connsiteX84" fmla="*/ 880381 w 3217388"/>
                <a:gd name="connsiteY84" fmla="*/ 507419 h 1177883"/>
                <a:gd name="connsiteX85" fmla="*/ 634645 w 3217388"/>
                <a:gd name="connsiteY85" fmla="*/ 996051 h 1177883"/>
                <a:gd name="connsiteX86" fmla="*/ 488535 w 3217388"/>
                <a:gd name="connsiteY86" fmla="*/ 966524 h 1177883"/>
                <a:gd name="connsiteX87" fmla="*/ 255062 w 3217388"/>
                <a:gd name="connsiteY87" fmla="*/ 426742 h 1177883"/>
                <a:gd name="connsiteX88" fmla="*/ 580460 w 3217388"/>
                <a:gd name="connsiteY88" fmla="*/ 157280 h 1177883"/>
                <a:gd name="connsiteX89" fmla="*/ 969359 w 3217388"/>
                <a:gd name="connsiteY89" fmla="*/ 317490 h 1177883"/>
                <a:gd name="connsiteX90" fmla="*/ 1014704 w 3217388"/>
                <a:gd name="connsiteY90" fmla="*/ 721255 h 1177883"/>
                <a:gd name="connsiteX91" fmla="*/ 785129 w 3217388"/>
                <a:gd name="connsiteY91" fmla="*/ 964714 h 1177883"/>
                <a:gd name="connsiteX92" fmla="*/ 634645 w 3217388"/>
                <a:gd name="connsiteY92" fmla="*/ 996051 h 1177883"/>
                <a:gd name="connsiteX93" fmla="*/ 1002631 w 3217388"/>
                <a:gd name="connsiteY93" fmla="*/ 716493 h 1177883"/>
                <a:gd name="connsiteX94" fmla="*/ 945593 w 3217388"/>
                <a:gd name="connsiteY94" fmla="*/ 359496 h 1177883"/>
                <a:gd name="connsiteX95" fmla="*/ 637212 w 3217388"/>
                <a:gd name="connsiteY95" fmla="*/ 204333 h 1177883"/>
                <a:gd name="connsiteX96" fmla="*/ 590156 w 3217388"/>
                <a:gd name="connsiteY96" fmla="*/ 207191 h 1177883"/>
                <a:gd name="connsiteX97" fmla="*/ 284151 w 3217388"/>
                <a:gd name="connsiteY97" fmla="*/ 438077 h 1177883"/>
                <a:gd name="connsiteX98" fmla="*/ 376456 w 3217388"/>
                <a:gd name="connsiteY98" fmla="*/ 851748 h 1177883"/>
                <a:gd name="connsiteX99" fmla="*/ 744632 w 3217388"/>
                <a:gd name="connsiteY99" fmla="*/ 937568 h 1177883"/>
                <a:gd name="connsiteX100" fmla="*/ 1002536 w 3217388"/>
                <a:gd name="connsiteY100" fmla="*/ 716493 h 1177883"/>
                <a:gd name="connsiteX101" fmla="*/ 1002536 w 3217388"/>
                <a:gd name="connsiteY101" fmla="*/ 716493 h 1177883"/>
                <a:gd name="connsiteX102" fmla="*/ 43834 w 3217388"/>
                <a:gd name="connsiteY102" fmla="*/ 569617 h 1177883"/>
                <a:gd name="connsiteX103" fmla="*/ 240328 w 3217388"/>
                <a:gd name="connsiteY103" fmla="*/ 192998 h 1177883"/>
                <a:gd name="connsiteX104" fmla="*/ 636451 w 3217388"/>
                <a:gd name="connsiteY104" fmla="*/ 44408 h 1177883"/>
                <a:gd name="connsiteX105" fmla="*/ 1012897 w 3217388"/>
                <a:gd name="connsiteY105" fmla="*/ 220240 h 1177883"/>
                <a:gd name="connsiteX106" fmla="*/ 1019742 w 3217388"/>
                <a:gd name="connsiteY106" fmla="*/ 223955 h 1177883"/>
                <a:gd name="connsiteX107" fmla="*/ 1027537 w 3217388"/>
                <a:gd name="connsiteY107" fmla="*/ 221288 h 1177883"/>
                <a:gd name="connsiteX108" fmla="*/ 1030674 w 3217388"/>
                <a:gd name="connsiteY108" fmla="*/ 213668 h 1177883"/>
                <a:gd name="connsiteX109" fmla="*/ 1027822 w 3217388"/>
                <a:gd name="connsiteY109" fmla="*/ 206905 h 1177883"/>
                <a:gd name="connsiteX110" fmla="*/ 565345 w 3217388"/>
                <a:gd name="connsiteY110" fmla="*/ 212 h 1177883"/>
                <a:gd name="connsiteX111" fmla="*/ 119504 w 3217388"/>
                <a:gd name="connsiteY111" fmla="*/ 229765 h 1177883"/>
                <a:gd name="connsiteX112" fmla="*/ 148402 w 3217388"/>
                <a:gd name="connsiteY112" fmla="*/ 978049 h 1177883"/>
                <a:gd name="connsiteX113" fmla="*/ 152775 w 3217388"/>
                <a:gd name="connsiteY113" fmla="*/ 982907 h 1177883"/>
                <a:gd name="connsiteX114" fmla="*/ 155057 w 3217388"/>
                <a:gd name="connsiteY114" fmla="*/ 985383 h 1177883"/>
                <a:gd name="connsiteX115" fmla="*/ 156198 w 3217388"/>
                <a:gd name="connsiteY115" fmla="*/ 986050 h 1177883"/>
                <a:gd name="connsiteX116" fmla="*/ 162852 w 3217388"/>
                <a:gd name="connsiteY116" fmla="*/ 987860 h 1177883"/>
                <a:gd name="connsiteX117" fmla="*/ 166464 w 3217388"/>
                <a:gd name="connsiteY117" fmla="*/ 987384 h 1177883"/>
                <a:gd name="connsiteX118" fmla="*/ 173974 w 3217388"/>
                <a:gd name="connsiteY118" fmla="*/ 981383 h 1177883"/>
                <a:gd name="connsiteX119" fmla="*/ 172168 w 3217388"/>
                <a:gd name="connsiteY119" fmla="*/ 967191 h 1177883"/>
                <a:gd name="connsiteX120" fmla="*/ 43929 w 3217388"/>
                <a:gd name="connsiteY120" fmla="*/ 569712 h 1177883"/>
                <a:gd name="connsiteX121" fmla="*/ 1172032 w 3217388"/>
                <a:gd name="connsiteY121" fmla="*/ 561997 h 1177883"/>
                <a:gd name="connsiteX122" fmla="*/ 1171651 w 3217388"/>
                <a:gd name="connsiteY122" fmla="*/ 559902 h 1177883"/>
                <a:gd name="connsiteX123" fmla="*/ 1159578 w 3217388"/>
                <a:gd name="connsiteY123" fmla="*/ 550853 h 1177883"/>
                <a:gd name="connsiteX124" fmla="*/ 1150738 w 3217388"/>
                <a:gd name="connsiteY124" fmla="*/ 555520 h 1177883"/>
                <a:gd name="connsiteX125" fmla="*/ 1148076 w 3217388"/>
                <a:gd name="connsiteY125" fmla="*/ 565521 h 1177883"/>
                <a:gd name="connsiteX126" fmla="*/ 1074403 w 3217388"/>
                <a:gd name="connsiteY126" fmla="*/ 861939 h 1177883"/>
                <a:gd name="connsiteX127" fmla="*/ 621241 w 3217388"/>
                <a:gd name="connsiteY127" fmla="*/ 1150642 h 1177883"/>
                <a:gd name="connsiteX128" fmla="*/ 609169 w 3217388"/>
                <a:gd name="connsiteY128" fmla="*/ 1165692 h 1177883"/>
                <a:gd name="connsiteX129" fmla="*/ 620481 w 3217388"/>
                <a:gd name="connsiteY129" fmla="*/ 1177693 h 1177883"/>
                <a:gd name="connsiteX130" fmla="*/ 621432 w 3217388"/>
                <a:gd name="connsiteY130" fmla="*/ 1177884 h 1177883"/>
                <a:gd name="connsiteX131" fmla="*/ 622382 w 3217388"/>
                <a:gd name="connsiteY131" fmla="*/ 1177884 h 1177883"/>
                <a:gd name="connsiteX132" fmla="*/ 664685 w 3217388"/>
                <a:gd name="connsiteY132" fmla="*/ 1174264 h 1177883"/>
                <a:gd name="connsiteX133" fmla="*/ 1045599 w 3217388"/>
                <a:gd name="connsiteY133" fmla="*/ 963285 h 1177883"/>
                <a:gd name="connsiteX134" fmla="*/ 1172032 w 3217388"/>
                <a:gd name="connsiteY134" fmla="*/ 561997 h 1177883"/>
                <a:gd name="connsiteX135" fmla="*/ 1170130 w 3217388"/>
                <a:gd name="connsiteY135" fmla="*/ 489226 h 1177883"/>
                <a:gd name="connsiteX136" fmla="*/ 1142657 w 3217388"/>
                <a:gd name="connsiteY136" fmla="*/ 363591 h 1177883"/>
                <a:gd name="connsiteX137" fmla="*/ 1115565 w 3217388"/>
                <a:gd name="connsiteY137" fmla="*/ 352923 h 1177883"/>
                <a:gd name="connsiteX138" fmla="*/ 1114804 w 3217388"/>
                <a:gd name="connsiteY138" fmla="*/ 389975 h 1177883"/>
                <a:gd name="connsiteX139" fmla="*/ 1145414 w 3217388"/>
                <a:gd name="connsiteY139" fmla="*/ 486559 h 1177883"/>
                <a:gd name="connsiteX140" fmla="*/ 1158913 w 3217388"/>
                <a:gd name="connsiteY140" fmla="*/ 501418 h 1177883"/>
                <a:gd name="connsiteX141" fmla="*/ 1170130 w 3217388"/>
                <a:gd name="connsiteY141" fmla="*/ 489321 h 117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217388" h="1177883">
                  <a:moveTo>
                    <a:pt x="1527089" y="295107"/>
                  </a:moveTo>
                  <a:lnTo>
                    <a:pt x="1705520" y="295107"/>
                  </a:lnTo>
                  <a:lnTo>
                    <a:pt x="1705520" y="947283"/>
                  </a:lnTo>
                  <a:lnTo>
                    <a:pt x="1527089" y="947283"/>
                  </a:lnTo>
                  <a:lnTo>
                    <a:pt x="1527089" y="295107"/>
                  </a:lnTo>
                  <a:close/>
                  <a:moveTo>
                    <a:pt x="2318481" y="4403"/>
                  </a:moveTo>
                  <a:lnTo>
                    <a:pt x="2318481" y="386070"/>
                  </a:lnTo>
                  <a:cubicBezTo>
                    <a:pt x="2295095" y="345779"/>
                    <a:pt x="2216669" y="274533"/>
                    <a:pt x="2100884" y="274533"/>
                  </a:cubicBezTo>
                  <a:cubicBezTo>
                    <a:pt x="2046888" y="274533"/>
                    <a:pt x="1991182" y="289296"/>
                    <a:pt x="1939848" y="318919"/>
                  </a:cubicBezTo>
                  <a:cubicBezTo>
                    <a:pt x="1888515" y="348542"/>
                    <a:pt x="1848494" y="389499"/>
                    <a:pt x="1819785" y="441792"/>
                  </a:cubicBezTo>
                  <a:cubicBezTo>
                    <a:pt x="1791076" y="494084"/>
                    <a:pt x="1776817" y="553710"/>
                    <a:pt x="1776817" y="620576"/>
                  </a:cubicBezTo>
                  <a:cubicBezTo>
                    <a:pt x="1776817" y="687441"/>
                    <a:pt x="1791171" y="747258"/>
                    <a:pt x="1819785" y="800027"/>
                  </a:cubicBezTo>
                  <a:cubicBezTo>
                    <a:pt x="1848399" y="852795"/>
                    <a:pt x="1888705" y="893753"/>
                    <a:pt x="1940419" y="922899"/>
                  </a:cubicBezTo>
                  <a:cubicBezTo>
                    <a:pt x="1992228" y="952046"/>
                    <a:pt x="2048409" y="966619"/>
                    <a:pt x="2111816" y="966619"/>
                  </a:cubicBezTo>
                  <a:cubicBezTo>
                    <a:pt x="2223704" y="966619"/>
                    <a:pt x="2302605" y="899182"/>
                    <a:pt x="2318481" y="864606"/>
                  </a:cubicBezTo>
                  <a:lnTo>
                    <a:pt x="2318481" y="947283"/>
                  </a:lnTo>
                  <a:cubicBezTo>
                    <a:pt x="2318481" y="947283"/>
                    <a:pt x="2496913" y="947283"/>
                    <a:pt x="2496913" y="947283"/>
                  </a:cubicBezTo>
                  <a:lnTo>
                    <a:pt x="2496913" y="4403"/>
                  </a:lnTo>
                  <a:lnTo>
                    <a:pt x="2318481" y="4403"/>
                  </a:lnTo>
                  <a:close/>
                  <a:moveTo>
                    <a:pt x="2146323" y="813648"/>
                  </a:moveTo>
                  <a:cubicBezTo>
                    <a:pt x="2030633" y="813648"/>
                    <a:pt x="1957815" y="728304"/>
                    <a:pt x="1957815" y="620576"/>
                  </a:cubicBezTo>
                  <a:cubicBezTo>
                    <a:pt x="1957815" y="512848"/>
                    <a:pt x="2030252" y="427504"/>
                    <a:pt x="2146323" y="427504"/>
                  </a:cubicBezTo>
                  <a:cubicBezTo>
                    <a:pt x="2262394" y="427504"/>
                    <a:pt x="2334832" y="512848"/>
                    <a:pt x="2334832" y="620576"/>
                  </a:cubicBezTo>
                  <a:cubicBezTo>
                    <a:pt x="2334832" y="728304"/>
                    <a:pt x="2260398" y="813648"/>
                    <a:pt x="2146323" y="813648"/>
                  </a:cubicBezTo>
                  <a:close/>
                  <a:moveTo>
                    <a:pt x="3186113" y="403787"/>
                  </a:moveTo>
                  <a:cubicBezTo>
                    <a:pt x="3165104" y="361305"/>
                    <a:pt x="3135635" y="329206"/>
                    <a:pt x="3097515" y="307298"/>
                  </a:cubicBezTo>
                  <a:cubicBezTo>
                    <a:pt x="3059395" y="285391"/>
                    <a:pt x="3013480" y="274533"/>
                    <a:pt x="2959485" y="274533"/>
                  </a:cubicBezTo>
                  <a:cubicBezTo>
                    <a:pt x="2848832" y="274533"/>
                    <a:pt x="2777441" y="350351"/>
                    <a:pt x="2759189" y="385975"/>
                  </a:cubicBezTo>
                  <a:lnTo>
                    <a:pt x="2759189" y="4403"/>
                  </a:lnTo>
                  <a:lnTo>
                    <a:pt x="2580567" y="4403"/>
                  </a:lnTo>
                  <a:lnTo>
                    <a:pt x="2580567" y="947283"/>
                  </a:lnTo>
                  <a:lnTo>
                    <a:pt x="2759094" y="947283"/>
                  </a:lnTo>
                  <a:lnTo>
                    <a:pt x="2759094" y="598097"/>
                  </a:lnTo>
                  <a:cubicBezTo>
                    <a:pt x="2759094" y="495227"/>
                    <a:pt x="2816987" y="429219"/>
                    <a:pt x="2902162" y="429219"/>
                  </a:cubicBezTo>
                  <a:cubicBezTo>
                    <a:pt x="2947792" y="429219"/>
                    <a:pt x="3038957" y="462175"/>
                    <a:pt x="3038957" y="598097"/>
                  </a:cubicBezTo>
                  <a:lnTo>
                    <a:pt x="3038957" y="947283"/>
                  </a:lnTo>
                  <a:lnTo>
                    <a:pt x="3217388" y="947283"/>
                  </a:lnTo>
                  <a:lnTo>
                    <a:pt x="3217388" y="560092"/>
                  </a:lnTo>
                  <a:cubicBezTo>
                    <a:pt x="3217388" y="498370"/>
                    <a:pt x="3206932" y="446268"/>
                    <a:pt x="3185923" y="403787"/>
                  </a:cubicBezTo>
                  <a:close/>
                  <a:moveTo>
                    <a:pt x="1731282" y="100701"/>
                  </a:moveTo>
                  <a:cubicBezTo>
                    <a:pt x="1740503" y="166900"/>
                    <a:pt x="1673104" y="211667"/>
                    <a:pt x="1615972" y="216906"/>
                  </a:cubicBezTo>
                  <a:cubicBezTo>
                    <a:pt x="1570342" y="223193"/>
                    <a:pt x="1522621" y="204333"/>
                    <a:pt x="1507221" y="156803"/>
                  </a:cubicBezTo>
                  <a:cubicBezTo>
                    <a:pt x="1489539" y="102987"/>
                    <a:pt x="1506555" y="32978"/>
                    <a:pt x="1560836" y="8499"/>
                  </a:cubicBezTo>
                  <a:cubicBezTo>
                    <a:pt x="1627474" y="-20266"/>
                    <a:pt x="1718163" y="27359"/>
                    <a:pt x="1731187" y="100606"/>
                  </a:cubicBezTo>
                  <a:lnTo>
                    <a:pt x="1731187" y="100606"/>
                  </a:lnTo>
                  <a:close/>
                  <a:moveTo>
                    <a:pt x="243274" y="1020912"/>
                  </a:moveTo>
                  <a:cubicBezTo>
                    <a:pt x="251735" y="1025864"/>
                    <a:pt x="257819" y="1034437"/>
                    <a:pt x="250974" y="1046439"/>
                  </a:cubicBezTo>
                  <a:cubicBezTo>
                    <a:pt x="244130" y="1058440"/>
                    <a:pt x="225213" y="1053297"/>
                    <a:pt x="217798" y="1047010"/>
                  </a:cubicBezTo>
                  <a:cubicBezTo>
                    <a:pt x="206961" y="1037771"/>
                    <a:pt x="194793" y="1016816"/>
                    <a:pt x="198975" y="1012625"/>
                  </a:cubicBezTo>
                  <a:cubicBezTo>
                    <a:pt x="203158" y="1008434"/>
                    <a:pt x="234814" y="1015959"/>
                    <a:pt x="243274" y="1020912"/>
                  </a:cubicBezTo>
                  <a:close/>
                  <a:moveTo>
                    <a:pt x="848820" y="564283"/>
                  </a:moveTo>
                  <a:cubicBezTo>
                    <a:pt x="853383" y="594382"/>
                    <a:pt x="845588" y="624100"/>
                    <a:pt x="826290" y="650103"/>
                  </a:cubicBezTo>
                  <a:cubicBezTo>
                    <a:pt x="800814" y="684489"/>
                    <a:pt x="757085" y="709825"/>
                    <a:pt x="712121" y="716302"/>
                  </a:cubicBezTo>
                  <a:cubicBezTo>
                    <a:pt x="702900" y="718302"/>
                    <a:pt x="693299" y="719255"/>
                    <a:pt x="683507" y="719255"/>
                  </a:cubicBezTo>
                  <a:cubicBezTo>
                    <a:pt x="635406" y="719255"/>
                    <a:pt x="583692" y="695157"/>
                    <a:pt x="564489" y="646103"/>
                  </a:cubicBezTo>
                  <a:cubicBezTo>
                    <a:pt x="536161" y="577332"/>
                    <a:pt x="556219" y="480558"/>
                    <a:pt x="631223" y="446173"/>
                  </a:cubicBezTo>
                  <a:cubicBezTo>
                    <a:pt x="672955" y="428361"/>
                    <a:pt x="721912" y="431504"/>
                    <a:pt x="765451" y="454841"/>
                  </a:cubicBezTo>
                  <a:cubicBezTo>
                    <a:pt x="809750" y="478558"/>
                    <a:pt x="840170" y="518372"/>
                    <a:pt x="848915" y="563997"/>
                  </a:cubicBezTo>
                  <a:lnTo>
                    <a:pt x="848915" y="564188"/>
                  </a:lnTo>
                  <a:close/>
                  <a:moveTo>
                    <a:pt x="808039" y="570760"/>
                  </a:moveTo>
                  <a:cubicBezTo>
                    <a:pt x="801004" y="531041"/>
                    <a:pt x="764215" y="495703"/>
                    <a:pt x="718680" y="484749"/>
                  </a:cubicBezTo>
                  <a:cubicBezTo>
                    <a:pt x="709554" y="482559"/>
                    <a:pt x="700713" y="481511"/>
                    <a:pt x="692158" y="481511"/>
                  </a:cubicBezTo>
                  <a:cubicBezTo>
                    <a:pt x="664590" y="481511"/>
                    <a:pt x="640824" y="492846"/>
                    <a:pt x="624759" y="514182"/>
                  </a:cubicBezTo>
                  <a:cubicBezTo>
                    <a:pt x="603180" y="543423"/>
                    <a:pt x="598046" y="589620"/>
                    <a:pt x="612211" y="626291"/>
                  </a:cubicBezTo>
                  <a:cubicBezTo>
                    <a:pt x="622477" y="652961"/>
                    <a:pt x="650996" y="670487"/>
                    <a:pt x="684933" y="671058"/>
                  </a:cubicBezTo>
                  <a:cubicBezTo>
                    <a:pt x="723243" y="672201"/>
                    <a:pt x="764785" y="655628"/>
                    <a:pt x="788076" y="630006"/>
                  </a:cubicBezTo>
                  <a:cubicBezTo>
                    <a:pt x="803666" y="612956"/>
                    <a:pt x="810510" y="592382"/>
                    <a:pt x="807943" y="570665"/>
                  </a:cubicBezTo>
                  <a:close/>
                  <a:moveTo>
                    <a:pt x="893024" y="502656"/>
                  </a:moveTo>
                  <a:cubicBezTo>
                    <a:pt x="924014" y="587715"/>
                    <a:pt x="919166" y="707444"/>
                    <a:pt x="838173" y="782977"/>
                  </a:cubicBezTo>
                  <a:cubicBezTo>
                    <a:pt x="794730" y="824411"/>
                    <a:pt x="737883" y="846414"/>
                    <a:pt x="677043" y="846414"/>
                  </a:cubicBezTo>
                  <a:cubicBezTo>
                    <a:pt x="658981" y="846414"/>
                    <a:pt x="640634" y="844509"/>
                    <a:pt x="622097" y="840508"/>
                  </a:cubicBezTo>
                  <a:cubicBezTo>
                    <a:pt x="530742" y="821172"/>
                    <a:pt x="452791" y="757736"/>
                    <a:pt x="418569" y="675059"/>
                  </a:cubicBezTo>
                  <a:cubicBezTo>
                    <a:pt x="391096" y="613241"/>
                    <a:pt x="391476" y="540375"/>
                    <a:pt x="419710" y="475224"/>
                  </a:cubicBezTo>
                  <a:cubicBezTo>
                    <a:pt x="448609" y="408454"/>
                    <a:pt x="503079" y="357019"/>
                    <a:pt x="569147" y="334254"/>
                  </a:cubicBezTo>
                  <a:cubicBezTo>
                    <a:pt x="631413" y="311966"/>
                    <a:pt x="695200" y="315014"/>
                    <a:pt x="753663" y="342922"/>
                  </a:cubicBezTo>
                  <a:cubicBezTo>
                    <a:pt x="817165" y="373307"/>
                    <a:pt x="867928" y="431409"/>
                    <a:pt x="893024" y="502561"/>
                  </a:cubicBezTo>
                  <a:close/>
                  <a:moveTo>
                    <a:pt x="880381" y="507323"/>
                  </a:moveTo>
                  <a:lnTo>
                    <a:pt x="880381" y="507323"/>
                  </a:lnTo>
                  <a:cubicBezTo>
                    <a:pt x="851957" y="425885"/>
                    <a:pt x="765356" y="369497"/>
                    <a:pt x="670198" y="370449"/>
                  </a:cubicBezTo>
                  <a:cubicBezTo>
                    <a:pt x="669818" y="370449"/>
                    <a:pt x="669533" y="370449"/>
                    <a:pt x="669153" y="370449"/>
                  </a:cubicBezTo>
                  <a:cubicBezTo>
                    <a:pt x="595765" y="370449"/>
                    <a:pt x="528936" y="403311"/>
                    <a:pt x="485588" y="460746"/>
                  </a:cubicBezTo>
                  <a:cubicBezTo>
                    <a:pt x="441859" y="518658"/>
                    <a:pt x="428360" y="592858"/>
                    <a:pt x="448704" y="664391"/>
                  </a:cubicBezTo>
                  <a:cubicBezTo>
                    <a:pt x="465720" y="722493"/>
                    <a:pt x="504220" y="768309"/>
                    <a:pt x="557170" y="793264"/>
                  </a:cubicBezTo>
                  <a:cubicBezTo>
                    <a:pt x="611735" y="818982"/>
                    <a:pt x="676378" y="819267"/>
                    <a:pt x="734270" y="794121"/>
                  </a:cubicBezTo>
                  <a:cubicBezTo>
                    <a:pt x="839029" y="752307"/>
                    <a:pt x="924680" y="624291"/>
                    <a:pt x="880381" y="507419"/>
                  </a:cubicBezTo>
                  <a:close/>
                  <a:moveTo>
                    <a:pt x="634645" y="996051"/>
                  </a:moveTo>
                  <a:cubicBezTo>
                    <a:pt x="585118" y="996051"/>
                    <a:pt x="535686" y="986241"/>
                    <a:pt x="488535" y="966524"/>
                  </a:cubicBezTo>
                  <a:cubicBezTo>
                    <a:pt x="287383" y="883371"/>
                    <a:pt x="180438" y="636197"/>
                    <a:pt x="255062" y="426742"/>
                  </a:cubicBezTo>
                  <a:cubicBezTo>
                    <a:pt x="305065" y="281391"/>
                    <a:pt x="426744" y="180616"/>
                    <a:pt x="580460" y="157280"/>
                  </a:cubicBezTo>
                  <a:cubicBezTo>
                    <a:pt x="733605" y="134039"/>
                    <a:pt x="878955" y="193856"/>
                    <a:pt x="969359" y="317490"/>
                  </a:cubicBezTo>
                  <a:cubicBezTo>
                    <a:pt x="1049972" y="427790"/>
                    <a:pt x="1067748" y="586286"/>
                    <a:pt x="1014704" y="721255"/>
                  </a:cubicBezTo>
                  <a:cubicBezTo>
                    <a:pt x="972876" y="831078"/>
                    <a:pt x="889127" y="919851"/>
                    <a:pt x="785129" y="964714"/>
                  </a:cubicBezTo>
                  <a:cubicBezTo>
                    <a:pt x="736647" y="985574"/>
                    <a:pt x="685599" y="996051"/>
                    <a:pt x="634645" y="996051"/>
                  </a:cubicBezTo>
                  <a:close/>
                  <a:moveTo>
                    <a:pt x="1002631" y="716493"/>
                  </a:moveTo>
                  <a:cubicBezTo>
                    <a:pt x="1047975" y="601907"/>
                    <a:pt x="1025541" y="461794"/>
                    <a:pt x="945593" y="359496"/>
                  </a:cubicBezTo>
                  <a:cubicBezTo>
                    <a:pt x="870019" y="260340"/>
                    <a:pt x="757180" y="204333"/>
                    <a:pt x="637212" y="204333"/>
                  </a:cubicBezTo>
                  <a:cubicBezTo>
                    <a:pt x="621622" y="204333"/>
                    <a:pt x="605937" y="205286"/>
                    <a:pt x="590156" y="207191"/>
                  </a:cubicBezTo>
                  <a:cubicBezTo>
                    <a:pt x="454407" y="223669"/>
                    <a:pt x="339953" y="309966"/>
                    <a:pt x="284151" y="438077"/>
                  </a:cubicBezTo>
                  <a:cubicBezTo>
                    <a:pt x="221410" y="578952"/>
                    <a:pt x="260196" y="752878"/>
                    <a:pt x="376456" y="851748"/>
                  </a:cubicBezTo>
                  <a:cubicBezTo>
                    <a:pt x="472089" y="937187"/>
                    <a:pt x="613066" y="970048"/>
                    <a:pt x="744632" y="937568"/>
                  </a:cubicBezTo>
                  <a:cubicBezTo>
                    <a:pt x="866882" y="907469"/>
                    <a:pt x="960898" y="826887"/>
                    <a:pt x="1002536" y="716493"/>
                  </a:cubicBezTo>
                  <a:lnTo>
                    <a:pt x="1002536" y="716493"/>
                  </a:lnTo>
                  <a:close/>
                  <a:moveTo>
                    <a:pt x="43834" y="569617"/>
                  </a:moveTo>
                  <a:cubicBezTo>
                    <a:pt x="57713" y="426551"/>
                    <a:pt x="127584" y="292725"/>
                    <a:pt x="240328" y="192998"/>
                  </a:cubicBezTo>
                  <a:cubicBezTo>
                    <a:pt x="352881" y="93462"/>
                    <a:pt x="493478" y="40598"/>
                    <a:pt x="636451" y="44408"/>
                  </a:cubicBezTo>
                  <a:cubicBezTo>
                    <a:pt x="781516" y="48218"/>
                    <a:pt x="915174" y="110607"/>
                    <a:pt x="1012897" y="220240"/>
                  </a:cubicBezTo>
                  <a:cubicBezTo>
                    <a:pt x="1014609" y="222335"/>
                    <a:pt x="1017080" y="223669"/>
                    <a:pt x="1019742" y="223955"/>
                  </a:cubicBezTo>
                  <a:cubicBezTo>
                    <a:pt x="1022594" y="224241"/>
                    <a:pt x="1025541" y="223288"/>
                    <a:pt x="1027537" y="221288"/>
                  </a:cubicBezTo>
                  <a:cubicBezTo>
                    <a:pt x="1029628" y="219383"/>
                    <a:pt x="1030769" y="216525"/>
                    <a:pt x="1030674" y="213668"/>
                  </a:cubicBezTo>
                  <a:cubicBezTo>
                    <a:pt x="1030674" y="211096"/>
                    <a:pt x="1029533" y="208715"/>
                    <a:pt x="1027822" y="206905"/>
                  </a:cubicBezTo>
                  <a:cubicBezTo>
                    <a:pt x="912512" y="70888"/>
                    <a:pt x="743967" y="-4264"/>
                    <a:pt x="565345" y="212"/>
                  </a:cubicBezTo>
                  <a:cubicBezTo>
                    <a:pt x="389765" y="4784"/>
                    <a:pt x="227304" y="88414"/>
                    <a:pt x="119504" y="229765"/>
                  </a:cubicBezTo>
                  <a:cubicBezTo>
                    <a:pt x="-50277" y="450459"/>
                    <a:pt x="-37824" y="772214"/>
                    <a:pt x="148402" y="978049"/>
                  </a:cubicBezTo>
                  <a:cubicBezTo>
                    <a:pt x="149828" y="979668"/>
                    <a:pt x="151349" y="981287"/>
                    <a:pt x="152775" y="982907"/>
                  </a:cubicBezTo>
                  <a:lnTo>
                    <a:pt x="155057" y="985383"/>
                  </a:lnTo>
                  <a:lnTo>
                    <a:pt x="156198" y="986050"/>
                  </a:lnTo>
                  <a:cubicBezTo>
                    <a:pt x="158194" y="987193"/>
                    <a:pt x="160570" y="987860"/>
                    <a:pt x="162852" y="987860"/>
                  </a:cubicBezTo>
                  <a:cubicBezTo>
                    <a:pt x="164088" y="987860"/>
                    <a:pt x="165228" y="987669"/>
                    <a:pt x="166464" y="987384"/>
                  </a:cubicBezTo>
                  <a:cubicBezTo>
                    <a:pt x="169696" y="986431"/>
                    <a:pt x="172453" y="984240"/>
                    <a:pt x="173974" y="981383"/>
                  </a:cubicBezTo>
                  <a:cubicBezTo>
                    <a:pt x="176351" y="976906"/>
                    <a:pt x="175685" y="971477"/>
                    <a:pt x="172168" y="967191"/>
                  </a:cubicBezTo>
                  <a:cubicBezTo>
                    <a:pt x="75300" y="856129"/>
                    <a:pt x="29765" y="714968"/>
                    <a:pt x="43929" y="569712"/>
                  </a:cubicBezTo>
                  <a:close/>
                  <a:moveTo>
                    <a:pt x="1172032" y="561997"/>
                  </a:moveTo>
                  <a:lnTo>
                    <a:pt x="1171651" y="559902"/>
                  </a:lnTo>
                  <a:cubicBezTo>
                    <a:pt x="1169940" y="554377"/>
                    <a:pt x="1164997" y="550567"/>
                    <a:pt x="1159578" y="550853"/>
                  </a:cubicBezTo>
                  <a:cubicBezTo>
                    <a:pt x="1156156" y="550948"/>
                    <a:pt x="1152924" y="552663"/>
                    <a:pt x="1150738" y="555520"/>
                  </a:cubicBezTo>
                  <a:cubicBezTo>
                    <a:pt x="1148551" y="558378"/>
                    <a:pt x="1147601" y="561902"/>
                    <a:pt x="1148076" y="565521"/>
                  </a:cubicBezTo>
                  <a:cubicBezTo>
                    <a:pt x="1151118" y="670677"/>
                    <a:pt x="1125641" y="773166"/>
                    <a:pt x="1074403" y="861939"/>
                  </a:cubicBezTo>
                  <a:cubicBezTo>
                    <a:pt x="980957" y="1028532"/>
                    <a:pt x="811746" y="1136450"/>
                    <a:pt x="621241" y="1150642"/>
                  </a:cubicBezTo>
                  <a:cubicBezTo>
                    <a:pt x="613827" y="1151595"/>
                    <a:pt x="608408" y="1158357"/>
                    <a:pt x="609169" y="1165692"/>
                  </a:cubicBezTo>
                  <a:cubicBezTo>
                    <a:pt x="609834" y="1171692"/>
                    <a:pt x="614397" y="1176550"/>
                    <a:pt x="620481" y="1177693"/>
                  </a:cubicBezTo>
                  <a:lnTo>
                    <a:pt x="621432" y="1177884"/>
                  </a:lnTo>
                  <a:lnTo>
                    <a:pt x="622382" y="1177884"/>
                  </a:lnTo>
                  <a:cubicBezTo>
                    <a:pt x="636642" y="1177217"/>
                    <a:pt x="650901" y="1175979"/>
                    <a:pt x="664685" y="1174264"/>
                  </a:cubicBezTo>
                  <a:cubicBezTo>
                    <a:pt x="816689" y="1155976"/>
                    <a:pt x="951963" y="1081014"/>
                    <a:pt x="1045599" y="963285"/>
                  </a:cubicBezTo>
                  <a:cubicBezTo>
                    <a:pt x="1135813" y="849843"/>
                    <a:pt x="1180682" y="707349"/>
                    <a:pt x="1172032" y="561997"/>
                  </a:cubicBezTo>
                  <a:close/>
                  <a:moveTo>
                    <a:pt x="1170130" y="489226"/>
                  </a:moveTo>
                  <a:cubicBezTo>
                    <a:pt x="1175073" y="468938"/>
                    <a:pt x="1167849" y="393595"/>
                    <a:pt x="1142657" y="363591"/>
                  </a:cubicBezTo>
                  <a:cubicBezTo>
                    <a:pt x="1134957" y="354352"/>
                    <a:pt x="1125831" y="346732"/>
                    <a:pt x="1115565" y="352923"/>
                  </a:cubicBezTo>
                  <a:cubicBezTo>
                    <a:pt x="1101876" y="361115"/>
                    <a:pt x="1104728" y="376069"/>
                    <a:pt x="1114804" y="389975"/>
                  </a:cubicBezTo>
                  <a:cubicBezTo>
                    <a:pt x="1131725" y="413407"/>
                    <a:pt x="1144559" y="466271"/>
                    <a:pt x="1145414" y="486559"/>
                  </a:cubicBezTo>
                  <a:cubicBezTo>
                    <a:pt x="1145794" y="495322"/>
                    <a:pt x="1151783" y="501227"/>
                    <a:pt x="1158913" y="501418"/>
                  </a:cubicBezTo>
                  <a:cubicBezTo>
                    <a:pt x="1166043" y="501513"/>
                    <a:pt x="1168039" y="497894"/>
                    <a:pt x="1170130" y="489321"/>
                  </a:cubicBezTo>
                  <a:close/>
                </a:path>
              </a:pathLst>
            </a:custGeom>
            <a:grpFill/>
            <a:ln w="9497" cap="flat">
              <a:noFill/>
              <a:prstDash val="solid"/>
              <a:miter/>
            </a:ln>
          </p:spPr>
          <p:txBody>
            <a:bodyPr rtlCol="0" anchor="ctr"/>
            <a:lstStyle/>
            <a:p>
              <a:endParaRPr lang="en-GB" dirty="0"/>
            </a:p>
          </p:txBody>
        </p:sp>
        <p:grpSp>
          <p:nvGrpSpPr>
            <p:cNvPr id="49" name="Graphic 77">
              <a:extLst>
                <a:ext uri="{FF2B5EF4-FFF2-40B4-BE49-F238E27FC236}">
                  <a16:creationId xmlns:a16="http://schemas.microsoft.com/office/drawing/2014/main" id="{847AADAB-68C7-3BC2-44F1-DFC4872A755F}"/>
                </a:ext>
              </a:extLst>
            </p:cNvPr>
            <p:cNvGrpSpPr/>
            <p:nvPr/>
          </p:nvGrpSpPr>
          <p:grpSpPr>
            <a:xfrm>
              <a:off x="6016337" y="3871817"/>
              <a:ext cx="1690870" cy="144494"/>
              <a:chOff x="6016337" y="3871817"/>
              <a:chExt cx="1690870" cy="144494"/>
            </a:xfrm>
            <a:grpFill/>
          </p:grpSpPr>
          <p:sp>
            <p:nvSpPr>
              <p:cNvPr id="50" name="Freeform 49">
                <a:extLst>
                  <a:ext uri="{FF2B5EF4-FFF2-40B4-BE49-F238E27FC236}">
                    <a16:creationId xmlns:a16="http://schemas.microsoft.com/office/drawing/2014/main" id="{E01A9E02-8F80-0939-C380-1E2040C1D97F}"/>
                  </a:ext>
                </a:extLst>
              </p:cNvPr>
              <p:cNvSpPr/>
              <p:nvPr/>
            </p:nvSpPr>
            <p:spPr>
              <a:xfrm>
                <a:off x="6016337"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2"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GB" dirty="0"/>
              </a:p>
            </p:txBody>
          </p:sp>
          <p:sp>
            <p:nvSpPr>
              <p:cNvPr id="51" name="Freeform 50">
                <a:extLst>
                  <a:ext uri="{FF2B5EF4-FFF2-40B4-BE49-F238E27FC236}">
                    <a16:creationId xmlns:a16="http://schemas.microsoft.com/office/drawing/2014/main" id="{32B76A16-BDF6-6B65-E312-8438BA646BD2}"/>
                  </a:ext>
                </a:extLst>
              </p:cNvPr>
              <p:cNvSpPr/>
              <p:nvPr/>
            </p:nvSpPr>
            <p:spPr>
              <a:xfrm>
                <a:off x="6086303" y="3904773"/>
                <a:ext cx="70250" cy="78295"/>
              </a:xfrm>
              <a:custGeom>
                <a:avLst/>
                <a:gdLst>
                  <a:gd name="connsiteX0" fmla="*/ 0 w 70250"/>
                  <a:gd name="connsiteY0" fmla="*/ 1238 h 78295"/>
                  <a:gd name="connsiteX1" fmla="*/ 17492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1 w 70250"/>
                  <a:gd name="connsiteY8" fmla="*/ 34004 h 78295"/>
                  <a:gd name="connsiteX9" fmla="*/ 38976 w 70250"/>
                  <a:gd name="connsiteY9" fmla="*/ 14954 h 78295"/>
                  <a:gd name="connsiteX10" fmla="*/ 17492 w 70250"/>
                  <a:gd name="connsiteY10" fmla="*/ 44577 h 78295"/>
                  <a:gd name="connsiteX11" fmla="*/ 17492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2"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1" y="37624"/>
                      <a:pt x="54281" y="34004"/>
                    </a:cubicBezTo>
                    <a:cubicBezTo>
                      <a:pt x="54281" y="21050"/>
                      <a:pt x="49337" y="14954"/>
                      <a:pt x="38976" y="14954"/>
                    </a:cubicBezTo>
                    <a:cubicBezTo>
                      <a:pt x="25762" y="14954"/>
                      <a:pt x="17492" y="26194"/>
                      <a:pt x="17492" y="44577"/>
                    </a:cubicBezTo>
                    <a:lnTo>
                      <a:pt x="17492" y="78296"/>
                    </a:lnTo>
                    <a:lnTo>
                      <a:pt x="0" y="78296"/>
                    </a:lnTo>
                    <a:lnTo>
                      <a:pt x="0" y="1238"/>
                    </a:lnTo>
                    <a:close/>
                  </a:path>
                </a:pathLst>
              </a:custGeom>
              <a:grpFill/>
              <a:ln w="9497" cap="flat">
                <a:noFill/>
                <a:prstDash val="solid"/>
                <a:miter/>
              </a:ln>
            </p:spPr>
            <p:txBody>
              <a:bodyPr rtlCol="0" anchor="ctr"/>
              <a:lstStyle/>
              <a:p>
                <a:endParaRPr lang="en-GB" dirty="0"/>
              </a:p>
            </p:txBody>
          </p:sp>
          <p:sp>
            <p:nvSpPr>
              <p:cNvPr id="52" name="Freeform 51">
                <a:extLst>
                  <a:ext uri="{FF2B5EF4-FFF2-40B4-BE49-F238E27FC236}">
                    <a16:creationId xmlns:a16="http://schemas.microsoft.com/office/drawing/2014/main" id="{015B7AD0-174A-D302-4997-63D98221157C}"/>
                  </a:ext>
                </a:extLst>
              </p:cNvPr>
              <p:cNvSpPr/>
              <p:nvPr/>
            </p:nvSpPr>
            <p:spPr>
              <a:xfrm>
                <a:off x="6169197" y="3904773"/>
                <a:ext cx="74909" cy="79533"/>
              </a:xfrm>
              <a:custGeom>
                <a:avLst/>
                <a:gdLst>
                  <a:gd name="connsiteX0" fmla="*/ 95 w 74909"/>
                  <a:gd name="connsiteY0" fmla="*/ 56198 h 79533"/>
                  <a:gd name="connsiteX1" fmla="*/ 28899 w 74909"/>
                  <a:gd name="connsiteY1" fmla="*/ 35243 h 79533"/>
                  <a:gd name="connsiteX2" fmla="*/ 57418 w 74909"/>
                  <a:gd name="connsiteY2" fmla="*/ 35243 h 79533"/>
                  <a:gd name="connsiteX3" fmla="*/ 57418 w 74909"/>
                  <a:gd name="connsiteY3" fmla="*/ 29813 h 79533"/>
                  <a:gd name="connsiteX4" fmla="*/ 37169 w 74909"/>
                  <a:gd name="connsiteY4" fmla="*/ 13145 h 79533"/>
                  <a:gd name="connsiteX5" fmla="*/ 18632 w 74909"/>
                  <a:gd name="connsiteY5" fmla="*/ 26289 h 79533"/>
                  <a:gd name="connsiteX6" fmla="*/ 18822 w 74909"/>
                  <a:gd name="connsiteY6" fmla="*/ 29242 h 79533"/>
                  <a:gd name="connsiteX7" fmla="*/ 2757 w 74909"/>
                  <a:gd name="connsiteY7" fmla="*/ 29242 h 79533"/>
                  <a:gd name="connsiteX8" fmla="*/ 2472 w 74909"/>
                  <a:gd name="connsiteY8" fmla="*/ 24670 h 79533"/>
                  <a:gd name="connsiteX9" fmla="*/ 37835 w 74909"/>
                  <a:gd name="connsiteY9" fmla="*/ 0 h 79533"/>
                  <a:gd name="connsiteX10" fmla="*/ 74909 w 74909"/>
                  <a:gd name="connsiteY10" fmla="*/ 31337 h 79533"/>
                  <a:gd name="connsiteX11" fmla="*/ 74909 w 74909"/>
                  <a:gd name="connsiteY11" fmla="*/ 78296 h 79533"/>
                  <a:gd name="connsiteX12" fmla="*/ 57418 w 74909"/>
                  <a:gd name="connsiteY12" fmla="*/ 78296 h 79533"/>
                  <a:gd name="connsiteX13" fmla="*/ 58178 w 74909"/>
                  <a:gd name="connsiteY13" fmla="*/ 61246 h 79533"/>
                  <a:gd name="connsiteX14" fmla="*/ 57988 w 74909"/>
                  <a:gd name="connsiteY14" fmla="*/ 61246 h 79533"/>
                  <a:gd name="connsiteX15" fmla="*/ 29279 w 74909"/>
                  <a:gd name="connsiteY15" fmla="*/ 79534 h 79533"/>
                  <a:gd name="connsiteX16" fmla="*/ 0 w 74909"/>
                  <a:gd name="connsiteY16" fmla="*/ 56102 h 79533"/>
                  <a:gd name="connsiteX17" fmla="*/ 57418 w 74909"/>
                  <a:gd name="connsiteY17" fmla="*/ 47339 h 79533"/>
                  <a:gd name="connsiteX18" fmla="*/ 57418 w 74909"/>
                  <a:gd name="connsiteY18" fmla="*/ 45910 h 79533"/>
                  <a:gd name="connsiteX19" fmla="*/ 30515 w 74909"/>
                  <a:gd name="connsiteY19" fmla="*/ 45910 h 79533"/>
                  <a:gd name="connsiteX20" fmla="*/ 16161 w 74909"/>
                  <a:gd name="connsiteY20" fmla="*/ 55435 h 79533"/>
                  <a:gd name="connsiteX21" fmla="*/ 32987 w 74909"/>
                  <a:gd name="connsiteY21" fmla="*/ 66485 h 79533"/>
                  <a:gd name="connsiteX22" fmla="*/ 57418 w 74909"/>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09" h="79533">
                    <a:moveTo>
                      <a:pt x="95" y="56198"/>
                    </a:moveTo>
                    <a:cubicBezTo>
                      <a:pt x="95" y="44482"/>
                      <a:pt x="8366" y="35243"/>
                      <a:pt x="28899" y="35243"/>
                    </a:cubicBezTo>
                    <a:lnTo>
                      <a:pt x="57418" y="35243"/>
                    </a:lnTo>
                    <a:lnTo>
                      <a:pt x="57418" y="29813"/>
                    </a:lnTo>
                    <a:cubicBezTo>
                      <a:pt x="57418" y="18288"/>
                      <a:pt x="50763" y="13145"/>
                      <a:pt x="37169" y="13145"/>
                    </a:cubicBezTo>
                    <a:cubicBezTo>
                      <a:pt x="25287" y="13145"/>
                      <a:pt x="18632" y="17717"/>
                      <a:pt x="18632" y="26289"/>
                    </a:cubicBezTo>
                    <a:cubicBezTo>
                      <a:pt x="18632" y="26765"/>
                      <a:pt x="18632" y="28004"/>
                      <a:pt x="18822" y="29242"/>
                    </a:cubicBezTo>
                    <a:lnTo>
                      <a:pt x="2757" y="29242"/>
                    </a:lnTo>
                    <a:cubicBezTo>
                      <a:pt x="2567" y="28099"/>
                      <a:pt x="2472" y="26099"/>
                      <a:pt x="2472" y="24670"/>
                    </a:cubicBezTo>
                    <a:cubicBezTo>
                      <a:pt x="2472" y="9239"/>
                      <a:pt x="15875" y="0"/>
                      <a:pt x="37835" y="0"/>
                    </a:cubicBezTo>
                    <a:cubicBezTo>
                      <a:pt x="61220" y="0"/>
                      <a:pt x="74909" y="11049"/>
                      <a:pt x="74909" y="31337"/>
                    </a:cubicBezTo>
                    <a:lnTo>
                      <a:pt x="74909" y="78296"/>
                    </a:lnTo>
                    <a:lnTo>
                      <a:pt x="57418" y="78296"/>
                    </a:lnTo>
                    <a:cubicBezTo>
                      <a:pt x="57703" y="74581"/>
                      <a:pt x="58178" y="67532"/>
                      <a:pt x="58178" y="61246"/>
                    </a:cubicBezTo>
                    <a:lnTo>
                      <a:pt x="57988" y="61246"/>
                    </a:lnTo>
                    <a:cubicBezTo>
                      <a:pt x="55516" y="72676"/>
                      <a:pt x="46295" y="79534"/>
                      <a:pt x="29279" y="79534"/>
                    </a:cubicBezTo>
                    <a:cubicBezTo>
                      <a:pt x="12263" y="79534"/>
                      <a:pt x="0" y="71152"/>
                      <a:pt x="0" y="56102"/>
                    </a:cubicBezTo>
                    <a:close/>
                    <a:moveTo>
                      <a:pt x="57418" y="47339"/>
                    </a:moveTo>
                    <a:lnTo>
                      <a:pt x="57418" y="45910"/>
                    </a:lnTo>
                    <a:lnTo>
                      <a:pt x="30515" y="45910"/>
                    </a:lnTo>
                    <a:cubicBezTo>
                      <a:pt x="20533" y="45910"/>
                      <a:pt x="16161" y="49340"/>
                      <a:pt x="16161" y="55435"/>
                    </a:cubicBezTo>
                    <a:cubicBezTo>
                      <a:pt x="16161" y="62484"/>
                      <a:pt x="22435" y="66485"/>
                      <a:pt x="32987" y="66485"/>
                    </a:cubicBezTo>
                    <a:cubicBezTo>
                      <a:pt x="48101" y="66485"/>
                      <a:pt x="57418" y="59150"/>
                      <a:pt x="57418" y="47244"/>
                    </a:cubicBezTo>
                    <a:close/>
                  </a:path>
                </a:pathLst>
              </a:custGeom>
              <a:grpFill/>
              <a:ln w="9497" cap="flat">
                <a:noFill/>
                <a:prstDash val="solid"/>
                <a:miter/>
              </a:ln>
            </p:spPr>
            <p:txBody>
              <a:bodyPr rtlCol="0" anchor="ctr"/>
              <a:lstStyle/>
              <a:p>
                <a:endParaRPr lang="en-GB" dirty="0"/>
              </a:p>
            </p:txBody>
          </p:sp>
          <p:sp>
            <p:nvSpPr>
              <p:cNvPr id="53" name="Freeform 52">
                <a:extLst>
                  <a:ext uri="{FF2B5EF4-FFF2-40B4-BE49-F238E27FC236}">
                    <a16:creationId xmlns:a16="http://schemas.microsoft.com/office/drawing/2014/main" id="{DB345BF0-1BFE-4ADF-414B-C064176BE30C}"/>
                  </a:ext>
                </a:extLst>
              </p:cNvPr>
              <p:cNvSpPr/>
              <p:nvPr/>
            </p:nvSpPr>
            <p:spPr>
              <a:xfrm>
                <a:off x="6260742" y="3904773"/>
                <a:ext cx="80612" cy="78390"/>
              </a:xfrm>
              <a:custGeom>
                <a:avLst/>
                <a:gdLst>
                  <a:gd name="connsiteX0" fmla="*/ 0 w 80612"/>
                  <a:gd name="connsiteY0" fmla="*/ 1238 h 78390"/>
                  <a:gd name="connsiteX1" fmla="*/ 17491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1 w 80612"/>
                  <a:gd name="connsiteY10" fmla="*/ 41053 h 78390"/>
                  <a:gd name="connsiteX11" fmla="*/ 17491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1"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1" y="24194"/>
                      <a:pt x="17491" y="41053"/>
                    </a:cubicBezTo>
                    <a:lnTo>
                      <a:pt x="17491" y="78391"/>
                    </a:lnTo>
                    <a:lnTo>
                      <a:pt x="0" y="78391"/>
                    </a:lnTo>
                    <a:lnTo>
                      <a:pt x="0" y="1333"/>
                    </a:lnTo>
                    <a:close/>
                  </a:path>
                </a:pathLst>
              </a:custGeom>
              <a:grpFill/>
              <a:ln w="9497" cap="flat">
                <a:noFill/>
                <a:prstDash val="solid"/>
                <a:miter/>
              </a:ln>
            </p:spPr>
            <p:txBody>
              <a:bodyPr rtlCol="0" anchor="ctr"/>
              <a:lstStyle/>
              <a:p>
                <a:endParaRPr lang="en-GB" dirty="0"/>
              </a:p>
            </p:txBody>
          </p:sp>
          <p:sp>
            <p:nvSpPr>
              <p:cNvPr id="54" name="Freeform 53">
                <a:extLst>
                  <a:ext uri="{FF2B5EF4-FFF2-40B4-BE49-F238E27FC236}">
                    <a16:creationId xmlns:a16="http://schemas.microsoft.com/office/drawing/2014/main" id="{D7DEB60C-AA27-71EB-2B0F-444B46E57BF4}"/>
                  </a:ext>
                </a:extLst>
              </p:cNvPr>
              <p:cNvSpPr/>
              <p:nvPr/>
            </p:nvSpPr>
            <p:spPr>
              <a:xfrm>
                <a:off x="635561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4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3"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1"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4" y="79629"/>
                    </a:cubicBezTo>
                    <a:cubicBezTo>
                      <a:pt x="9601" y="79629"/>
                      <a:pt x="95" y="67723"/>
                      <a:pt x="95" y="52673"/>
                    </a:cubicBezTo>
                    <a:close/>
                  </a:path>
                </a:pathLst>
              </a:custGeom>
              <a:grpFill/>
              <a:ln w="9497" cap="flat">
                <a:noFill/>
                <a:prstDash val="solid"/>
                <a:miter/>
              </a:ln>
            </p:spPr>
            <p:txBody>
              <a:bodyPr rtlCol="0" anchor="ctr"/>
              <a:lstStyle/>
              <a:p>
                <a:endParaRPr lang="en-GB" dirty="0"/>
              </a:p>
            </p:txBody>
          </p:sp>
          <p:sp>
            <p:nvSpPr>
              <p:cNvPr id="55" name="Freeform 54">
                <a:extLst>
                  <a:ext uri="{FF2B5EF4-FFF2-40B4-BE49-F238E27FC236}">
                    <a16:creationId xmlns:a16="http://schemas.microsoft.com/office/drawing/2014/main" id="{317A18C6-35A0-4860-F942-665FD22544D6}"/>
                  </a:ext>
                </a:extLst>
              </p:cNvPr>
              <p:cNvSpPr/>
              <p:nvPr/>
            </p:nvSpPr>
            <p:spPr>
              <a:xfrm>
                <a:off x="6436797" y="3871817"/>
                <a:ext cx="56466" cy="111252"/>
              </a:xfrm>
              <a:custGeom>
                <a:avLst/>
                <a:gdLst>
                  <a:gd name="connsiteX0" fmla="*/ 12263 w 56466"/>
                  <a:gd name="connsiteY0" fmla="*/ 48387 h 111252"/>
                  <a:gd name="connsiteX1" fmla="*/ 0 w 56466"/>
                  <a:gd name="connsiteY1" fmla="*/ 48387 h 111252"/>
                  <a:gd name="connsiteX2" fmla="*/ 0 w 56466"/>
                  <a:gd name="connsiteY2" fmla="*/ 34195 h 111252"/>
                  <a:gd name="connsiteX3" fmla="*/ 12263 w 56466"/>
                  <a:gd name="connsiteY3" fmla="*/ 34195 h 111252"/>
                  <a:gd name="connsiteX4" fmla="*/ 12263 w 56466"/>
                  <a:gd name="connsiteY4" fmla="*/ 26575 h 111252"/>
                  <a:gd name="connsiteX5" fmla="*/ 40306 w 56466"/>
                  <a:gd name="connsiteY5" fmla="*/ 0 h 111252"/>
                  <a:gd name="connsiteX6" fmla="*/ 55231 w 56466"/>
                  <a:gd name="connsiteY6" fmla="*/ 2191 h 111252"/>
                  <a:gd name="connsiteX7" fmla="*/ 55231 w 56466"/>
                  <a:gd name="connsiteY7" fmla="*/ 16097 h 111252"/>
                  <a:gd name="connsiteX8" fmla="*/ 43348 w 56466"/>
                  <a:gd name="connsiteY8" fmla="*/ 14192 h 111252"/>
                  <a:gd name="connsiteX9" fmla="*/ 29659 w 56466"/>
                  <a:gd name="connsiteY9" fmla="*/ 27337 h 111252"/>
                  <a:gd name="connsiteX10" fmla="*/ 29659 w 56466"/>
                  <a:gd name="connsiteY10" fmla="*/ 34195 h 111252"/>
                  <a:gd name="connsiteX11" fmla="*/ 56467 w 56466"/>
                  <a:gd name="connsiteY11" fmla="*/ 34195 h 111252"/>
                  <a:gd name="connsiteX12" fmla="*/ 56467 w 56466"/>
                  <a:gd name="connsiteY12" fmla="*/ 48387 h 111252"/>
                  <a:gd name="connsiteX13" fmla="*/ 29659 w 56466"/>
                  <a:gd name="connsiteY13" fmla="*/ 48387 h 111252"/>
                  <a:gd name="connsiteX14" fmla="*/ 29659 w 56466"/>
                  <a:gd name="connsiteY14" fmla="*/ 111252 h 111252"/>
                  <a:gd name="connsiteX15" fmla="*/ 12168 w 56466"/>
                  <a:gd name="connsiteY15" fmla="*/ 111252 h 111252"/>
                  <a:gd name="connsiteX16" fmla="*/ 12168 w 56466"/>
                  <a:gd name="connsiteY16" fmla="*/ 48387 h 11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466" h="111252">
                    <a:moveTo>
                      <a:pt x="12263" y="48387"/>
                    </a:moveTo>
                    <a:lnTo>
                      <a:pt x="0" y="48387"/>
                    </a:lnTo>
                    <a:lnTo>
                      <a:pt x="0" y="34195"/>
                    </a:lnTo>
                    <a:lnTo>
                      <a:pt x="12263" y="34195"/>
                    </a:lnTo>
                    <a:lnTo>
                      <a:pt x="12263" y="26575"/>
                    </a:lnTo>
                    <a:cubicBezTo>
                      <a:pt x="12263" y="9430"/>
                      <a:pt x="23670" y="0"/>
                      <a:pt x="40306" y="0"/>
                    </a:cubicBezTo>
                    <a:cubicBezTo>
                      <a:pt x="47151" y="0"/>
                      <a:pt x="52759" y="1238"/>
                      <a:pt x="55231" y="2191"/>
                    </a:cubicBezTo>
                    <a:lnTo>
                      <a:pt x="55231" y="16097"/>
                    </a:lnTo>
                    <a:cubicBezTo>
                      <a:pt x="52759" y="15335"/>
                      <a:pt x="48672" y="14192"/>
                      <a:pt x="43348" y="14192"/>
                    </a:cubicBezTo>
                    <a:cubicBezTo>
                      <a:pt x="34507" y="14192"/>
                      <a:pt x="29659" y="18860"/>
                      <a:pt x="29659" y="27337"/>
                    </a:cubicBezTo>
                    <a:lnTo>
                      <a:pt x="29659" y="34195"/>
                    </a:lnTo>
                    <a:lnTo>
                      <a:pt x="56467" y="34195"/>
                    </a:lnTo>
                    <a:lnTo>
                      <a:pt x="56467" y="48387"/>
                    </a:lnTo>
                    <a:lnTo>
                      <a:pt x="29659" y="48387"/>
                    </a:lnTo>
                    <a:lnTo>
                      <a:pt x="29659" y="111252"/>
                    </a:lnTo>
                    <a:lnTo>
                      <a:pt x="12168" y="111252"/>
                    </a:lnTo>
                    <a:lnTo>
                      <a:pt x="12168" y="48387"/>
                    </a:lnTo>
                    <a:close/>
                  </a:path>
                </a:pathLst>
              </a:custGeom>
              <a:grpFill/>
              <a:ln w="9497" cap="flat">
                <a:noFill/>
                <a:prstDash val="solid"/>
                <a:miter/>
              </a:ln>
            </p:spPr>
            <p:txBody>
              <a:bodyPr rtlCol="0" anchor="ctr"/>
              <a:lstStyle/>
              <a:p>
                <a:endParaRPr lang="en-GB" dirty="0"/>
              </a:p>
            </p:txBody>
          </p:sp>
          <p:sp>
            <p:nvSpPr>
              <p:cNvPr id="56" name="Freeform 55">
                <a:extLst>
                  <a:ext uri="{FF2B5EF4-FFF2-40B4-BE49-F238E27FC236}">
                    <a16:creationId xmlns:a16="http://schemas.microsoft.com/office/drawing/2014/main" id="{080AF2F7-B171-C017-AC0B-E7AADA87852D}"/>
                  </a:ext>
                </a:extLst>
              </p:cNvPr>
              <p:cNvSpPr/>
              <p:nvPr/>
            </p:nvSpPr>
            <p:spPr>
              <a:xfrm>
                <a:off x="6497732" y="3904773"/>
                <a:ext cx="80517" cy="79533"/>
              </a:xfrm>
              <a:custGeom>
                <a:avLst/>
                <a:gdLst>
                  <a:gd name="connsiteX0" fmla="*/ 0 w 80517"/>
                  <a:gd name="connsiteY0" fmla="*/ 39910 h 79533"/>
                  <a:gd name="connsiteX1" fmla="*/ 40211 w 80517"/>
                  <a:gd name="connsiteY1" fmla="*/ 0 h 79533"/>
                  <a:gd name="connsiteX2" fmla="*/ 80518 w 80517"/>
                  <a:gd name="connsiteY2" fmla="*/ 39910 h 79533"/>
                  <a:gd name="connsiteX3" fmla="*/ 40211 w 80517"/>
                  <a:gd name="connsiteY3" fmla="*/ 79534 h 79533"/>
                  <a:gd name="connsiteX4" fmla="*/ 0 w 80517"/>
                  <a:gd name="connsiteY4" fmla="*/ 39910 h 79533"/>
                  <a:gd name="connsiteX5" fmla="*/ 63121 w 80517"/>
                  <a:gd name="connsiteY5" fmla="*/ 39910 h 79533"/>
                  <a:gd name="connsiteX6" fmla="*/ 40211 w 80517"/>
                  <a:gd name="connsiteY6" fmla="*/ 14288 h 79533"/>
                  <a:gd name="connsiteX7" fmla="*/ 17492 w 80517"/>
                  <a:gd name="connsiteY7" fmla="*/ 39910 h 79533"/>
                  <a:gd name="connsiteX8" fmla="*/ 40211 w 80517"/>
                  <a:gd name="connsiteY8" fmla="*/ 65151 h 79533"/>
                  <a:gd name="connsiteX9" fmla="*/ 63121 w 80517"/>
                  <a:gd name="connsiteY9" fmla="*/ 39910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17" h="79533">
                    <a:moveTo>
                      <a:pt x="0" y="39910"/>
                    </a:moveTo>
                    <a:cubicBezTo>
                      <a:pt x="0" y="15240"/>
                      <a:pt x="15780" y="0"/>
                      <a:pt x="40211" y="0"/>
                    </a:cubicBezTo>
                    <a:cubicBezTo>
                      <a:pt x="64642" y="0"/>
                      <a:pt x="80518" y="15335"/>
                      <a:pt x="80518" y="39910"/>
                    </a:cubicBezTo>
                    <a:cubicBezTo>
                      <a:pt x="80518" y="64484"/>
                      <a:pt x="64737" y="79534"/>
                      <a:pt x="40211" y="79534"/>
                    </a:cubicBezTo>
                    <a:cubicBezTo>
                      <a:pt x="15685" y="79534"/>
                      <a:pt x="0" y="64389"/>
                      <a:pt x="0" y="39910"/>
                    </a:cubicBezTo>
                    <a:close/>
                    <a:moveTo>
                      <a:pt x="63121" y="39910"/>
                    </a:moveTo>
                    <a:cubicBezTo>
                      <a:pt x="63121" y="24098"/>
                      <a:pt x="54376" y="14288"/>
                      <a:pt x="40211" y="14288"/>
                    </a:cubicBezTo>
                    <a:cubicBezTo>
                      <a:pt x="26047" y="14288"/>
                      <a:pt x="17492" y="24098"/>
                      <a:pt x="17492" y="39910"/>
                    </a:cubicBezTo>
                    <a:cubicBezTo>
                      <a:pt x="17492" y="55721"/>
                      <a:pt x="26047" y="65151"/>
                      <a:pt x="40211" y="65151"/>
                    </a:cubicBezTo>
                    <a:cubicBezTo>
                      <a:pt x="54376" y="65151"/>
                      <a:pt x="63121" y="55435"/>
                      <a:pt x="63121" y="39910"/>
                    </a:cubicBezTo>
                    <a:close/>
                  </a:path>
                </a:pathLst>
              </a:custGeom>
              <a:grpFill/>
              <a:ln w="9497" cap="flat">
                <a:noFill/>
                <a:prstDash val="solid"/>
                <a:miter/>
              </a:ln>
            </p:spPr>
            <p:txBody>
              <a:bodyPr rtlCol="0" anchor="ctr"/>
              <a:lstStyle/>
              <a:p>
                <a:endParaRPr lang="en-GB" dirty="0"/>
              </a:p>
            </p:txBody>
          </p:sp>
          <p:sp>
            <p:nvSpPr>
              <p:cNvPr id="57" name="Freeform 56">
                <a:extLst>
                  <a:ext uri="{FF2B5EF4-FFF2-40B4-BE49-F238E27FC236}">
                    <a16:creationId xmlns:a16="http://schemas.microsoft.com/office/drawing/2014/main" id="{B441E1A2-4EE7-47FA-4D3F-E9D4109D00A2}"/>
                  </a:ext>
                </a:extLst>
              </p:cNvPr>
              <p:cNvSpPr/>
              <p:nvPr/>
            </p:nvSpPr>
            <p:spPr>
              <a:xfrm>
                <a:off x="6593174" y="3904773"/>
                <a:ext cx="70250" cy="78295"/>
              </a:xfrm>
              <a:custGeom>
                <a:avLst/>
                <a:gdLst>
                  <a:gd name="connsiteX0" fmla="*/ 0 w 70250"/>
                  <a:gd name="connsiteY0" fmla="*/ 1238 h 78295"/>
                  <a:gd name="connsiteX1" fmla="*/ 17491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0 w 70250"/>
                  <a:gd name="connsiteY8" fmla="*/ 34004 h 78295"/>
                  <a:gd name="connsiteX9" fmla="*/ 38975 w 70250"/>
                  <a:gd name="connsiteY9" fmla="*/ 14954 h 78295"/>
                  <a:gd name="connsiteX10" fmla="*/ 17491 w 70250"/>
                  <a:gd name="connsiteY10" fmla="*/ 44577 h 78295"/>
                  <a:gd name="connsiteX11" fmla="*/ 17491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1"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8975" y="14954"/>
                    </a:cubicBezTo>
                    <a:cubicBezTo>
                      <a:pt x="25762" y="14954"/>
                      <a:pt x="17491" y="26194"/>
                      <a:pt x="17491" y="44577"/>
                    </a:cubicBezTo>
                    <a:lnTo>
                      <a:pt x="17491" y="78296"/>
                    </a:lnTo>
                    <a:lnTo>
                      <a:pt x="0" y="78296"/>
                    </a:lnTo>
                    <a:lnTo>
                      <a:pt x="0" y="1238"/>
                    </a:lnTo>
                    <a:close/>
                  </a:path>
                </a:pathLst>
              </a:custGeom>
              <a:grpFill/>
              <a:ln w="9497" cap="flat">
                <a:noFill/>
                <a:prstDash val="solid"/>
                <a:miter/>
              </a:ln>
            </p:spPr>
            <p:txBody>
              <a:bodyPr rtlCol="0" anchor="ctr"/>
              <a:lstStyle/>
              <a:p>
                <a:endParaRPr lang="en-GB" dirty="0"/>
              </a:p>
            </p:txBody>
          </p:sp>
          <p:sp>
            <p:nvSpPr>
              <p:cNvPr id="58" name="Freeform 57">
                <a:extLst>
                  <a:ext uri="{FF2B5EF4-FFF2-40B4-BE49-F238E27FC236}">
                    <a16:creationId xmlns:a16="http://schemas.microsoft.com/office/drawing/2014/main" id="{5BB78B42-8975-7EF1-BF92-041EF96904FF}"/>
                  </a:ext>
                </a:extLst>
              </p:cNvPr>
              <p:cNvSpPr/>
              <p:nvPr/>
            </p:nvSpPr>
            <p:spPr>
              <a:xfrm>
                <a:off x="6678445"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293"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2"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GB" dirty="0"/>
              </a:p>
            </p:txBody>
          </p:sp>
          <p:sp>
            <p:nvSpPr>
              <p:cNvPr id="59" name="Freeform 58">
                <a:extLst>
                  <a:ext uri="{FF2B5EF4-FFF2-40B4-BE49-F238E27FC236}">
                    <a16:creationId xmlns:a16="http://schemas.microsoft.com/office/drawing/2014/main" id="{EAE599BD-013C-6049-7404-24BA1420AEDD}"/>
                  </a:ext>
                </a:extLst>
              </p:cNvPr>
              <p:cNvSpPr/>
              <p:nvPr/>
            </p:nvSpPr>
            <p:spPr>
              <a:xfrm>
                <a:off x="6819708" y="3879818"/>
                <a:ext cx="17871" cy="103250"/>
              </a:xfrm>
              <a:custGeom>
                <a:avLst/>
                <a:gdLst>
                  <a:gd name="connsiteX0" fmla="*/ 0 w 17871"/>
                  <a:gd name="connsiteY0" fmla="*/ 0 h 103250"/>
                  <a:gd name="connsiteX1" fmla="*/ 17872 w 17871"/>
                  <a:gd name="connsiteY1" fmla="*/ 0 h 103250"/>
                  <a:gd name="connsiteX2" fmla="*/ 17872 w 17871"/>
                  <a:gd name="connsiteY2" fmla="*/ 17145 h 103250"/>
                  <a:gd name="connsiteX3" fmla="*/ 0 w 17871"/>
                  <a:gd name="connsiteY3" fmla="*/ 17145 h 103250"/>
                  <a:gd name="connsiteX4" fmla="*/ 0 w 17871"/>
                  <a:gd name="connsiteY4" fmla="*/ 0 h 103250"/>
                  <a:gd name="connsiteX5" fmla="*/ 190 w 17871"/>
                  <a:gd name="connsiteY5" fmla="*/ 26194 h 103250"/>
                  <a:gd name="connsiteX6" fmla="*/ 17682 w 17871"/>
                  <a:gd name="connsiteY6" fmla="*/ 26194 h 103250"/>
                  <a:gd name="connsiteX7" fmla="*/ 17682 w 17871"/>
                  <a:gd name="connsiteY7" fmla="*/ 103251 h 103250"/>
                  <a:gd name="connsiteX8" fmla="*/ 190 w 17871"/>
                  <a:gd name="connsiteY8" fmla="*/ 103251 h 103250"/>
                  <a:gd name="connsiteX9" fmla="*/ 190 w 17871"/>
                  <a:gd name="connsiteY9" fmla="*/ 26194 h 10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71" h="103250">
                    <a:moveTo>
                      <a:pt x="0" y="0"/>
                    </a:moveTo>
                    <a:lnTo>
                      <a:pt x="17872" y="0"/>
                    </a:lnTo>
                    <a:lnTo>
                      <a:pt x="17872" y="17145"/>
                    </a:lnTo>
                    <a:lnTo>
                      <a:pt x="0" y="17145"/>
                    </a:lnTo>
                    <a:lnTo>
                      <a:pt x="0" y="0"/>
                    </a:lnTo>
                    <a:close/>
                    <a:moveTo>
                      <a:pt x="190" y="26194"/>
                    </a:moveTo>
                    <a:lnTo>
                      <a:pt x="17682" y="26194"/>
                    </a:lnTo>
                    <a:lnTo>
                      <a:pt x="17682" y="103251"/>
                    </a:lnTo>
                    <a:lnTo>
                      <a:pt x="190" y="103251"/>
                    </a:lnTo>
                    <a:lnTo>
                      <a:pt x="190" y="26194"/>
                    </a:lnTo>
                    <a:close/>
                  </a:path>
                </a:pathLst>
              </a:custGeom>
              <a:grpFill/>
              <a:ln w="9497" cap="flat">
                <a:noFill/>
                <a:prstDash val="solid"/>
                <a:miter/>
              </a:ln>
            </p:spPr>
            <p:txBody>
              <a:bodyPr rtlCol="0" anchor="ctr"/>
              <a:lstStyle/>
              <a:p>
                <a:endParaRPr lang="en-GB" dirty="0"/>
              </a:p>
            </p:txBody>
          </p:sp>
          <p:sp>
            <p:nvSpPr>
              <p:cNvPr id="60" name="Freeform 59">
                <a:extLst>
                  <a:ext uri="{FF2B5EF4-FFF2-40B4-BE49-F238E27FC236}">
                    <a16:creationId xmlns:a16="http://schemas.microsoft.com/office/drawing/2014/main" id="{6304FD5C-322F-F659-9C31-0B9BDCD8B430}"/>
                  </a:ext>
                </a:extLst>
              </p:cNvPr>
              <p:cNvSpPr/>
              <p:nvPr/>
            </p:nvSpPr>
            <p:spPr>
              <a:xfrm>
                <a:off x="6855546" y="3904773"/>
                <a:ext cx="80612" cy="78390"/>
              </a:xfrm>
              <a:custGeom>
                <a:avLst/>
                <a:gdLst>
                  <a:gd name="connsiteX0" fmla="*/ 0 w 80612"/>
                  <a:gd name="connsiteY0" fmla="*/ 1238 h 78390"/>
                  <a:gd name="connsiteX1" fmla="*/ 17492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2 w 80612"/>
                  <a:gd name="connsiteY10" fmla="*/ 41053 h 78390"/>
                  <a:gd name="connsiteX11" fmla="*/ 17492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2"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2" y="24194"/>
                      <a:pt x="17492" y="41053"/>
                    </a:cubicBezTo>
                    <a:lnTo>
                      <a:pt x="17492" y="78391"/>
                    </a:lnTo>
                    <a:lnTo>
                      <a:pt x="0" y="78391"/>
                    </a:lnTo>
                    <a:lnTo>
                      <a:pt x="0" y="1333"/>
                    </a:lnTo>
                    <a:close/>
                  </a:path>
                </a:pathLst>
              </a:custGeom>
              <a:grpFill/>
              <a:ln w="9497" cap="flat">
                <a:noFill/>
                <a:prstDash val="solid"/>
                <a:miter/>
              </a:ln>
            </p:spPr>
            <p:txBody>
              <a:bodyPr rtlCol="0" anchor="ctr"/>
              <a:lstStyle/>
              <a:p>
                <a:endParaRPr lang="en-GB" dirty="0"/>
              </a:p>
            </p:txBody>
          </p:sp>
          <p:sp>
            <p:nvSpPr>
              <p:cNvPr id="61" name="Freeform 60">
                <a:extLst>
                  <a:ext uri="{FF2B5EF4-FFF2-40B4-BE49-F238E27FC236}">
                    <a16:creationId xmlns:a16="http://schemas.microsoft.com/office/drawing/2014/main" id="{934DA847-CB10-0230-A051-E5260873F2B7}"/>
                  </a:ext>
                </a:extLst>
              </p:cNvPr>
              <p:cNvSpPr/>
              <p:nvPr/>
            </p:nvSpPr>
            <p:spPr>
              <a:xfrm>
                <a:off x="6950133" y="3890581"/>
                <a:ext cx="82133" cy="125730"/>
              </a:xfrm>
              <a:custGeom>
                <a:avLst/>
                <a:gdLst>
                  <a:gd name="connsiteX0" fmla="*/ 82039 w 82133"/>
                  <a:gd name="connsiteY0" fmla="*/ 99822 h 125730"/>
                  <a:gd name="connsiteX1" fmla="*/ 41542 w 82133"/>
                  <a:gd name="connsiteY1" fmla="*/ 125730 h 125730"/>
                  <a:gd name="connsiteX2" fmla="*/ 0 w 82133"/>
                  <a:gd name="connsiteY2" fmla="*/ 103918 h 125730"/>
                  <a:gd name="connsiteX3" fmla="*/ 14925 w 82133"/>
                  <a:gd name="connsiteY3" fmla="*/ 89916 h 125730"/>
                  <a:gd name="connsiteX4" fmla="*/ 14925 w 82133"/>
                  <a:gd name="connsiteY4" fmla="*/ 89725 h 125730"/>
                  <a:gd name="connsiteX5" fmla="*/ 8175 w 82133"/>
                  <a:gd name="connsiteY5" fmla="*/ 77057 h 125730"/>
                  <a:gd name="connsiteX6" fmla="*/ 15305 w 82133"/>
                  <a:gd name="connsiteY6" fmla="*/ 63913 h 125730"/>
                  <a:gd name="connsiteX7" fmla="*/ 15305 w 82133"/>
                  <a:gd name="connsiteY7" fmla="*/ 63627 h 125730"/>
                  <a:gd name="connsiteX8" fmla="*/ 3422 w 82133"/>
                  <a:gd name="connsiteY8" fmla="*/ 41624 h 125730"/>
                  <a:gd name="connsiteX9" fmla="*/ 37740 w 82133"/>
                  <a:gd name="connsiteY9" fmla="*/ 14192 h 125730"/>
                  <a:gd name="connsiteX10" fmla="*/ 59224 w 82133"/>
                  <a:gd name="connsiteY10" fmla="*/ 19145 h 125730"/>
                  <a:gd name="connsiteX11" fmla="*/ 59414 w 82133"/>
                  <a:gd name="connsiteY11" fmla="*/ 18955 h 125730"/>
                  <a:gd name="connsiteX12" fmla="*/ 55706 w 82133"/>
                  <a:gd name="connsiteY12" fmla="*/ 10192 h 125730"/>
                  <a:gd name="connsiteX13" fmla="*/ 70821 w 82133"/>
                  <a:gd name="connsiteY13" fmla="*/ 0 h 125730"/>
                  <a:gd name="connsiteX14" fmla="*/ 78616 w 82133"/>
                  <a:gd name="connsiteY14" fmla="*/ 762 h 125730"/>
                  <a:gd name="connsiteX15" fmla="*/ 78616 w 82133"/>
                  <a:gd name="connsiteY15" fmla="*/ 13049 h 125730"/>
                  <a:gd name="connsiteX16" fmla="*/ 73483 w 82133"/>
                  <a:gd name="connsiteY16" fmla="*/ 12287 h 125730"/>
                  <a:gd name="connsiteX17" fmla="*/ 65878 w 82133"/>
                  <a:gd name="connsiteY17" fmla="*/ 18669 h 125730"/>
                  <a:gd name="connsiteX18" fmla="*/ 67589 w 82133"/>
                  <a:gd name="connsiteY18" fmla="*/ 26479 h 125730"/>
                  <a:gd name="connsiteX19" fmla="*/ 72152 w 82133"/>
                  <a:gd name="connsiteY19" fmla="*/ 41434 h 125730"/>
                  <a:gd name="connsiteX20" fmla="*/ 37930 w 82133"/>
                  <a:gd name="connsiteY20" fmla="*/ 68866 h 125730"/>
                  <a:gd name="connsiteX21" fmla="*/ 24336 w 82133"/>
                  <a:gd name="connsiteY21" fmla="*/ 67151 h 125730"/>
                  <a:gd name="connsiteX22" fmla="*/ 22435 w 82133"/>
                  <a:gd name="connsiteY22" fmla="*/ 73057 h 125730"/>
                  <a:gd name="connsiteX23" fmla="*/ 31180 w 82133"/>
                  <a:gd name="connsiteY23" fmla="*/ 80105 h 125730"/>
                  <a:gd name="connsiteX24" fmla="*/ 56087 w 82133"/>
                  <a:gd name="connsiteY24" fmla="*/ 80105 h 125730"/>
                  <a:gd name="connsiteX25" fmla="*/ 82134 w 82133"/>
                  <a:gd name="connsiteY25" fmla="*/ 99631 h 125730"/>
                  <a:gd name="connsiteX26" fmla="*/ 64547 w 82133"/>
                  <a:gd name="connsiteY26" fmla="*/ 101822 h 125730"/>
                  <a:gd name="connsiteX27" fmla="*/ 52379 w 82133"/>
                  <a:gd name="connsiteY27" fmla="*/ 93821 h 125730"/>
                  <a:gd name="connsiteX28" fmla="*/ 31466 w 82133"/>
                  <a:gd name="connsiteY28" fmla="*/ 93821 h 125730"/>
                  <a:gd name="connsiteX29" fmla="*/ 17111 w 82133"/>
                  <a:gd name="connsiteY29" fmla="*/ 102394 h 125730"/>
                  <a:gd name="connsiteX30" fmla="*/ 41257 w 82133"/>
                  <a:gd name="connsiteY30" fmla="*/ 113348 h 125730"/>
                  <a:gd name="connsiteX31" fmla="*/ 64452 w 82133"/>
                  <a:gd name="connsiteY31" fmla="*/ 101822 h 125730"/>
                  <a:gd name="connsiteX32" fmla="*/ 20153 w 82133"/>
                  <a:gd name="connsiteY32" fmla="*/ 41624 h 125730"/>
                  <a:gd name="connsiteX33" fmla="*/ 37740 w 82133"/>
                  <a:gd name="connsiteY33" fmla="*/ 56579 h 125730"/>
                  <a:gd name="connsiteX34" fmla="*/ 55326 w 82133"/>
                  <a:gd name="connsiteY34" fmla="*/ 41624 h 125730"/>
                  <a:gd name="connsiteX35" fmla="*/ 37740 w 82133"/>
                  <a:gd name="connsiteY35" fmla="*/ 26670 h 125730"/>
                  <a:gd name="connsiteX36" fmla="*/ 20153 w 82133"/>
                  <a:gd name="connsiteY36" fmla="*/ 41624 h 12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133" h="125730">
                    <a:moveTo>
                      <a:pt x="82039" y="99822"/>
                    </a:moveTo>
                    <a:cubicBezTo>
                      <a:pt x="82039" y="116015"/>
                      <a:pt x="66924" y="125730"/>
                      <a:pt x="41542" y="125730"/>
                    </a:cubicBezTo>
                    <a:cubicBezTo>
                      <a:pt x="16160" y="125730"/>
                      <a:pt x="0" y="117729"/>
                      <a:pt x="0" y="103918"/>
                    </a:cubicBezTo>
                    <a:cubicBezTo>
                      <a:pt x="0" y="96107"/>
                      <a:pt x="5799" y="90297"/>
                      <a:pt x="14925" y="89916"/>
                    </a:cubicBezTo>
                    <a:lnTo>
                      <a:pt x="14925" y="89725"/>
                    </a:lnTo>
                    <a:cubicBezTo>
                      <a:pt x="10552" y="86773"/>
                      <a:pt x="8175" y="82582"/>
                      <a:pt x="8175" y="77057"/>
                    </a:cubicBezTo>
                    <a:cubicBezTo>
                      <a:pt x="8175" y="70485"/>
                      <a:pt x="11122" y="66008"/>
                      <a:pt x="15305" y="63913"/>
                    </a:cubicBezTo>
                    <a:lnTo>
                      <a:pt x="15305" y="63627"/>
                    </a:lnTo>
                    <a:cubicBezTo>
                      <a:pt x="7700" y="58960"/>
                      <a:pt x="3422" y="51340"/>
                      <a:pt x="3422" y="41624"/>
                    </a:cubicBezTo>
                    <a:cubicBezTo>
                      <a:pt x="3422" y="24765"/>
                      <a:pt x="16541" y="14192"/>
                      <a:pt x="37740" y="14192"/>
                    </a:cubicBezTo>
                    <a:cubicBezTo>
                      <a:pt x="46485" y="14192"/>
                      <a:pt x="53615" y="15907"/>
                      <a:pt x="59224" y="19145"/>
                    </a:cubicBezTo>
                    <a:lnTo>
                      <a:pt x="59414" y="18955"/>
                    </a:lnTo>
                    <a:cubicBezTo>
                      <a:pt x="57037" y="16478"/>
                      <a:pt x="55706" y="13525"/>
                      <a:pt x="55706" y="10192"/>
                    </a:cubicBezTo>
                    <a:cubicBezTo>
                      <a:pt x="55706" y="3905"/>
                      <a:pt x="61600" y="0"/>
                      <a:pt x="70821" y="0"/>
                    </a:cubicBezTo>
                    <a:cubicBezTo>
                      <a:pt x="74529" y="0"/>
                      <a:pt x="76715" y="286"/>
                      <a:pt x="78616" y="762"/>
                    </a:cubicBezTo>
                    <a:lnTo>
                      <a:pt x="78616" y="13049"/>
                    </a:lnTo>
                    <a:cubicBezTo>
                      <a:pt x="77380" y="12573"/>
                      <a:pt x="75669" y="12287"/>
                      <a:pt x="73483" y="12287"/>
                    </a:cubicBezTo>
                    <a:cubicBezTo>
                      <a:pt x="68350" y="12287"/>
                      <a:pt x="65878" y="14478"/>
                      <a:pt x="65878" y="18669"/>
                    </a:cubicBezTo>
                    <a:cubicBezTo>
                      <a:pt x="65878" y="20860"/>
                      <a:pt x="66638" y="23527"/>
                      <a:pt x="67589" y="26479"/>
                    </a:cubicBezTo>
                    <a:cubicBezTo>
                      <a:pt x="70536" y="30575"/>
                      <a:pt x="72152" y="35719"/>
                      <a:pt x="72152" y="41434"/>
                    </a:cubicBezTo>
                    <a:cubicBezTo>
                      <a:pt x="72152" y="58483"/>
                      <a:pt x="59034" y="68866"/>
                      <a:pt x="37930" y="68866"/>
                    </a:cubicBezTo>
                    <a:cubicBezTo>
                      <a:pt x="32987" y="68866"/>
                      <a:pt x="28423" y="68199"/>
                      <a:pt x="24336" y="67151"/>
                    </a:cubicBezTo>
                    <a:cubicBezTo>
                      <a:pt x="23385" y="68199"/>
                      <a:pt x="22435" y="70390"/>
                      <a:pt x="22435" y="73057"/>
                    </a:cubicBezTo>
                    <a:cubicBezTo>
                      <a:pt x="22435" y="77438"/>
                      <a:pt x="25572" y="80105"/>
                      <a:pt x="31180" y="80105"/>
                    </a:cubicBezTo>
                    <a:lnTo>
                      <a:pt x="56087" y="80105"/>
                    </a:lnTo>
                    <a:cubicBezTo>
                      <a:pt x="72627" y="80105"/>
                      <a:pt x="82134" y="87249"/>
                      <a:pt x="82134" y="99631"/>
                    </a:cubicBezTo>
                    <a:close/>
                    <a:moveTo>
                      <a:pt x="64547" y="101822"/>
                    </a:moveTo>
                    <a:cubicBezTo>
                      <a:pt x="64547" y="96679"/>
                      <a:pt x="60650" y="93821"/>
                      <a:pt x="52379" y="93821"/>
                    </a:cubicBezTo>
                    <a:lnTo>
                      <a:pt x="31466" y="93821"/>
                    </a:lnTo>
                    <a:cubicBezTo>
                      <a:pt x="22720" y="93821"/>
                      <a:pt x="17111" y="96488"/>
                      <a:pt x="17111" y="102394"/>
                    </a:cubicBezTo>
                    <a:cubicBezTo>
                      <a:pt x="17111" y="109728"/>
                      <a:pt x="26427" y="113348"/>
                      <a:pt x="41257" y="113348"/>
                    </a:cubicBezTo>
                    <a:cubicBezTo>
                      <a:pt x="57608" y="113348"/>
                      <a:pt x="64452" y="108680"/>
                      <a:pt x="64452" y="101822"/>
                    </a:cubicBezTo>
                    <a:close/>
                    <a:moveTo>
                      <a:pt x="20153" y="41624"/>
                    </a:moveTo>
                    <a:cubicBezTo>
                      <a:pt x="20153" y="50864"/>
                      <a:pt x="26902" y="56579"/>
                      <a:pt x="37740" y="56579"/>
                    </a:cubicBezTo>
                    <a:cubicBezTo>
                      <a:pt x="48577" y="56579"/>
                      <a:pt x="55326" y="50768"/>
                      <a:pt x="55326" y="41624"/>
                    </a:cubicBezTo>
                    <a:cubicBezTo>
                      <a:pt x="55326" y="32480"/>
                      <a:pt x="48672" y="26670"/>
                      <a:pt x="37740" y="26670"/>
                    </a:cubicBezTo>
                    <a:cubicBezTo>
                      <a:pt x="26808" y="26670"/>
                      <a:pt x="20153" y="32480"/>
                      <a:pt x="20153" y="41624"/>
                    </a:cubicBezTo>
                    <a:close/>
                  </a:path>
                </a:pathLst>
              </a:custGeom>
              <a:grpFill/>
              <a:ln w="9497" cap="flat">
                <a:noFill/>
                <a:prstDash val="solid"/>
                <a:miter/>
              </a:ln>
            </p:spPr>
            <p:txBody>
              <a:bodyPr rtlCol="0" anchor="ctr"/>
              <a:lstStyle/>
              <a:p>
                <a:endParaRPr lang="en-GB" dirty="0"/>
              </a:p>
            </p:txBody>
          </p:sp>
          <p:sp>
            <p:nvSpPr>
              <p:cNvPr id="62" name="Freeform 61">
                <a:extLst>
                  <a:ext uri="{FF2B5EF4-FFF2-40B4-BE49-F238E27FC236}">
                    <a16:creationId xmlns:a16="http://schemas.microsoft.com/office/drawing/2014/main" id="{8F103FE6-3BAF-D7E1-B45B-7A593E98E1C3}"/>
                  </a:ext>
                </a:extLst>
              </p:cNvPr>
              <p:cNvSpPr/>
              <p:nvPr/>
            </p:nvSpPr>
            <p:spPr>
              <a:xfrm>
                <a:off x="7081699"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388"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1"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GB" dirty="0"/>
              </a:p>
            </p:txBody>
          </p:sp>
          <p:sp>
            <p:nvSpPr>
              <p:cNvPr id="63" name="Freeform 62">
                <a:extLst>
                  <a:ext uri="{FF2B5EF4-FFF2-40B4-BE49-F238E27FC236}">
                    <a16:creationId xmlns:a16="http://schemas.microsoft.com/office/drawing/2014/main" id="{6F60A1C0-2DF7-457D-D7C2-74B4B5BB9C10}"/>
                  </a:ext>
                </a:extLst>
              </p:cNvPr>
              <p:cNvSpPr/>
              <p:nvPr/>
            </p:nvSpPr>
            <p:spPr>
              <a:xfrm>
                <a:off x="7220394" y="3904773"/>
                <a:ext cx="74813" cy="79533"/>
              </a:xfrm>
              <a:custGeom>
                <a:avLst/>
                <a:gdLst>
                  <a:gd name="connsiteX0" fmla="*/ 0 w 74813"/>
                  <a:gd name="connsiteY0" fmla="*/ 56198 h 79533"/>
                  <a:gd name="connsiteX1" fmla="*/ 28804 w 74813"/>
                  <a:gd name="connsiteY1" fmla="*/ 35243 h 79533"/>
                  <a:gd name="connsiteX2" fmla="*/ 57322 w 74813"/>
                  <a:gd name="connsiteY2" fmla="*/ 35243 h 79533"/>
                  <a:gd name="connsiteX3" fmla="*/ 57322 w 74813"/>
                  <a:gd name="connsiteY3" fmla="*/ 29813 h 79533"/>
                  <a:gd name="connsiteX4" fmla="*/ 37074 w 74813"/>
                  <a:gd name="connsiteY4" fmla="*/ 13145 h 79533"/>
                  <a:gd name="connsiteX5" fmla="*/ 18537 w 74813"/>
                  <a:gd name="connsiteY5" fmla="*/ 26289 h 79533"/>
                  <a:gd name="connsiteX6" fmla="*/ 18727 w 74813"/>
                  <a:gd name="connsiteY6" fmla="*/ 29242 h 79533"/>
                  <a:gd name="connsiteX7" fmla="*/ 2662 w 74813"/>
                  <a:gd name="connsiteY7" fmla="*/ 29242 h 79533"/>
                  <a:gd name="connsiteX8" fmla="*/ 2377 w 74813"/>
                  <a:gd name="connsiteY8" fmla="*/ 24670 h 79533"/>
                  <a:gd name="connsiteX9" fmla="*/ 37740 w 74813"/>
                  <a:gd name="connsiteY9" fmla="*/ 0 h 79533"/>
                  <a:gd name="connsiteX10" fmla="*/ 74814 w 74813"/>
                  <a:gd name="connsiteY10" fmla="*/ 31337 h 79533"/>
                  <a:gd name="connsiteX11" fmla="*/ 74814 w 74813"/>
                  <a:gd name="connsiteY11" fmla="*/ 78296 h 79533"/>
                  <a:gd name="connsiteX12" fmla="*/ 57322 w 74813"/>
                  <a:gd name="connsiteY12" fmla="*/ 78296 h 79533"/>
                  <a:gd name="connsiteX13" fmla="*/ 58083 w 74813"/>
                  <a:gd name="connsiteY13" fmla="*/ 61246 h 79533"/>
                  <a:gd name="connsiteX14" fmla="*/ 57893 w 74813"/>
                  <a:gd name="connsiteY14" fmla="*/ 61246 h 79533"/>
                  <a:gd name="connsiteX15" fmla="*/ 29279 w 74813"/>
                  <a:gd name="connsiteY15" fmla="*/ 79534 h 79533"/>
                  <a:gd name="connsiteX16" fmla="*/ 0 w 74813"/>
                  <a:gd name="connsiteY16" fmla="*/ 56102 h 79533"/>
                  <a:gd name="connsiteX17" fmla="*/ 57322 w 74813"/>
                  <a:gd name="connsiteY17" fmla="*/ 47339 h 79533"/>
                  <a:gd name="connsiteX18" fmla="*/ 57322 w 74813"/>
                  <a:gd name="connsiteY18" fmla="*/ 45910 h 79533"/>
                  <a:gd name="connsiteX19" fmla="*/ 30420 w 74813"/>
                  <a:gd name="connsiteY19" fmla="*/ 45910 h 79533"/>
                  <a:gd name="connsiteX20" fmla="*/ 16066 w 74813"/>
                  <a:gd name="connsiteY20" fmla="*/ 55435 h 79533"/>
                  <a:gd name="connsiteX21" fmla="*/ 32891 w 74813"/>
                  <a:gd name="connsiteY21" fmla="*/ 66485 h 79533"/>
                  <a:gd name="connsiteX22" fmla="*/ 57322 w 74813"/>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813" h="79533">
                    <a:moveTo>
                      <a:pt x="0" y="56198"/>
                    </a:moveTo>
                    <a:cubicBezTo>
                      <a:pt x="0" y="44482"/>
                      <a:pt x="8270" y="35243"/>
                      <a:pt x="28804" y="35243"/>
                    </a:cubicBezTo>
                    <a:lnTo>
                      <a:pt x="57322" y="35243"/>
                    </a:lnTo>
                    <a:lnTo>
                      <a:pt x="57322" y="29813"/>
                    </a:lnTo>
                    <a:cubicBezTo>
                      <a:pt x="57322" y="18288"/>
                      <a:pt x="50668" y="13145"/>
                      <a:pt x="37074" y="13145"/>
                    </a:cubicBezTo>
                    <a:cubicBezTo>
                      <a:pt x="25287" y="13145"/>
                      <a:pt x="18537" y="17717"/>
                      <a:pt x="18537" y="26289"/>
                    </a:cubicBezTo>
                    <a:cubicBezTo>
                      <a:pt x="18537" y="26765"/>
                      <a:pt x="18537" y="28004"/>
                      <a:pt x="18727" y="29242"/>
                    </a:cubicBezTo>
                    <a:lnTo>
                      <a:pt x="2662" y="29242"/>
                    </a:lnTo>
                    <a:cubicBezTo>
                      <a:pt x="2472" y="28099"/>
                      <a:pt x="2377" y="26099"/>
                      <a:pt x="2377" y="24670"/>
                    </a:cubicBezTo>
                    <a:cubicBezTo>
                      <a:pt x="2377" y="9239"/>
                      <a:pt x="15780" y="0"/>
                      <a:pt x="37740" y="0"/>
                    </a:cubicBezTo>
                    <a:cubicBezTo>
                      <a:pt x="61125" y="0"/>
                      <a:pt x="74814" y="11049"/>
                      <a:pt x="74814" y="31337"/>
                    </a:cubicBezTo>
                    <a:lnTo>
                      <a:pt x="74814" y="78296"/>
                    </a:lnTo>
                    <a:lnTo>
                      <a:pt x="57322" y="78296"/>
                    </a:lnTo>
                    <a:cubicBezTo>
                      <a:pt x="57608" y="74581"/>
                      <a:pt x="58083" y="67532"/>
                      <a:pt x="58083" y="61246"/>
                    </a:cubicBezTo>
                    <a:lnTo>
                      <a:pt x="57893" y="61246"/>
                    </a:lnTo>
                    <a:cubicBezTo>
                      <a:pt x="55421" y="72676"/>
                      <a:pt x="46200" y="79534"/>
                      <a:pt x="29279" y="79534"/>
                    </a:cubicBezTo>
                    <a:cubicBezTo>
                      <a:pt x="12358" y="79534"/>
                      <a:pt x="0" y="71152"/>
                      <a:pt x="0" y="56102"/>
                    </a:cubicBezTo>
                    <a:close/>
                    <a:moveTo>
                      <a:pt x="57322" y="47339"/>
                    </a:moveTo>
                    <a:lnTo>
                      <a:pt x="57322" y="45910"/>
                    </a:lnTo>
                    <a:lnTo>
                      <a:pt x="30420" y="45910"/>
                    </a:lnTo>
                    <a:cubicBezTo>
                      <a:pt x="20438" y="45910"/>
                      <a:pt x="16066" y="49340"/>
                      <a:pt x="16066" y="55435"/>
                    </a:cubicBezTo>
                    <a:cubicBezTo>
                      <a:pt x="16066" y="62484"/>
                      <a:pt x="22340" y="66485"/>
                      <a:pt x="32891" y="66485"/>
                    </a:cubicBezTo>
                    <a:cubicBezTo>
                      <a:pt x="48006" y="66485"/>
                      <a:pt x="57322" y="59150"/>
                      <a:pt x="57322" y="47244"/>
                    </a:cubicBezTo>
                    <a:close/>
                  </a:path>
                </a:pathLst>
              </a:custGeom>
              <a:grpFill/>
              <a:ln w="9497" cap="flat">
                <a:noFill/>
                <a:prstDash val="solid"/>
                <a:miter/>
              </a:ln>
            </p:spPr>
            <p:txBody>
              <a:bodyPr rtlCol="0" anchor="ctr"/>
              <a:lstStyle/>
              <a:p>
                <a:endParaRPr lang="en-GB" dirty="0"/>
              </a:p>
            </p:txBody>
          </p:sp>
          <p:sp>
            <p:nvSpPr>
              <p:cNvPr id="64" name="Freeform 63">
                <a:extLst>
                  <a:ext uri="{FF2B5EF4-FFF2-40B4-BE49-F238E27FC236}">
                    <a16:creationId xmlns:a16="http://schemas.microsoft.com/office/drawing/2014/main" id="{9F310CF3-21C8-4F2F-1D1A-A66CE5F79D61}"/>
                  </a:ext>
                </a:extLst>
              </p:cNvPr>
              <p:cNvSpPr/>
              <p:nvPr/>
            </p:nvSpPr>
            <p:spPr>
              <a:xfrm>
                <a:off x="7311844" y="3904773"/>
                <a:ext cx="70251" cy="78295"/>
              </a:xfrm>
              <a:custGeom>
                <a:avLst/>
                <a:gdLst>
                  <a:gd name="connsiteX0" fmla="*/ 0 w 70251"/>
                  <a:gd name="connsiteY0" fmla="*/ 1238 h 78295"/>
                  <a:gd name="connsiteX1" fmla="*/ 17491 w 70251"/>
                  <a:gd name="connsiteY1" fmla="*/ 1238 h 78295"/>
                  <a:gd name="connsiteX2" fmla="*/ 16826 w 70251"/>
                  <a:gd name="connsiteY2" fmla="*/ 23432 h 78295"/>
                  <a:gd name="connsiteX3" fmla="*/ 17016 w 70251"/>
                  <a:gd name="connsiteY3" fmla="*/ 23432 h 78295"/>
                  <a:gd name="connsiteX4" fmla="*/ 44394 w 70251"/>
                  <a:gd name="connsiteY4" fmla="*/ 0 h 78295"/>
                  <a:gd name="connsiteX5" fmla="*/ 70251 w 70251"/>
                  <a:gd name="connsiteY5" fmla="*/ 30099 h 78295"/>
                  <a:gd name="connsiteX6" fmla="*/ 69490 w 70251"/>
                  <a:gd name="connsiteY6" fmla="*/ 44482 h 78295"/>
                  <a:gd name="connsiteX7" fmla="*/ 53615 w 70251"/>
                  <a:gd name="connsiteY7" fmla="*/ 44482 h 78295"/>
                  <a:gd name="connsiteX8" fmla="*/ 54280 w 70251"/>
                  <a:gd name="connsiteY8" fmla="*/ 34004 h 78295"/>
                  <a:gd name="connsiteX9" fmla="*/ 39071 w 70251"/>
                  <a:gd name="connsiteY9" fmla="*/ 14954 h 78295"/>
                  <a:gd name="connsiteX10" fmla="*/ 17587 w 70251"/>
                  <a:gd name="connsiteY10" fmla="*/ 44577 h 78295"/>
                  <a:gd name="connsiteX11" fmla="*/ 17587 w 70251"/>
                  <a:gd name="connsiteY11" fmla="*/ 78296 h 78295"/>
                  <a:gd name="connsiteX12" fmla="*/ 95 w 70251"/>
                  <a:gd name="connsiteY12" fmla="*/ 78296 h 78295"/>
                  <a:gd name="connsiteX13" fmla="*/ 95 w 70251"/>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1" h="78295">
                    <a:moveTo>
                      <a:pt x="0" y="1238"/>
                    </a:moveTo>
                    <a:lnTo>
                      <a:pt x="17491" y="1238"/>
                    </a:lnTo>
                    <a:lnTo>
                      <a:pt x="16826" y="23432"/>
                    </a:lnTo>
                    <a:lnTo>
                      <a:pt x="17016" y="23432"/>
                    </a:lnTo>
                    <a:cubicBezTo>
                      <a:pt x="20629"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9071" y="14954"/>
                    </a:cubicBezTo>
                    <a:cubicBezTo>
                      <a:pt x="25857" y="14954"/>
                      <a:pt x="17587" y="26194"/>
                      <a:pt x="17587" y="44577"/>
                    </a:cubicBezTo>
                    <a:lnTo>
                      <a:pt x="17587" y="78296"/>
                    </a:lnTo>
                    <a:lnTo>
                      <a:pt x="95" y="78296"/>
                    </a:lnTo>
                    <a:lnTo>
                      <a:pt x="95" y="1238"/>
                    </a:lnTo>
                    <a:close/>
                  </a:path>
                </a:pathLst>
              </a:custGeom>
              <a:grpFill/>
              <a:ln w="9497" cap="flat">
                <a:noFill/>
                <a:prstDash val="solid"/>
                <a:miter/>
              </a:ln>
            </p:spPr>
            <p:txBody>
              <a:bodyPr rtlCol="0" anchor="ctr"/>
              <a:lstStyle/>
              <a:p>
                <a:endParaRPr lang="en-GB" dirty="0"/>
              </a:p>
            </p:txBody>
          </p:sp>
          <p:sp>
            <p:nvSpPr>
              <p:cNvPr id="65" name="Freeform 64">
                <a:extLst>
                  <a:ext uri="{FF2B5EF4-FFF2-40B4-BE49-F238E27FC236}">
                    <a16:creationId xmlns:a16="http://schemas.microsoft.com/office/drawing/2014/main" id="{3A8E0584-2159-E422-D859-3468305CC3DE}"/>
                  </a:ext>
                </a:extLst>
              </p:cNvPr>
              <p:cNvSpPr/>
              <p:nvPr/>
            </p:nvSpPr>
            <p:spPr>
              <a:xfrm>
                <a:off x="7397495" y="3874865"/>
                <a:ext cx="83749" cy="108204"/>
              </a:xfrm>
              <a:custGeom>
                <a:avLst/>
                <a:gdLst>
                  <a:gd name="connsiteX0" fmla="*/ 0 w 83749"/>
                  <a:gd name="connsiteY0" fmla="*/ 95 h 108204"/>
                  <a:gd name="connsiteX1" fmla="*/ 17491 w 83749"/>
                  <a:gd name="connsiteY1" fmla="*/ 95 h 108204"/>
                  <a:gd name="connsiteX2" fmla="*/ 17491 w 83749"/>
                  <a:gd name="connsiteY2" fmla="*/ 71533 h 108204"/>
                  <a:gd name="connsiteX3" fmla="*/ 17681 w 83749"/>
                  <a:gd name="connsiteY3" fmla="*/ 71533 h 108204"/>
                  <a:gd name="connsiteX4" fmla="*/ 59129 w 83749"/>
                  <a:gd name="connsiteY4" fmla="*/ 31147 h 108204"/>
                  <a:gd name="connsiteX5" fmla="*/ 81753 w 83749"/>
                  <a:gd name="connsiteY5" fmla="*/ 31147 h 108204"/>
                  <a:gd name="connsiteX6" fmla="*/ 45725 w 83749"/>
                  <a:gd name="connsiteY6" fmla="*/ 64675 h 108204"/>
                  <a:gd name="connsiteX7" fmla="*/ 83750 w 83749"/>
                  <a:gd name="connsiteY7" fmla="*/ 108204 h 108204"/>
                  <a:gd name="connsiteX8" fmla="*/ 60079 w 83749"/>
                  <a:gd name="connsiteY8" fmla="*/ 108204 h 108204"/>
                  <a:gd name="connsiteX9" fmla="*/ 32987 w 83749"/>
                  <a:gd name="connsiteY9" fmla="*/ 75724 h 108204"/>
                  <a:gd name="connsiteX10" fmla="*/ 17587 w 83749"/>
                  <a:gd name="connsiteY10" fmla="*/ 89916 h 108204"/>
                  <a:gd name="connsiteX11" fmla="*/ 17587 w 83749"/>
                  <a:gd name="connsiteY11" fmla="*/ 108204 h 108204"/>
                  <a:gd name="connsiteX12" fmla="*/ 95 w 83749"/>
                  <a:gd name="connsiteY12" fmla="*/ 108204 h 108204"/>
                  <a:gd name="connsiteX13" fmla="*/ 95 w 83749"/>
                  <a:gd name="connsiteY13" fmla="*/ 0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49" h="108204">
                    <a:moveTo>
                      <a:pt x="0" y="95"/>
                    </a:moveTo>
                    <a:lnTo>
                      <a:pt x="17491" y="95"/>
                    </a:lnTo>
                    <a:lnTo>
                      <a:pt x="17491" y="71533"/>
                    </a:lnTo>
                    <a:lnTo>
                      <a:pt x="17681" y="71533"/>
                    </a:lnTo>
                    <a:lnTo>
                      <a:pt x="59129" y="31147"/>
                    </a:lnTo>
                    <a:lnTo>
                      <a:pt x="81753" y="31147"/>
                    </a:lnTo>
                    <a:lnTo>
                      <a:pt x="45725" y="64675"/>
                    </a:lnTo>
                    <a:lnTo>
                      <a:pt x="83750" y="108204"/>
                    </a:lnTo>
                    <a:lnTo>
                      <a:pt x="60079" y="108204"/>
                    </a:lnTo>
                    <a:lnTo>
                      <a:pt x="32987" y="75724"/>
                    </a:lnTo>
                    <a:lnTo>
                      <a:pt x="17587" y="89916"/>
                    </a:lnTo>
                    <a:lnTo>
                      <a:pt x="17587" y="108204"/>
                    </a:lnTo>
                    <a:lnTo>
                      <a:pt x="95" y="108204"/>
                    </a:lnTo>
                    <a:lnTo>
                      <a:pt x="95" y="0"/>
                    </a:lnTo>
                    <a:close/>
                  </a:path>
                </a:pathLst>
              </a:custGeom>
              <a:grpFill/>
              <a:ln w="9497" cap="flat">
                <a:noFill/>
                <a:prstDash val="solid"/>
                <a:miter/>
              </a:ln>
            </p:spPr>
            <p:txBody>
              <a:bodyPr rtlCol="0" anchor="ctr"/>
              <a:lstStyle/>
              <a:p>
                <a:endParaRPr lang="en-GB" dirty="0"/>
              </a:p>
            </p:txBody>
          </p:sp>
          <p:sp>
            <p:nvSpPr>
              <p:cNvPr id="66" name="Freeform 65">
                <a:extLst>
                  <a:ext uri="{FF2B5EF4-FFF2-40B4-BE49-F238E27FC236}">
                    <a16:creationId xmlns:a16="http://schemas.microsoft.com/office/drawing/2014/main" id="{0168D24B-86E8-9D58-52E4-7C405086BDB1}"/>
                  </a:ext>
                </a:extLst>
              </p:cNvPr>
              <p:cNvSpPr/>
              <p:nvPr/>
            </p:nvSpPr>
            <p:spPr>
              <a:xfrm>
                <a:off x="7484762" y="3904868"/>
                <a:ext cx="75194" cy="79533"/>
              </a:xfrm>
              <a:custGeom>
                <a:avLst/>
                <a:gdLst>
                  <a:gd name="connsiteX0" fmla="*/ 75099 w 75194"/>
                  <a:gd name="connsiteY0" fmla="*/ 43148 h 79533"/>
                  <a:gd name="connsiteX1" fmla="*/ 17491 w 75194"/>
                  <a:gd name="connsiteY1" fmla="*/ 43148 h 79533"/>
                  <a:gd name="connsiteX2" fmla="*/ 39736 w 75194"/>
                  <a:gd name="connsiteY2" fmla="*/ 65913 h 79533"/>
                  <a:gd name="connsiteX3" fmla="*/ 59414 w 75194"/>
                  <a:gd name="connsiteY3" fmla="*/ 51911 h 79533"/>
                  <a:gd name="connsiteX4" fmla="*/ 75194 w 75194"/>
                  <a:gd name="connsiteY4" fmla="*/ 51911 h 79533"/>
                  <a:gd name="connsiteX5" fmla="*/ 39546 w 75194"/>
                  <a:gd name="connsiteY5" fmla="*/ 79534 h 79533"/>
                  <a:gd name="connsiteX6" fmla="*/ 0 w 75194"/>
                  <a:gd name="connsiteY6" fmla="*/ 40386 h 79533"/>
                  <a:gd name="connsiteX7" fmla="*/ 39546 w 75194"/>
                  <a:gd name="connsiteY7" fmla="*/ 0 h 79533"/>
                  <a:gd name="connsiteX8" fmla="*/ 75194 w 75194"/>
                  <a:gd name="connsiteY8" fmla="*/ 36957 h 79533"/>
                  <a:gd name="connsiteX9" fmla="*/ 75194 w 75194"/>
                  <a:gd name="connsiteY9" fmla="*/ 43244 h 79533"/>
                  <a:gd name="connsiteX10" fmla="*/ 59319 w 75194"/>
                  <a:gd name="connsiteY10" fmla="*/ 31433 h 79533"/>
                  <a:gd name="connsiteX11" fmla="*/ 39546 w 75194"/>
                  <a:gd name="connsiteY11" fmla="*/ 13525 h 79533"/>
                  <a:gd name="connsiteX12" fmla="*/ 17872 w 75194"/>
                  <a:gd name="connsiteY12" fmla="*/ 32575 h 79533"/>
                  <a:gd name="connsiteX13" fmla="*/ 59319 w 75194"/>
                  <a:gd name="connsiteY13" fmla="*/ 32575 h 79533"/>
                  <a:gd name="connsiteX14" fmla="*/ 59319 w 75194"/>
                  <a:gd name="connsiteY14" fmla="*/ 31528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194" h="79533">
                    <a:moveTo>
                      <a:pt x="75099" y="43148"/>
                    </a:moveTo>
                    <a:lnTo>
                      <a:pt x="17491" y="43148"/>
                    </a:lnTo>
                    <a:cubicBezTo>
                      <a:pt x="18442" y="58007"/>
                      <a:pt x="26712" y="65913"/>
                      <a:pt x="39736" y="65913"/>
                    </a:cubicBezTo>
                    <a:cubicBezTo>
                      <a:pt x="50953" y="65913"/>
                      <a:pt x="58558" y="60960"/>
                      <a:pt x="59414" y="51911"/>
                    </a:cubicBezTo>
                    <a:lnTo>
                      <a:pt x="75194" y="51911"/>
                    </a:lnTo>
                    <a:cubicBezTo>
                      <a:pt x="74529" y="69056"/>
                      <a:pt x="60555" y="79534"/>
                      <a:pt x="39546" y="79534"/>
                    </a:cubicBezTo>
                    <a:cubicBezTo>
                      <a:pt x="15210" y="79534"/>
                      <a:pt x="0" y="64579"/>
                      <a:pt x="0" y="40386"/>
                    </a:cubicBezTo>
                    <a:cubicBezTo>
                      <a:pt x="0" y="16193"/>
                      <a:pt x="15305" y="0"/>
                      <a:pt x="39546" y="0"/>
                    </a:cubicBezTo>
                    <a:cubicBezTo>
                      <a:pt x="61315" y="0"/>
                      <a:pt x="75194" y="12954"/>
                      <a:pt x="75194" y="36957"/>
                    </a:cubicBezTo>
                    <a:lnTo>
                      <a:pt x="75194" y="43244"/>
                    </a:lnTo>
                    <a:close/>
                    <a:moveTo>
                      <a:pt x="59319" y="31433"/>
                    </a:moveTo>
                    <a:cubicBezTo>
                      <a:pt x="59319" y="19907"/>
                      <a:pt x="52189" y="13525"/>
                      <a:pt x="39546" y="13525"/>
                    </a:cubicBezTo>
                    <a:cubicBezTo>
                      <a:pt x="26903" y="13525"/>
                      <a:pt x="19963" y="19812"/>
                      <a:pt x="17872" y="32575"/>
                    </a:cubicBezTo>
                    <a:lnTo>
                      <a:pt x="59319" y="32575"/>
                    </a:lnTo>
                    <a:lnTo>
                      <a:pt x="59319" y="31528"/>
                    </a:lnTo>
                    <a:close/>
                  </a:path>
                </a:pathLst>
              </a:custGeom>
              <a:grpFill/>
              <a:ln w="9497" cap="flat">
                <a:noFill/>
                <a:prstDash val="solid"/>
                <a:miter/>
              </a:ln>
            </p:spPr>
            <p:txBody>
              <a:bodyPr rtlCol="0" anchor="ctr"/>
              <a:lstStyle/>
              <a:p>
                <a:endParaRPr lang="en-GB" dirty="0"/>
              </a:p>
            </p:txBody>
          </p:sp>
          <p:sp>
            <p:nvSpPr>
              <p:cNvPr id="67" name="Freeform 66">
                <a:extLst>
                  <a:ext uri="{FF2B5EF4-FFF2-40B4-BE49-F238E27FC236}">
                    <a16:creationId xmlns:a16="http://schemas.microsoft.com/office/drawing/2014/main" id="{E0AA1177-A2B6-2DF4-B398-68D44041F905}"/>
                  </a:ext>
                </a:extLst>
              </p:cNvPr>
              <p:cNvSpPr/>
              <p:nvPr/>
            </p:nvSpPr>
            <p:spPr>
              <a:xfrm>
                <a:off x="7567751"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1"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GB" dirty="0"/>
              </a:p>
            </p:txBody>
          </p:sp>
          <p:sp>
            <p:nvSpPr>
              <p:cNvPr id="68" name="Freeform 67">
                <a:extLst>
                  <a:ext uri="{FF2B5EF4-FFF2-40B4-BE49-F238E27FC236}">
                    <a16:creationId xmlns:a16="http://schemas.microsoft.com/office/drawing/2014/main" id="{85E55E13-CAC8-1B6B-7357-760B433448C9}"/>
                  </a:ext>
                </a:extLst>
              </p:cNvPr>
              <p:cNvSpPr/>
              <p:nvPr/>
            </p:nvSpPr>
            <p:spPr>
              <a:xfrm>
                <a:off x="763334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3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2"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0"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3" y="79629"/>
                    </a:cubicBezTo>
                    <a:cubicBezTo>
                      <a:pt x="9601" y="79629"/>
                      <a:pt x="95" y="67723"/>
                      <a:pt x="95" y="52673"/>
                    </a:cubicBezTo>
                    <a:close/>
                  </a:path>
                </a:pathLst>
              </a:custGeom>
              <a:grpFill/>
              <a:ln w="9497" cap="flat">
                <a:noFill/>
                <a:prstDash val="solid"/>
                <a:miter/>
              </a:ln>
            </p:spPr>
            <p:txBody>
              <a:bodyPr rtlCol="0" anchor="ctr"/>
              <a:lstStyle/>
              <a:p>
                <a:endParaRPr lang="en-GB" dirty="0"/>
              </a:p>
            </p:txBody>
          </p:sp>
        </p:grpSp>
      </p:grpSp>
      <p:sp>
        <p:nvSpPr>
          <p:cNvPr id="6" name="Text Placeholder 11">
            <a:extLst>
              <a:ext uri="{FF2B5EF4-FFF2-40B4-BE49-F238E27FC236}">
                <a16:creationId xmlns:a16="http://schemas.microsoft.com/office/drawing/2014/main" id="{73F1465B-DCD7-D8DE-E996-85AAEEA5F162}"/>
              </a:ext>
            </a:extLst>
          </p:cNvPr>
          <p:cNvSpPr>
            <a:spLocks noGrp="1"/>
          </p:cNvSpPr>
          <p:nvPr>
            <p:ph type="body" sz="quarter" idx="23" hasCustomPrompt="1"/>
          </p:nvPr>
        </p:nvSpPr>
        <p:spPr>
          <a:xfrm>
            <a:off x="658812" y="2233414"/>
            <a:ext cx="5113337" cy="447092"/>
          </a:xfrm>
          <a:prstGeom prst="rect">
            <a:avLst/>
          </a:prstGeom>
        </p:spPr>
        <p:txBody>
          <a:bodyPr lIns="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2400" b="1" i="0">
                <a:solidFill>
                  <a:srgbClr val="00625F"/>
                </a:solidFill>
                <a:latin typeface="+mj-lt"/>
                <a:cs typeface="Arial" panose="020B0604020202020204" pitchFamily="34" charset="0"/>
              </a:defRPr>
            </a:lvl1pPr>
          </a:lstStyle>
          <a:p>
            <a:pPr lvl="0"/>
            <a:r>
              <a:rPr lang="en-GB" dirty="0"/>
              <a:t>Name Surname</a:t>
            </a:r>
          </a:p>
        </p:txBody>
      </p:sp>
      <p:sp>
        <p:nvSpPr>
          <p:cNvPr id="7" name="Text Placeholder 11">
            <a:extLst>
              <a:ext uri="{FF2B5EF4-FFF2-40B4-BE49-F238E27FC236}">
                <a16:creationId xmlns:a16="http://schemas.microsoft.com/office/drawing/2014/main" id="{543309CC-19B6-EFAE-49E9-CE4FB8FFC6C8}"/>
              </a:ext>
            </a:extLst>
          </p:cNvPr>
          <p:cNvSpPr>
            <a:spLocks noGrp="1"/>
          </p:cNvSpPr>
          <p:nvPr>
            <p:ph type="body" sz="quarter" idx="24" hasCustomPrompt="1"/>
          </p:nvPr>
        </p:nvSpPr>
        <p:spPr>
          <a:xfrm>
            <a:off x="658812" y="2794364"/>
            <a:ext cx="5113337" cy="962820"/>
          </a:xfrm>
          <a:prstGeom prst="rect">
            <a:avLst/>
          </a:prstGeom>
        </p:spPr>
        <p:txBody>
          <a:bodyPr lIns="0">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1"/>
                </a:solidFill>
              </a:defRPr>
            </a:lvl1pPr>
          </a:lstStyle>
          <a:p>
            <a:pPr lvl="0"/>
            <a:r>
              <a:rPr lang="en-GB" dirty="0"/>
              <a:t>Name of Job Position</a:t>
            </a:r>
          </a:p>
          <a:p>
            <a:pPr lvl="0"/>
            <a:r>
              <a:rPr lang="en-GB" dirty="0" err="1"/>
              <a:t>name@idhtrade.org</a:t>
            </a:r>
            <a:endParaRPr lang="en-GB" dirty="0"/>
          </a:p>
        </p:txBody>
      </p:sp>
    </p:spTree>
    <p:extLst>
      <p:ext uri="{BB962C8B-B14F-4D97-AF65-F5344CB8AC3E}">
        <p14:creationId xmlns:p14="http://schemas.microsoft.com/office/powerpoint/2010/main" val="1657623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iterate type="lt">
                                    <p:tmPct val="10000"/>
                                  </p:iterate>
                                  <p:childTnLst>
                                    <p:set>
                                      <p:cBhvr>
                                        <p:cTn id="6" dur="1" fill="hold">
                                          <p:stCondLst>
                                            <p:cond delay="0"/>
                                          </p:stCondLst>
                                        </p:cTn>
                                        <p:tgtEl>
                                          <p:spTgt spid="2"/>
                                        </p:tgtEl>
                                        <p:attrNameLst>
                                          <p:attrName>style.visibility</p:attrName>
                                        </p:attrNameLst>
                                      </p:cBhvr>
                                      <p:to>
                                        <p:strVal val="visible"/>
                                      </p:to>
                                    </p:set>
                                    <p:anim calcmode="lin" valueType="num">
                                      <p:cBhvr>
                                        <p:cTn id="7" dur="400" fill="hold"/>
                                        <p:tgtEl>
                                          <p:spTgt spid="2"/>
                                        </p:tgtEl>
                                        <p:attrNameLst>
                                          <p:attrName>ppt_w</p:attrName>
                                        </p:attrNameLst>
                                      </p:cBhvr>
                                      <p:tavLst>
                                        <p:tav tm="0">
                                          <p:val>
                                            <p:strVal val="#ppt_w*0.70"/>
                                          </p:val>
                                        </p:tav>
                                        <p:tav tm="100000">
                                          <p:val>
                                            <p:strVal val="#ppt_w"/>
                                          </p:val>
                                        </p:tav>
                                      </p:tavLst>
                                    </p:anim>
                                    <p:anim calcmode="lin" valueType="num">
                                      <p:cBhvr>
                                        <p:cTn id="8" dur="400" fill="hold"/>
                                        <p:tgtEl>
                                          <p:spTgt spid="2"/>
                                        </p:tgtEl>
                                        <p:attrNameLst>
                                          <p:attrName>ppt_h</p:attrName>
                                        </p:attrNameLst>
                                      </p:cBhvr>
                                      <p:tavLst>
                                        <p:tav tm="0">
                                          <p:val>
                                            <p:strVal val="#ppt_h"/>
                                          </p:val>
                                        </p:tav>
                                        <p:tav tm="100000">
                                          <p:val>
                                            <p:strVal val="#ppt_h"/>
                                          </p:val>
                                        </p:tav>
                                      </p:tavLst>
                                    </p:anim>
                                    <p:animEffect transition="in" filter="fade">
                                      <p:cBhvr>
                                        <p:cTn id="9" dur="400"/>
                                        <p:tgtEl>
                                          <p:spTgt spid="2"/>
                                        </p:tgtEl>
                                      </p:cBhvr>
                                    </p:animEffect>
                                  </p:childTnLst>
                                </p:cTn>
                              </p:par>
                              <p:par>
                                <p:cTn id="10" presetID="10" presetClass="entr" presetSubtype="0" fill="hold" grpId="0" nodeType="withEffect">
                                  <p:stCondLst>
                                    <p:cond delay="5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750"/>
                                        <p:tgtEl>
                                          <p:spTgt spid="6"/>
                                        </p:tgtEl>
                                      </p:cBhvr>
                                    </p:animEffect>
                                  </p:childTnLst>
                                </p:cTn>
                              </p:par>
                              <p:par>
                                <p:cTn id="13" presetID="10" presetClass="entr" presetSubtype="0" fill="hold" grpId="0" nodeType="withEffect">
                                  <p:stCondLst>
                                    <p:cond delay="75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750"/>
                                        <p:tgtEl>
                                          <p:spTgt spid="7"/>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750"/>
                                        <p:tgtEl>
                                          <p:spTgt spid="5"/>
                                        </p:tgtEl>
                                      </p:cBhvr>
                                    </p:animEffect>
                                  </p:childTnLst>
                                </p:cTn>
                              </p:par>
                              <p:par>
                                <p:cTn id="19" presetID="10" presetClass="entr" presetSubtype="0" fill="hold" grpId="0" nodeType="withEffect">
                                  <p:stCondLst>
                                    <p:cond delay="125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750"/>
                                        <p:tgtEl>
                                          <p:spTgt spid="9"/>
                                        </p:tgtEl>
                                      </p:cBhvr>
                                    </p:animEffect>
                                  </p:childTnLst>
                                </p:cTn>
                              </p:par>
                              <p:par>
                                <p:cTn id="22" presetID="2" presetClass="entr" presetSubtype="4" decel="100000" fill="hold" nodeType="withEffect">
                                  <p:stCondLst>
                                    <p:cond delay="1500"/>
                                  </p:stCondLst>
                                  <p:childTnLst>
                                    <p:set>
                                      <p:cBhvr>
                                        <p:cTn id="23" dur="1" fill="hold">
                                          <p:stCondLst>
                                            <p:cond delay="0"/>
                                          </p:stCondLst>
                                        </p:cTn>
                                        <p:tgtEl>
                                          <p:spTgt spid="47"/>
                                        </p:tgtEl>
                                        <p:attrNameLst>
                                          <p:attrName>style.visibility</p:attrName>
                                        </p:attrNameLst>
                                      </p:cBhvr>
                                      <p:to>
                                        <p:strVal val="visible"/>
                                      </p:to>
                                    </p:set>
                                    <p:anim calcmode="lin" valueType="num">
                                      <p:cBhvr additive="base">
                                        <p:cTn id="24" dur="750" fill="hold"/>
                                        <p:tgtEl>
                                          <p:spTgt spid="47"/>
                                        </p:tgtEl>
                                        <p:attrNameLst>
                                          <p:attrName>ppt_x</p:attrName>
                                        </p:attrNameLst>
                                      </p:cBhvr>
                                      <p:tavLst>
                                        <p:tav tm="0">
                                          <p:val>
                                            <p:strVal val="#ppt_x"/>
                                          </p:val>
                                        </p:tav>
                                        <p:tav tm="100000">
                                          <p:val>
                                            <p:strVal val="#ppt_x"/>
                                          </p:val>
                                        </p:tav>
                                      </p:tavLst>
                                    </p:anim>
                                    <p:anim calcmode="lin" valueType="num">
                                      <p:cBhvr additive="base">
                                        <p:cTn id="25" dur="750" fill="hold"/>
                                        <p:tgtEl>
                                          <p:spTgt spid="47"/>
                                        </p:tgtEl>
                                        <p:attrNameLst>
                                          <p:attrName>ppt_y</p:attrName>
                                        </p:attrNameLst>
                                      </p:cBhvr>
                                      <p:tavLst>
                                        <p:tav tm="0">
                                          <p:val>
                                            <p:strVal val="1+#ppt_h/2"/>
                                          </p:val>
                                        </p:tav>
                                        <p:tav tm="100000">
                                          <p:val>
                                            <p:strVal val="#ppt_y"/>
                                          </p:val>
                                        </p:tav>
                                      </p:tavLst>
                                    </p:anim>
                                  </p:childTnLst>
                                </p:cTn>
                              </p:par>
                              <p:par>
                                <p:cTn id="26" presetID="2" presetClass="entr" presetSubtype="2" decel="100000" fill="hold" grpId="0" nodeType="withEffect">
                                  <p:stCondLst>
                                    <p:cond delay="1750"/>
                                  </p:stCondLst>
                                  <p:childTnLst>
                                    <p:set>
                                      <p:cBhvr>
                                        <p:cTn id="27" dur="1" fill="hold">
                                          <p:stCondLst>
                                            <p:cond delay="0"/>
                                          </p:stCondLst>
                                        </p:cTn>
                                        <p:tgtEl>
                                          <p:spTgt spid="46"/>
                                        </p:tgtEl>
                                        <p:attrNameLst>
                                          <p:attrName>style.visibility</p:attrName>
                                        </p:attrNameLst>
                                      </p:cBhvr>
                                      <p:to>
                                        <p:strVal val="visible"/>
                                      </p:to>
                                    </p:set>
                                    <p:anim calcmode="lin" valueType="num">
                                      <p:cBhvr additive="base">
                                        <p:cTn id="28" dur="1000" fill="hold"/>
                                        <p:tgtEl>
                                          <p:spTgt spid="46"/>
                                        </p:tgtEl>
                                        <p:attrNameLst>
                                          <p:attrName>ppt_x</p:attrName>
                                        </p:attrNameLst>
                                      </p:cBhvr>
                                      <p:tavLst>
                                        <p:tav tm="0">
                                          <p:val>
                                            <p:strVal val="1+#ppt_w/2"/>
                                          </p:val>
                                        </p:tav>
                                        <p:tav tm="100000">
                                          <p:val>
                                            <p:strVal val="#ppt_x"/>
                                          </p:val>
                                        </p:tav>
                                      </p:tavLst>
                                    </p:anim>
                                    <p:anim calcmode="lin" valueType="num">
                                      <p:cBhvr additive="base">
                                        <p:cTn id="29" dur="1000" fill="hold"/>
                                        <p:tgtEl>
                                          <p:spTgt spid="46"/>
                                        </p:tgtEl>
                                        <p:attrNameLst>
                                          <p:attrName>ppt_y</p:attrName>
                                        </p:attrNameLst>
                                      </p:cBhvr>
                                      <p:tavLst>
                                        <p:tav tm="0">
                                          <p:val>
                                            <p:strVal val="#ppt_y"/>
                                          </p:val>
                                        </p:tav>
                                        <p:tav tm="100000">
                                          <p:val>
                                            <p:strVal val="#ppt_y"/>
                                          </p:val>
                                        </p:tav>
                                      </p:tavLst>
                                    </p:anim>
                                  </p:childTnLst>
                                </p:cTn>
                              </p:par>
                              <p:par>
                                <p:cTn id="30" presetID="10" presetClass="entr" presetSubtype="0" fill="hold" grpId="0" nodeType="withEffect">
                                  <p:stCondLst>
                                    <p:cond delay="2500"/>
                                  </p:stCondLst>
                                  <p:childTnLst>
                                    <p:set>
                                      <p:cBhvr>
                                        <p:cTn id="31" dur="1" fill="hold">
                                          <p:stCondLst>
                                            <p:cond delay="0"/>
                                          </p:stCondLst>
                                        </p:cTn>
                                        <p:tgtEl>
                                          <p:spTgt spid="4">
                                            <p:txEl>
                                              <p:pRg st="0" end="0"/>
                                            </p:txEl>
                                          </p:spTgt>
                                        </p:tgtEl>
                                        <p:attrNameLst>
                                          <p:attrName>style.visibility</p:attrName>
                                        </p:attrNameLst>
                                      </p:cBhvr>
                                      <p:to>
                                        <p:strVal val="visible"/>
                                      </p:to>
                                    </p:set>
                                    <p:animEffect transition="in" filter="fade">
                                      <p:cBhvr>
                                        <p:cTn id="32" dur="750"/>
                                        <p:tgtEl>
                                          <p:spTgt spid="4">
                                            <p:txEl>
                                              <p:pRg st="0" end="0"/>
                                            </p:txEl>
                                          </p:spTgt>
                                        </p:tgtEl>
                                      </p:cBhvr>
                                    </p:animEffect>
                                  </p:childTnLst>
                                </p:cTn>
                              </p:par>
                              <p:par>
                                <p:cTn id="33" presetID="10" presetClass="entr" presetSubtype="0" fill="hold" nodeType="withEffect">
                                  <p:stCondLst>
                                    <p:cond delay="275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750"/>
                                        <p:tgtEl>
                                          <p:spTgt spid="16"/>
                                        </p:tgtEl>
                                      </p:cBhvr>
                                    </p:animEffect>
                                  </p:childTnLst>
                                </p:cTn>
                              </p:par>
                              <p:par>
                                <p:cTn id="36" presetID="10" presetClass="entr" presetSubtype="0" fill="hold" nodeType="withEffect">
                                  <p:stCondLst>
                                    <p:cond delay="300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7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2" grpId="0">
        <p:tmplLst>
          <p:tmpl>
            <p:tnLst>
              <p:par>
                <p:cTn presetID="55" presetClass="entr" presetSubtype="0" fill="hold" nodeType="withEffect">
                  <p:stCondLst>
                    <p:cond delay="0"/>
                  </p:stCondLst>
                  <p:iterate type="lt">
                    <p:tmPct val="10000"/>
                  </p:iterate>
                  <p:childTnLst>
                    <p:set>
                      <p:cBhvr>
                        <p:cTn dur="1" fill="hold">
                          <p:stCondLst>
                            <p:cond delay="0"/>
                          </p:stCondLst>
                        </p:cTn>
                        <p:tgtEl>
                          <p:spTgt spid="2"/>
                        </p:tgtEl>
                        <p:attrNameLst>
                          <p:attrName>style.visibility</p:attrName>
                        </p:attrNameLst>
                      </p:cBhvr>
                      <p:to>
                        <p:strVal val="visible"/>
                      </p:to>
                    </p:set>
                    <p:anim calcmode="lin" valueType="num">
                      <p:cBhvr>
                        <p:cTn dur="400" fill="hold"/>
                        <p:tgtEl>
                          <p:spTgt spid="2"/>
                        </p:tgtEl>
                        <p:attrNameLst>
                          <p:attrName>ppt_w</p:attrName>
                        </p:attrNameLst>
                      </p:cBhvr>
                      <p:tavLst>
                        <p:tav tm="0">
                          <p:val>
                            <p:strVal val="#ppt_w*0.70"/>
                          </p:val>
                        </p:tav>
                        <p:tav tm="100000">
                          <p:val>
                            <p:strVal val="#ppt_w"/>
                          </p:val>
                        </p:tav>
                      </p:tavLst>
                    </p:anim>
                    <p:anim calcmode="lin" valueType="num">
                      <p:cBhvr>
                        <p:cTn dur="400" fill="hold"/>
                        <p:tgtEl>
                          <p:spTgt spid="2"/>
                        </p:tgtEl>
                        <p:attrNameLst>
                          <p:attrName>ppt_h</p:attrName>
                        </p:attrNameLst>
                      </p:cBhvr>
                      <p:tavLst>
                        <p:tav tm="0">
                          <p:val>
                            <p:strVal val="#ppt_h"/>
                          </p:val>
                        </p:tav>
                        <p:tav tm="100000">
                          <p:val>
                            <p:strVal val="#ppt_h"/>
                          </p:val>
                        </p:tav>
                      </p:tavLst>
                    </p:anim>
                    <p:animEffect transition="in" filter="fade">
                      <p:cBhvr>
                        <p:cTn dur="400"/>
                        <p:tgtEl>
                          <p:spTgt spid="2"/>
                        </p:tgtEl>
                      </p:cBhvr>
                    </p:animEffect>
                  </p:childTnLst>
                </p:cTn>
              </p:par>
            </p:tnLst>
          </p:tmpl>
        </p:tmplLst>
      </p:bldP>
      <p:bldP spid="4" grpId="0" build="p">
        <p:tmplLst>
          <p:tmpl lvl="1">
            <p:tnLst>
              <p:par>
                <p:cTn presetID="10" presetClass="entr" presetSubtype="0" fill="hold" nodeType="withEffect">
                  <p:stCondLst>
                    <p:cond delay="250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5" grpId="0">
        <p:tmplLst>
          <p:tmpl>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9" grpId="0">
        <p:tmplLst>
          <p:tmpl>
            <p:tnLst>
              <p:par>
                <p:cTn presetID="10" presetClass="entr" presetSubtype="0" fill="hold" nodeType="withEffect">
                  <p:stCondLst>
                    <p:cond delay="125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P spid="6" grpId="0">
        <p:tmplLst>
          <p:tmpl>
            <p:tnLst>
              <p:par>
                <p:cTn presetID="10" presetClass="entr" presetSubtype="0" fill="hold" nodeType="withEffect">
                  <p:stCondLst>
                    <p:cond delay="500"/>
                  </p:stCondLst>
                  <p:childTnLst>
                    <p:set>
                      <p:cBhvr>
                        <p:cTn dur="1" fill="hold">
                          <p:stCondLst>
                            <p:cond delay="0"/>
                          </p:stCondLst>
                        </p:cTn>
                        <p:tgtEl>
                          <p:spTgt spid="6"/>
                        </p:tgtEl>
                        <p:attrNameLst>
                          <p:attrName>style.visibility</p:attrName>
                        </p:attrNameLst>
                      </p:cBhvr>
                      <p:to>
                        <p:strVal val="visible"/>
                      </p:to>
                    </p:set>
                    <p:animEffect transition="in" filter="fade">
                      <p:cBhvr>
                        <p:cTn dur="750"/>
                        <p:tgtEl>
                          <p:spTgt spid="6"/>
                        </p:tgtEl>
                      </p:cBhvr>
                    </p:animEffect>
                  </p:childTnLst>
                </p:cTn>
              </p:par>
            </p:tnLst>
          </p:tmpl>
        </p:tmplLst>
      </p:bldP>
      <p:bldP spid="7" grpId="0">
        <p:tmplLst>
          <p:tmpl>
            <p:tnLst>
              <p:par>
                <p:cTn presetID="10" presetClass="entr" presetSubtype="0" fill="hold" nodeType="withEffect">
                  <p:stCondLst>
                    <p:cond delay="750"/>
                  </p:stCondLst>
                  <p:childTnLst>
                    <p:set>
                      <p:cBhvr>
                        <p:cTn dur="1" fill="hold">
                          <p:stCondLst>
                            <p:cond delay="0"/>
                          </p:stCondLst>
                        </p:cTn>
                        <p:tgtEl>
                          <p:spTgt spid="7"/>
                        </p:tgtEl>
                        <p:attrNameLst>
                          <p:attrName>style.visibility</p:attrName>
                        </p:attrNameLst>
                      </p:cBhvr>
                      <p:to>
                        <p:strVal val="visible"/>
                      </p:to>
                    </p:set>
                    <p:animEffect transition="in" filter="fade">
                      <p:cBhvr>
                        <p:cTn dur="750"/>
                        <p:tgtEl>
                          <p:spTgt spid="7"/>
                        </p:tgtEl>
                      </p:cBhvr>
                    </p:animEffect>
                  </p:childTnLst>
                </p:cTn>
              </p:par>
            </p:tnLst>
          </p:tmpl>
        </p:tmplLst>
      </p:bldP>
    </p:bldLst>
  </p:timing>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Ripple Left">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id="{240D5921-FD2C-1B1F-1965-9B2EA10E80F6}"/>
              </a:ext>
            </a:extLst>
          </p:cNvPr>
          <p:cNvSpPr/>
          <p:nvPr userDrawn="1"/>
        </p:nvSpPr>
        <p:spPr>
          <a:xfrm>
            <a:off x="-3526153"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47DA86"/>
          </a:solidFill>
          <a:ln w="6350" cap="flat">
            <a:noFill/>
            <a:prstDash val="solid"/>
            <a:miter/>
          </a:ln>
        </p:spPr>
        <p:txBody>
          <a:bodyPr rtlCol="0" anchor="ctr"/>
          <a:lstStyle/>
          <a:p>
            <a:endParaRPr lang="en-GB" dirty="0"/>
          </a:p>
        </p:txBody>
      </p:sp>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5076496" y="1301534"/>
            <a:ext cx="6456691" cy="1792121"/>
          </a:xfrm>
        </p:spPr>
        <p:txBody>
          <a:bodyPr anchor="b" anchorCtr="0">
            <a:normAutofit/>
          </a:bodyPr>
          <a:lstStyle>
            <a:lvl1pPr marL="0" indent="0">
              <a:lnSpc>
                <a:spcPct val="100000"/>
              </a:lnSpc>
              <a:spcBef>
                <a:spcPts val="0"/>
              </a:spcBef>
              <a:buNone/>
              <a:defRPr sz="6500" b="1">
                <a:latin typeface="+mj-lt"/>
              </a:defRPr>
            </a:lvl1pPr>
          </a:lstStyle>
          <a:p>
            <a:pPr lvl="0"/>
            <a:r>
              <a:rPr lang="en-GB" dirty="0"/>
              <a:t>A captivating headline</a:t>
            </a:r>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5076496" y="3336417"/>
            <a:ext cx="6456692" cy="2469072"/>
          </a:xfrm>
        </p:spPr>
        <p:txBody>
          <a:bodyPr>
            <a:noAutofit/>
          </a:bodyPr>
          <a:lstStyle>
            <a:lvl1pPr marL="0" indent="0">
              <a:buNone/>
              <a:defRPr sz="1400" b="0"/>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10" name="Slide Number Placeholder 9">
            <a:extLst>
              <a:ext uri="{FF2B5EF4-FFF2-40B4-BE49-F238E27FC236}">
                <a16:creationId xmlns:a16="http://schemas.microsoft.com/office/drawing/2014/main" id="{6CBA512E-95CE-E3D0-1165-112A0F3F6CAE}"/>
              </a:ext>
            </a:extLst>
          </p:cNvPr>
          <p:cNvSpPr>
            <a:spLocks noGrp="1"/>
          </p:cNvSpPr>
          <p:nvPr>
            <p:ph type="sldNum" sz="quarter" idx="18"/>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196854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ent Main (White)">
    <p:spTree>
      <p:nvGrpSpPr>
        <p:cNvPr id="1" name=""/>
        <p:cNvGrpSpPr/>
        <p:nvPr/>
      </p:nvGrpSpPr>
      <p:grpSpPr>
        <a:xfrm>
          <a:off x="0" y="0"/>
          <a:ext cx="0" cy="0"/>
          <a:chOff x="0" y="0"/>
          <a:chExt cx="0" cy="0"/>
        </a:xfrm>
      </p:grpSpPr>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674159" y="1834335"/>
            <a:ext cx="5097991" cy="4474390"/>
          </a:xfrm>
          <a:prstGeom prst="rect">
            <a:avLst/>
          </a:prstGeom>
        </p:spPr>
        <p:txBody>
          <a:bodyPr>
            <a:noAutofit/>
          </a:bodyPr>
          <a:lstStyle>
            <a:lvl1pPr marL="0" indent="0">
              <a:buNone/>
              <a:defRPr sz="1400" b="0">
                <a:solidFill>
                  <a:srgbClr val="00625F"/>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a:p>
            <a:pPr lvl="0"/>
            <a:r>
              <a:rPr lang="en-GB"/>
              <a:t>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endParaRPr lang="en-NL"/>
          </a:p>
        </p:txBody>
      </p:sp>
      <p:sp>
        <p:nvSpPr>
          <p:cNvPr id="3" name="Graphic 2">
            <a:extLst>
              <a:ext uri="{FF2B5EF4-FFF2-40B4-BE49-F238E27FC236}">
                <a16:creationId xmlns:a16="http://schemas.microsoft.com/office/drawing/2014/main" id="{5F4B0347-93D9-E22D-6C77-36F892FCA643}"/>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00625F"/>
          </a:solidFill>
          <a:ln w="6350" cap="flat">
            <a:noFill/>
            <a:prstDash val="solid"/>
            <a:miter/>
          </a:ln>
        </p:spPr>
        <p:txBody>
          <a:bodyPr rtlCol="0" anchor="ctr"/>
          <a:lstStyle/>
          <a:p>
            <a:endParaRPr lang="en-NL"/>
          </a:p>
        </p:txBody>
      </p:sp>
      <p:sp>
        <p:nvSpPr>
          <p:cNvPr id="10" name="Text Placeholder 9">
            <a:extLst>
              <a:ext uri="{FF2B5EF4-FFF2-40B4-BE49-F238E27FC236}">
                <a16:creationId xmlns:a16="http://schemas.microsoft.com/office/drawing/2014/main" id="{F865479B-4854-AF39-B9FB-ED1CC2C6FC47}"/>
              </a:ext>
            </a:extLst>
          </p:cNvPr>
          <p:cNvSpPr>
            <a:spLocks noGrp="1"/>
          </p:cNvSpPr>
          <p:nvPr>
            <p:ph type="body" sz="quarter" idx="18" hasCustomPrompt="1"/>
          </p:nvPr>
        </p:nvSpPr>
        <p:spPr>
          <a:xfrm>
            <a:off x="674159" y="1168709"/>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a:t>Subheading goes here</a:t>
            </a:r>
            <a:endParaRPr lang="en-US"/>
          </a:p>
        </p:txBody>
      </p:sp>
      <p:sp>
        <p:nvSpPr>
          <p:cNvPr id="12" name="Text Placeholder 11">
            <a:extLst>
              <a:ext uri="{FF2B5EF4-FFF2-40B4-BE49-F238E27FC236}">
                <a16:creationId xmlns:a16="http://schemas.microsoft.com/office/drawing/2014/main" id="{1B152CED-AC0C-A42F-8D63-98D6B0437716}"/>
              </a:ext>
            </a:extLst>
          </p:cNvPr>
          <p:cNvSpPr>
            <a:spLocks noGrp="1"/>
          </p:cNvSpPr>
          <p:nvPr>
            <p:ph type="body" sz="quarter" idx="19" hasCustomPrompt="1"/>
          </p:nvPr>
        </p:nvSpPr>
        <p:spPr>
          <a:xfrm>
            <a:off x="6435196" y="1834335"/>
            <a:ext cx="5097991" cy="4474389"/>
          </a:xfrm>
          <a:prstGeom prst="rect">
            <a:avLst/>
          </a:prstGeom>
        </p:spPr>
        <p:txBody>
          <a:bodyPr>
            <a:noAutofit/>
          </a:bodyPr>
          <a:lstStyle>
            <a:lvl1pPr marL="0" indent="0">
              <a:buNone/>
              <a:defRPr sz="1400" b="0">
                <a:solidFill>
                  <a:srgbClr val="00625F"/>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a:p>
            <a:pPr lvl="0"/>
            <a:r>
              <a:rPr lang="en-GB"/>
              <a:t>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endParaRPr lang="en-NL"/>
          </a:p>
        </p:txBody>
      </p:sp>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NL" smtClean="0"/>
              <a:pPr/>
              <a:t>‹#›</a:t>
            </a:fld>
            <a:endParaRPr lang="en-NL"/>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p>
            <a:r>
              <a:rPr lang="en-GB"/>
              <a:t>Regular heading goes here</a:t>
            </a:r>
            <a:endParaRPr lang="en-US"/>
          </a:p>
        </p:txBody>
      </p:sp>
    </p:spTree>
    <p:extLst>
      <p:ext uri="{BB962C8B-B14F-4D97-AF65-F5344CB8AC3E}">
        <p14:creationId xmlns:p14="http://schemas.microsoft.com/office/powerpoint/2010/main" val="7409013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ent Ripple Right (White)">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id="{240D5921-FD2C-1B1F-1965-9B2EA10E80F6}"/>
              </a:ext>
            </a:extLst>
          </p:cNvPr>
          <p:cNvSpPr/>
          <p:nvPr userDrawn="1"/>
        </p:nvSpPr>
        <p:spPr>
          <a:xfrm>
            <a:off x="7594280"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47DA86"/>
          </a:solidFill>
          <a:ln w="6350" cap="flat">
            <a:noFill/>
            <a:prstDash val="solid"/>
            <a:miter/>
          </a:ln>
        </p:spPr>
        <p:txBody>
          <a:bodyPr rtlCol="0" anchor="ctr"/>
          <a:lstStyle/>
          <a:p>
            <a:endParaRPr lang="en-NL"/>
          </a:p>
        </p:txBody>
      </p:sp>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658813" y="549275"/>
            <a:ext cx="6456691" cy="2544379"/>
          </a:xfrm>
          <a:prstGeom prst="rect">
            <a:avLst/>
          </a:prstGeom>
        </p:spPr>
        <p:txBody>
          <a:bodyPr anchor="b" anchorCtr="0">
            <a:normAutofit/>
          </a:bodyPr>
          <a:lstStyle>
            <a:lvl1pPr marL="0" indent="0">
              <a:lnSpc>
                <a:spcPct val="100000"/>
              </a:lnSpc>
              <a:spcBef>
                <a:spcPts val="0"/>
              </a:spcBef>
              <a:buNone/>
              <a:defRPr sz="6500" b="1">
                <a:solidFill>
                  <a:srgbClr val="00625F"/>
                </a:solidFill>
              </a:defRPr>
            </a:lvl1pPr>
          </a:lstStyle>
          <a:p>
            <a:pPr lvl="0"/>
            <a:r>
              <a:rPr lang="en-GB"/>
              <a:t>A captivating headline</a:t>
            </a:r>
            <a:endParaRPr lang="en-NL"/>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658812" y="3336415"/>
            <a:ext cx="6456691" cy="2972310"/>
          </a:xfrm>
          <a:prstGeom prst="rect">
            <a:avLst/>
          </a:prstGeom>
        </p:spPr>
        <p:txBody>
          <a:bodyPr>
            <a:noAutofit/>
          </a:bodyPr>
          <a:lstStyle>
            <a:lvl1pPr marL="0" indent="0">
              <a:buNone/>
              <a:defRPr sz="1400" b="0">
                <a:solidFill>
                  <a:srgbClr val="00625F"/>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endParaRPr lang="en-NL"/>
          </a:p>
        </p:txBody>
      </p:sp>
      <p:sp>
        <p:nvSpPr>
          <p:cNvPr id="9" name="Slide Number Placeholder 8">
            <a:extLst>
              <a:ext uri="{FF2B5EF4-FFF2-40B4-BE49-F238E27FC236}">
                <a16:creationId xmlns:a16="http://schemas.microsoft.com/office/drawing/2014/main" id="{F0B64AC3-B172-225E-8183-2CA74D21EC95}"/>
              </a:ext>
            </a:extLst>
          </p:cNvPr>
          <p:cNvSpPr>
            <a:spLocks noGrp="1"/>
          </p:cNvSpPr>
          <p:nvPr>
            <p:ph type="sldNum" sz="quarter" idx="18"/>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272444596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ent Ripple Left (White)">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5076496" y="549275"/>
            <a:ext cx="6456691" cy="2544379"/>
          </a:xfrm>
          <a:prstGeom prst="rect">
            <a:avLst/>
          </a:prstGeom>
        </p:spPr>
        <p:txBody>
          <a:bodyPr anchor="b" anchorCtr="0">
            <a:normAutofit/>
          </a:bodyPr>
          <a:lstStyle>
            <a:lvl1pPr marL="0" indent="0">
              <a:lnSpc>
                <a:spcPct val="100000"/>
              </a:lnSpc>
              <a:spcBef>
                <a:spcPts val="0"/>
              </a:spcBef>
              <a:buNone/>
              <a:defRPr sz="6500" b="1">
                <a:solidFill>
                  <a:srgbClr val="00625F"/>
                </a:solidFill>
              </a:defRPr>
            </a:lvl1pPr>
          </a:lstStyle>
          <a:p>
            <a:pPr lvl="0"/>
            <a:r>
              <a:rPr lang="en-GB"/>
              <a:t>A captivating headline</a:t>
            </a:r>
            <a:endParaRPr lang="en-NL"/>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5076495" y="3344507"/>
            <a:ext cx="6456693" cy="2964218"/>
          </a:xfrm>
          <a:prstGeom prst="rect">
            <a:avLst/>
          </a:prstGeom>
        </p:spPr>
        <p:txBody>
          <a:bodyPr>
            <a:noAutofit/>
          </a:bodyPr>
          <a:lstStyle>
            <a:lvl1pPr marL="0" indent="0">
              <a:buNone/>
              <a:defRPr sz="1400" b="0">
                <a:solidFill>
                  <a:srgbClr val="00625F"/>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endParaRPr lang="en-NL"/>
          </a:p>
        </p:txBody>
      </p:sp>
      <p:sp>
        <p:nvSpPr>
          <p:cNvPr id="2" name="Graphic 2">
            <a:extLst>
              <a:ext uri="{FF2B5EF4-FFF2-40B4-BE49-F238E27FC236}">
                <a16:creationId xmlns:a16="http://schemas.microsoft.com/office/drawing/2014/main" id="{29BBB147-539D-C22A-2D6B-0E01233A8860}"/>
              </a:ext>
            </a:extLst>
          </p:cNvPr>
          <p:cNvSpPr/>
          <p:nvPr userDrawn="1"/>
        </p:nvSpPr>
        <p:spPr>
          <a:xfrm>
            <a:off x="-3526153"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47DA86"/>
          </a:solidFill>
          <a:ln w="6350" cap="flat">
            <a:noFill/>
            <a:prstDash val="solid"/>
            <a:miter/>
          </a:ln>
        </p:spPr>
        <p:txBody>
          <a:bodyPr rtlCol="0" anchor="ctr"/>
          <a:lstStyle/>
          <a:p>
            <a:endParaRPr lang="en-NL"/>
          </a:p>
        </p:txBody>
      </p:sp>
      <p:sp>
        <p:nvSpPr>
          <p:cNvPr id="9" name="Graphic 2">
            <a:extLst>
              <a:ext uri="{FF2B5EF4-FFF2-40B4-BE49-F238E27FC236}">
                <a16:creationId xmlns:a16="http://schemas.microsoft.com/office/drawing/2014/main" id="{B08E11D3-A770-1B02-CF5B-E45D05A65D62}"/>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00625F"/>
          </a:solidFill>
          <a:ln w="6350" cap="flat">
            <a:noFill/>
            <a:prstDash val="solid"/>
            <a:miter/>
          </a:ln>
        </p:spPr>
        <p:txBody>
          <a:bodyPr rtlCol="0" anchor="ctr"/>
          <a:lstStyle/>
          <a:p>
            <a:endParaRPr lang="en-NL"/>
          </a:p>
        </p:txBody>
      </p:sp>
      <p:sp>
        <p:nvSpPr>
          <p:cNvPr id="10" name="Slide Number Placeholder 9">
            <a:extLst>
              <a:ext uri="{FF2B5EF4-FFF2-40B4-BE49-F238E27FC236}">
                <a16:creationId xmlns:a16="http://schemas.microsoft.com/office/drawing/2014/main" id="{ECDB104C-CD58-B53E-A4FC-1E3DE5A83378}"/>
              </a:ext>
            </a:extLst>
          </p:cNvPr>
          <p:cNvSpPr>
            <a:spLocks noGrp="1"/>
          </p:cNvSpPr>
          <p:nvPr>
            <p:ph type="sldNum" sz="quarter" idx="18"/>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46985492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ent Left Image (White)">
    <p:spTree>
      <p:nvGrpSpPr>
        <p:cNvPr id="1" name=""/>
        <p:cNvGrpSpPr/>
        <p:nvPr/>
      </p:nvGrpSpPr>
      <p:grpSpPr>
        <a:xfrm>
          <a:off x="0" y="0"/>
          <a:ext cx="0" cy="0"/>
          <a:chOff x="0" y="0"/>
          <a:chExt cx="0" cy="0"/>
        </a:xfrm>
      </p:grpSpPr>
      <p:sp>
        <p:nvSpPr>
          <p:cNvPr id="23" name="Text Placeholder 11">
            <a:extLst>
              <a:ext uri="{FF2B5EF4-FFF2-40B4-BE49-F238E27FC236}">
                <a16:creationId xmlns:a16="http://schemas.microsoft.com/office/drawing/2014/main" id="{0A4BC4EF-459A-7845-F619-515A9AFC49DB}"/>
              </a:ext>
            </a:extLst>
          </p:cNvPr>
          <p:cNvSpPr>
            <a:spLocks noGrp="1"/>
          </p:cNvSpPr>
          <p:nvPr>
            <p:ph type="body" sz="quarter" idx="17" hasCustomPrompt="1"/>
          </p:nvPr>
        </p:nvSpPr>
        <p:spPr>
          <a:xfrm>
            <a:off x="6421940" y="2842348"/>
            <a:ext cx="5111249" cy="3466377"/>
          </a:xfrm>
          <a:prstGeom prst="rect">
            <a:avLst/>
          </a:prstGeom>
        </p:spPr>
        <p:txBody>
          <a:bodyPr>
            <a:noAutofit/>
          </a:bodyPr>
          <a:lstStyle>
            <a:lvl1pPr marL="0" indent="0">
              <a:buNone/>
              <a:defRPr sz="1400" b="0">
                <a:solidFill>
                  <a:srgbClr val="00625F"/>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endParaRPr lang="en-NL"/>
          </a:p>
        </p:txBody>
      </p:sp>
      <p:sp>
        <p:nvSpPr>
          <p:cNvPr id="32" name="Text Placeholder 11">
            <a:extLst>
              <a:ext uri="{FF2B5EF4-FFF2-40B4-BE49-F238E27FC236}">
                <a16:creationId xmlns:a16="http://schemas.microsoft.com/office/drawing/2014/main" id="{1B2E71AF-560B-8492-C46B-152A4A3B96DE}"/>
              </a:ext>
            </a:extLst>
          </p:cNvPr>
          <p:cNvSpPr>
            <a:spLocks noGrp="1"/>
          </p:cNvSpPr>
          <p:nvPr>
            <p:ph type="body" sz="quarter" idx="18" hasCustomPrompt="1"/>
          </p:nvPr>
        </p:nvSpPr>
        <p:spPr>
          <a:xfrm>
            <a:off x="6419850" y="549275"/>
            <a:ext cx="5111249" cy="2100573"/>
          </a:xfrm>
          <a:prstGeom prst="rect">
            <a:avLst/>
          </a:prstGeom>
        </p:spPr>
        <p:txBody>
          <a:bodyPr anchor="b" anchorCtr="0">
            <a:noAutofit/>
          </a:bodyPr>
          <a:lstStyle>
            <a:lvl1pPr marL="0" indent="0">
              <a:buNone/>
              <a:defRPr sz="4000" b="1">
                <a:solidFill>
                  <a:srgbClr val="00625F"/>
                </a:solidFill>
              </a:defRPr>
            </a:lvl1pPr>
          </a:lstStyle>
          <a:p>
            <a:pPr lvl="0"/>
            <a:r>
              <a:rPr lang="en-GB"/>
              <a:t>A captivating headline</a:t>
            </a:r>
            <a:endParaRPr lang="en-NL"/>
          </a:p>
        </p:txBody>
      </p:sp>
      <p:sp>
        <p:nvSpPr>
          <p:cNvPr id="4" name="Picture Placeholder 3">
            <a:extLst>
              <a:ext uri="{FF2B5EF4-FFF2-40B4-BE49-F238E27FC236}">
                <a16:creationId xmlns:a16="http://schemas.microsoft.com/office/drawing/2014/main" id="{24D1F134-0F9B-1C7C-FD4D-AA4E27BC0BF7}"/>
              </a:ext>
            </a:extLst>
          </p:cNvPr>
          <p:cNvSpPr>
            <a:spLocks noGrp="1"/>
          </p:cNvSpPr>
          <p:nvPr>
            <p:ph type="pic" sz="quarter" idx="19"/>
          </p:nvPr>
        </p:nvSpPr>
        <p:spPr>
          <a:xfrm>
            <a:off x="0" y="-1"/>
            <a:ext cx="5681120" cy="6860681"/>
          </a:xfrm>
          <a:custGeom>
            <a:avLst/>
            <a:gdLst>
              <a:gd name="connsiteX0" fmla="*/ 2401045 w 5681120"/>
              <a:gd name="connsiteY0" fmla="*/ 1 h 6860681"/>
              <a:gd name="connsiteX1" fmla="*/ 2801249 w 5681120"/>
              <a:gd name="connsiteY1" fmla="*/ 180595 h 6860681"/>
              <a:gd name="connsiteX2" fmla="*/ 4670917 w 5681120"/>
              <a:gd name="connsiteY2" fmla="*/ 2390776 h 6860681"/>
              <a:gd name="connsiteX3" fmla="*/ 4588491 w 5681120"/>
              <a:gd name="connsiteY3" fmla="*/ 5293107 h 6860681"/>
              <a:gd name="connsiteX4" fmla="*/ 3262051 w 5681120"/>
              <a:gd name="connsiteY4" fmla="*/ 6858001 h 6860681"/>
              <a:gd name="connsiteX5" fmla="*/ 3618408 w 5681120"/>
              <a:gd name="connsiteY5" fmla="*/ 6858001 h 6860681"/>
              <a:gd name="connsiteX6" fmla="*/ 5269351 w 5681120"/>
              <a:gd name="connsiteY6" fmla="*/ 3013902 h 6860681"/>
              <a:gd name="connsiteX7" fmla="*/ 3373222 w 5681120"/>
              <a:gd name="connsiteY7" fmla="*/ 154751 h 6860681"/>
              <a:gd name="connsiteX8" fmla="*/ 3087362 w 5681120"/>
              <a:gd name="connsiteY8" fmla="*/ 1 h 6860681"/>
              <a:gd name="connsiteX9" fmla="*/ 0 w 5681120"/>
              <a:gd name="connsiteY9" fmla="*/ 0 h 6860681"/>
              <a:gd name="connsiteX10" fmla="*/ 3888685 w 5681120"/>
              <a:gd name="connsiteY10" fmla="*/ 0 h 6860681"/>
              <a:gd name="connsiteX11" fmla="*/ 5437733 w 5681120"/>
              <a:gd name="connsiteY11" fmla="*/ 5161393 h 6860681"/>
              <a:gd name="connsiteX12" fmla="*/ 4096079 w 5681120"/>
              <a:gd name="connsiteY12" fmla="*/ 6860681 h 6860681"/>
              <a:gd name="connsiteX13" fmla="*/ 0 w 5681120"/>
              <a:gd name="connsiteY13" fmla="*/ 6860681 h 686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1120" h="6860681">
                <a:moveTo>
                  <a:pt x="2401045" y="1"/>
                </a:moveTo>
                <a:cubicBezTo>
                  <a:pt x="2536900" y="51563"/>
                  <a:pt x="2670470" y="111761"/>
                  <a:pt x="2801249" y="180595"/>
                </a:cubicBezTo>
                <a:cubicBezTo>
                  <a:pt x="3667521" y="635700"/>
                  <a:pt x="4330932" y="1420941"/>
                  <a:pt x="4670917" y="2390776"/>
                </a:cubicBezTo>
                <a:cubicBezTo>
                  <a:pt x="5011728" y="3362644"/>
                  <a:pt x="4982476" y="4393376"/>
                  <a:pt x="4588491" y="5293107"/>
                </a:cubicBezTo>
                <a:cubicBezTo>
                  <a:pt x="4303646" y="5943665"/>
                  <a:pt x="3845002" y="6480621"/>
                  <a:pt x="3262051" y="6858001"/>
                </a:cubicBezTo>
                <a:lnTo>
                  <a:pt x="3618408" y="6858001"/>
                </a:lnTo>
                <a:cubicBezTo>
                  <a:pt x="4810199" y="6005133"/>
                  <a:pt x="5490171" y="4511613"/>
                  <a:pt x="5269351" y="3013902"/>
                </a:cubicBezTo>
                <a:cubicBezTo>
                  <a:pt x="5097201" y="1810831"/>
                  <a:pt x="4406061" y="768669"/>
                  <a:pt x="3373222" y="154751"/>
                </a:cubicBezTo>
                <a:cubicBezTo>
                  <a:pt x="3279501" y="99125"/>
                  <a:pt x="3184129" y="47499"/>
                  <a:pt x="3087362" y="1"/>
                </a:cubicBezTo>
                <a:close/>
                <a:moveTo>
                  <a:pt x="0" y="0"/>
                </a:moveTo>
                <a:lnTo>
                  <a:pt x="3888685" y="0"/>
                </a:lnTo>
                <a:cubicBezTo>
                  <a:pt x="5541875" y="1030183"/>
                  <a:pt x="6033690" y="3349918"/>
                  <a:pt x="5437733" y="5161393"/>
                </a:cubicBezTo>
                <a:cubicBezTo>
                  <a:pt x="5188744" y="5932457"/>
                  <a:pt x="4704167" y="6494906"/>
                  <a:pt x="4096079" y="6860681"/>
                </a:cubicBezTo>
                <a:cubicBezTo>
                  <a:pt x="4096079" y="6860681"/>
                  <a:pt x="0" y="6860681"/>
                  <a:pt x="0" y="6860681"/>
                </a:cubicBezTo>
                <a:close/>
              </a:path>
            </a:pathLst>
          </a:custGeom>
        </p:spPr>
        <p:txBody>
          <a:bodyPr wrap="square" anchor="ctr">
            <a:noAutofit/>
          </a:bodyPr>
          <a:lstStyle>
            <a:lvl1pPr marL="0" indent="0" algn="ctr">
              <a:buNone/>
              <a:defRPr>
                <a:solidFill>
                  <a:srgbClr val="00625F"/>
                </a:solidFill>
              </a:defRPr>
            </a:lvl1pPr>
          </a:lstStyle>
          <a:p>
            <a:r>
              <a:rPr lang="en-US"/>
              <a:t>Click icon to add picture</a:t>
            </a:r>
          </a:p>
        </p:txBody>
      </p:sp>
      <p:sp>
        <p:nvSpPr>
          <p:cNvPr id="2" name="Slide Number Placeholder 1">
            <a:extLst>
              <a:ext uri="{FF2B5EF4-FFF2-40B4-BE49-F238E27FC236}">
                <a16:creationId xmlns:a16="http://schemas.microsoft.com/office/drawing/2014/main" id="{878DEAD0-851B-701E-F00F-E5C521AB6691}"/>
              </a:ext>
            </a:extLst>
          </p:cNvPr>
          <p:cNvSpPr>
            <a:spLocks noGrp="1"/>
          </p:cNvSpPr>
          <p:nvPr>
            <p:ph type="sldNum" sz="quarter" idx="20"/>
          </p:nvPr>
        </p:nvSpPr>
        <p:spPr/>
        <p:txBody>
          <a:bodyPr/>
          <a:lstStyle/>
          <a:p>
            <a:fld id="{0994303E-A424-9540-91A8-53B791C91E8F}" type="slidenum">
              <a:rPr lang="en-NL" smtClean="0"/>
              <a:pPr/>
              <a:t>‹#›</a:t>
            </a:fld>
            <a:endParaRPr lang="en-NL"/>
          </a:p>
        </p:txBody>
      </p:sp>
      <p:sp>
        <p:nvSpPr>
          <p:cNvPr id="5" name="Graphic 8">
            <a:extLst>
              <a:ext uri="{FF2B5EF4-FFF2-40B4-BE49-F238E27FC236}">
                <a16:creationId xmlns:a16="http://schemas.microsoft.com/office/drawing/2014/main" id="{6090EEAA-C762-8742-6743-DFD85CA10FA8}"/>
              </a:ext>
            </a:extLst>
          </p:cNvPr>
          <p:cNvSpPr>
            <a:spLocks noChangeAspect="1"/>
          </p:cNvSpPr>
          <p:nvPr userDrawn="1"/>
        </p:nvSpPr>
        <p:spPr>
          <a:xfrm flipH="1">
            <a:off x="2401046"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US"/>
          </a:p>
        </p:txBody>
      </p:sp>
      <p:sp>
        <p:nvSpPr>
          <p:cNvPr id="6" name="Graphic 2">
            <a:extLst>
              <a:ext uri="{FF2B5EF4-FFF2-40B4-BE49-F238E27FC236}">
                <a16:creationId xmlns:a16="http://schemas.microsoft.com/office/drawing/2014/main" id="{FE7BECA6-3574-7528-8A13-468F8030E6B6}"/>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00625F"/>
          </a:solidFill>
          <a:ln w="6350" cap="flat">
            <a:noFill/>
            <a:prstDash val="solid"/>
            <a:miter/>
          </a:ln>
        </p:spPr>
        <p:txBody>
          <a:bodyPr rtlCol="0" anchor="ctr"/>
          <a:lstStyle/>
          <a:p>
            <a:endParaRPr lang="en-NL"/>
          </a:p>
        </p:txBody>
      </p:sp>
    </p:spTree>
    <p:extLst>
      <p:ext uri="{BB962C8B-B14F-4D97-AF65-F5344CB8AC3E}">
        <p14:creationId xmlns:p14="http://schemas.microsoft.com/office/powerpoint/2010/main" val="305340296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ent Right Image (Whit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3" y="1215747"/>
            <a:ext cx="4769384" cy="1423941"/>
          </a:xfrm>
          <a:prstGeom prst="rect">
            <a:avLst/>
          </a:prstGeom>
        </p:spPr>
        <p:txBody>
          <a:bodyPr anchor="b" anchorCtr="0">
            <a:noAutofit/>
          </a:bodyPr>
          <a:lstStyle>
            <a:lvl1pPr marL="0" indent="0">
              <a:buNone/>
              <a:defRPr sz="4000" b="1">
                <a:solidFill>
                  <a:srgbClr val="00625F"/>
                </a:solidFill>
              </a:defRPr>
            </a:lvl1pPr>
          </a:lstStyle>
          <a:p>
            <a:pPr lvl="0"/>
            <a:r>
              <a:rPr lang="en-GB"/>
              <a:t>A captivating headline</a:t>
            </a:r>
            <a:endParaRPr lang="en-NL"/>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3" y="2832188"/>
            <a:ext cx="4769384" cy="3476537"/>
          </a:xfrm>
          <a:prstGeom prst="rect">
            <a:avLst/>
          </a:prstGeom>
        </p:spPr>
        <p:txBody>
          <a:bodyPr>
            <a:noAutofit/>
          </a:bodyPr>
          <a:lstStyle>
            <a:lvl1pPr marL="0" indent="0">
              <a:buNone/>
              <a:defRPr sz="1400" b="0">
                <a:solidFill>
                  <a:srgbClr val="00625F"/>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endParaRPr lang="en-NL"/>
          </a:p>
        </p:txBody>
      </p:sp>
      <p:sp>
        <p:nvSpPr>
          <p:cNvPr id="2" name="Picture Placeholder 1">
            <a:extLst>
              <a:ext uri="{FF2B5EF4-FFF2-40B4-BE49-F238E27FC236}">
                <a16:creationId xmlns:a16="http://schemas.microsoft.com/office/drawing/2014/main" id="{F4B548D2-5EBF-4A1A-1296-5A94525CA1C7}"/>
              </a:ext>
            </a:extLst>
          </p:cNvPr>
          <p:cNvSpPr>
            <a:spLocks noGrp="1"/>
          </p:cNvSpPr>
          <p:nvPr>
            <p:ph type="pic" sz="quarter" idx="18"/>
          </p:nvPr>
        </p:nvSpPr>
        <p:spPr>
          <a:xfrm>
            <a:off x="6873225" y="0"/>
            <a:ext cx="5318775" cy="6860682"/>
          </a:xfrm>
          <a:custGeom>
            <a:avLst/>
            <a:gdLst>
              <a:gd name="connsiteX0" fmla="*/ 1792436 w 5318775"/>
              <a:gd name="connsiteY0" fmla="*/ 0 h 6860682"/>
              <a:gd name="connsiteX1" fmla="*/ 5318775 w 5318775"/>
              <a:gd name="connsiteY1" fmla="*/ 0 h 6860682"/>
              <a:gd name="connsiteX2" fmla="*/ 5318775 w 5318775"/>
              <a:gd name="connsiteY2" fmla="*/ 6860682 h 6860682"/>
              <a:gd name="connsiteX3" fmla="*/ 1585041 w 5318775"/>
              <a:gd name="connsiteY3" fmla="*/ 6860682 h 6860682"/>
              <a:gd name="connsiteX4" fmla="*/ 243389 w 5318775"/>
              <a:gd name="connsiteY4" fmla="*/ 5161393 h 6860682"/>
              <a:gd name="connsiteX5" fmla="*/ 1792436 w 5318775"/>
              <a:gd name="connsiteY5" fmla="*/ 0 h 686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8775" h="6860682">
                <a:moveTo>
                  <a:pt x="1792436" y="0"/>
                </a:moveTo>
                <a:lnTo>
                  <a:pt x="5318775" y="0"/>
                </a:lnTo>
                <a:lnTo>
                  <a:pt x="5318775" y="6860682"/>
                </a:lnTo>
                <a:lnTo>
                  <a:pt x="1585041" y="6860682"/>
                </a:lnTo>
                <a:cubicBezTo>
                  <a:pt x="976954" y="6494907"/>
                  <a:pt x="492377" y="5932458"/>
                  <a:pt x="243389" y="5161393"/>
                </a:cubicBezTo>
                <a:cubicBezTo>
                  <a:pt x="-352570" y="3349919"/>
                  <a:pt x="139246" y="1030182"/>
                  <a:pt x="1792436" y="0"/>
                </a:cubicBezTo>
                <a:close/>
              </a:path>
            </a:pathLst>
          </a:custGeom>
        </p:spPr>
        <p:txBody>
          <a:bodyPr wrap="square" anchor="ctr">
            <a:noAutofit/>
          </a:bodyPr>
          <a:lstStyle>
            <a:lvl1pPr marL="0" indent="0" algn="ctr">
              <a:buNone/>
              <a:defRPr>
                <a:solidFill>
                  <a:srgbClr val="00625F"/>
                </a:solidFill>
              </a:defRPr>
            </a:lvl1pPr>
          </a:lstStyle>
          <a:p>
            <a:r>
              <a:rPr lang="en-US"/>
              <a:t>Click icon to add picture</a:t>
            </a:r>
          </a:p>
        </p:txBody>
      </p:sp>
      <p:sp>
        <p:nvSpPr>
          <p:cNvPr id="3" name="Graphic 8">
            <a:extLst>
              <a:ext uri="{FF2B5EF4-FFF2-40B4-BE49-F238E27FC236}">
                <a16:creationId xmlns:a16="http://schemas.microsoft.com/office/drawing/2014/main" id="{13C6ED88-473F-97CE-5D8A-37949B6269B5}"/>
              </a:ext>
            </a:extLst>
          </p:cNvPr>
          <p:cNvSpPr>
            <a:spLocks noChangeAspect="1"/>
          </p:cNvSpPr>
          <p:nvPr userDrawn="1"/>
        </p:nvSpPr>
        <p:spPr>
          <a:xfrm>
            <a:off x="6229995" y="0"/>
            <a:ext cx="1926945" cy="6459038"/>
          </a:xfrm>
          <a:custGeom>
            <a:avLst/>
            <a:gdLst>
              <a:gd name="connsiteX0" fmla="*/ 1215570 w 1926945"/>
              <a:gd name="connsiteY0" fmla="*/ 0 h 6459038"/>
              <a:gd name="connsiteX1" fmla="*/ 396914 w 1926945"/>
              <a:gd name="connsiteY1" fmla="*/ 5502156 h 6459038"/>
              <a:gd name="connsiteX2" fmla="*/ 420148 w 1926945"/>
              <a:gd name="connsiteY2" fmla="*/ 5558753 h 6459038"/>
              <a:gd name="connsiteX3" fmla="*/ 432155 w 1926945"/>
              <a:gd name="connsiteY3" fmla="*/ 5587377 h 6459038"/>
              <a:gd name="connsiteX4" fmla="*/ 440203 w 1926945"/>
              <a:gd name="connsiteY4" fmla="*/ 5596875 h 6459038"/>
              <a:gd name="connsiteX5" fmla="*/ 492837 w 1926945"/>
              <a:gd name="connsiteY5" fmla="*/ 5633436 h 6459038"/>
              <a:gd name="connsiteX6" fmla="*/ 525742 w 1926945"/>
              <a:gd name="connsiteY6" fmla="*/ 5640331 h 6459038"/>
              <a:gd name="connsiteX7" fmla="*/ 610242 w 1926945"/>
              <a:gd name="connsiteY7" fmla="*/ 5611577 h 6459038"/>
              <a:gd name="connsiteX8" fmla="*/ 639318 w 1926945"/>
              <a:gd name="connsiteY8" fmla="*/ 5481404 h 6459038"/>
              <a:gd name="connsiteX9" fmla="*/ 767042 w 1926945"/>
              <a:gd name="connsiteY9" fmla="*/ 1582249 h 6459038"/>
              <a:gd name="connsiteX10" fmla="*/ 1926945 w 1926945"/>
              <a:gd name="connsiteY10" fmla="*/ 0 h 6459038"/>
              <a:gd name="connsiteX11" fmla="*/ 1215570 w 1926945"/>
              <a:gd name="connsiteY11" fmla="*/ 0 h 6459038"/>
              <a:gd name="connsiteX12" fmla="*/ 1095504 w 1926945"/>
              <a:gd name="connsiteY12" fmla="*/ 6179501 h 6459038"/>
              <a:gd name="connsiteX13" fmla="*/ 732969 w 1926945"/>
              <a:gd name="connsiteY13" fmla="*/ 5966123 h 6459038"/>
              <a:gd name="connsiteX14" fmla="*/ 789433 w 1926945"/>
              <a:gd name="connsiteY14" fmla="*/ 6327759 h 6459038"/>
              <a:gd name="connsiteX15" fmla="*/ 1082524 w 1926945"/>
              <a:gd name="connsiteY15" fmla="*/ 6428073 h 6459038"/>
              <a:gd name="connsiteX16" fmla="*/ 1095504 w 1926945"/>
              <a:gd name="connsiteY16" fmla="*/ 6179501 h 645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6945" h="6459038">
                <a:moveTo>
                  <a:pt x="1215570" y="0"/>
                </a:moveTo>
                <a:cubicBezTo>
                  <a:pt x="2189" y="1519862"/>
                  <a:pt x="-364305" y="3650388"/>
                  <a:pt x="396914" y="5502156"/>
                </a:cubicBezTo>
                <a:cubicBezTo>
                  <a:pt x="404443" y="5521087"/>
                  <a:pt x="412295" y="5539888"/>
                  <a:pt x="420148" y="5558753"/>
                </a:cubicBezTo>
                <a:lnTo>
                  <a:pt x="432155" y="5587377"/>
                </a:lnTo>
                <a:lnTo>
                  <a:pt x="440203" y="5596875"/>
                </a:lnTo>
                <a:cubicBezTo>
                  <a:pt x="454351" y="5613594"/>
                  <a:pt x="472653" y="5626150"/>
                  <a:pt x="492837" y="5633436"/>
                </a:cubicBezTo>
                <a:cubicBezTo>
                  <a:pt x="503351" y="5637274"/>
                  <a:pt x="514449" y="5639615"/>
                  <a:pt x="525742" y="5640331"/>
                </a:cubicBezTo>
                <a:cubicBezTo>
                  <a:pt x="556959" y="5642413"/>
                  <a:pt x="587722" y="5631939"/>
                  <a:pt x="610242" y="5611577"/>
                </a:cubicBezTo>
                <a:cubicBezTo>
                  <a:pt x="645029" y="5579961"/>
                  <a:pt x="656711" y="5529674"/>
                  <a:pt x="639318" y="5481404"/>
                </a:cubicBezTo>
                <a:cubicBezTo>
                  <a:pt x="139194" y="4198730"/>
                  <a:pt x="184559" y="2814051"/>
                  <a:pt x="767042" y="1582249"/>
                </a:cubicBezTo>
                <a:cubicBezTo>
                  <a:pt x="1049489" y="985051"/>
                  <a:pt x="1443695" y="450566"/>
                  <a:pt x="1926945" y="0"/>
                </a:cubicBezTo>
                <a:lnTo>
                  <a:pt x="1215570" y="0"/>
                </a:lnTo>
                <a:close/>
                <a:moveTo>
                  <a:pt x="1095504" y="6179501"/>
                </a:moveTo>
                <a:cubicBezTo>
                  <a:pt x="1037093" y="6109372"/>
                  <a:pt x="782878" y="5942443"/>
                  <a:pt x="732969" y="5966123"/>
                </a:cubicBezTo>
                <a:cubicBezTo>
                  <a:pt x="682996" y="5989737"/>
                  <a:pt x="723688" y="6212483"/>
                  <a:pt x="789433" y="6327759"/>
                </a:cubicBezTo>
                <a:cubicBezTo>
                  <a:pt x="834733" y="6407125"/>
                  <a:pt x="984199" y="6512058"/>
                  <a:pt x="1082524" y="6428073"/>
                </a:cubicBezTo>
                <a:cubicBezTo>
                  <a:pt x="1180848" y="6344153"/>
                  <a:pt x="1153914" y="6249694"/>
                  <a:pt x="1095504" y="6179501"/>
                </a:cubicBezTo>
                <a:close/>
              </a:path>
            </a:pathLst>
          </a:custGeom>
          <a:solidFill>
            <a:srgbClr val="47D985"/>
          </a:solidFill>
          <a:ln w="6478" cap="flat">
            <a:noFill/>
            <a:prstDash val="solid"/>
            <a:miter/>
          </a:ln>
        </p:spPr>
        <p:txBody>
          <a:bodyPr rtlCol="0" anchor="ctr"/>
          <a:lstStyle/>
          <a:p>
            <a:endParaRPr lang="en-US"/>
          </a:p>
        </p:txBody>
      </p:sp>
      <p:sp>
        <p:nvSpPr>
          <p:cNvPr id="4" name="Graphic 2">
            <a:extLst>
              <a:ext uri="{FF2B5EF4-FFF2-40B4-BE49-F238E27FC236}">
                <a16:creationId xmlns:a16="http://schemas.microsoft.com/office/drawing/2014/main" id="{CDE21E4B-1432-D9A7-53E4-85842A5E0091}"/>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NL"/>
          </a:p>
        </p:txBody>
      </p:sp>
      <p:sp>
        <p:nvSpPr>
          <p:cNvPr id="6" name="Slide Number Placeholder 5">
            <a:extLst>
              <a:ext uri="{FF2B5EF4-FFF2-40B4-BE49-F238E27FC236}">
                <a16:creationId xmlns:a16="http://schemas.microsoft.com/office/drawing/2014/main" id="{01FC714D-3F96-E9D9-973F-82CD884B32D3}"/>
              </a:ext>
            </a:extLst>
          </p:cNvPr>
          <p:cNvSpPr>
            <a:spLocks noGrp="1"/>
          </p:cNvSpPr>
          <p:nvPr>
            <p:ph type="sldNum" sz="quarter" idx="19"/>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22947359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ent Basic, Large Header (White)">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658813" y="549276"/>
            <a:ext cx="6456691" cy="2188454"/>
          </a:xfrm>
          <a:prstGeom prst="rect">
            <a:avLst/>
          </a:prstGeom>
        </p:spPr>
        <p:txBody>
          <a:bodyPr anchor="b" anchorCtr="0">
            <a:normAutofit/>
          </a:bodyPr>
          <a:lstStyle>
            <a:lvl1pPr marL="0" indent="0">
              <a:lnSpc>
                <a:spcPct val="100000"/>
              </a:lnSpc>
              <a:spcBef>
                <a:spcPts val="0"/>
              </a:spcBef>
              <a:buNone/>
              <a:defRPr sz="6500" b="1">
                <a:solidFill>
                  <a:srgbClr val="00625F"/>
                </a:solidFill>
              </a:defRPr>
            </a:lvl1pPr>
          </a:lstStyle>
          <a:p>
            <a:pPr lvl="0"/>
            <a:r>
              <a:rPr lang="en-GB"/>
              <a:t>A captivating headline</a:t>
            </a:r>
            <a:endParaRPr lang="en-NL"/>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658813" y="3037011"/>
            <a:ext cx="5113337" cy="3271713"/>
          </a:xfrm>
          <a:prstGeom prst="rect">
            <a:avLst/>
          </a:prstGeom>
        </p:spPr>
        <p:txBody>
          <a:bodyPr>
            <a:noAutofit/>
          </a:bodyPr>
          <a:lstStyle>
            <a:lvl1pPr marL="0" indent="0">
              <a:buNone/>
              <a:defRPr sz="1400" b="0">
                <a:solidFill>
                  <a:srgbClr val="00625F"/>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endParaRPr lang="en-NL"/>
          </a:p>
        </p:txBody>
      </p:sp>
      <p:sp>
        <p:nvSpPr>
          <p:cNvPr id="2" name="Graphic 2">
            <a:extLst>
              <a:ext uri="{FF2B5EF4-FFF2-40B4-BE49-F238E27FC236}">
                <a16:creationId xmlns:a16="http://schemas.microsoft.com/office/drawing/2014/main" id="{96889594-AA0B-5995-16C4-CC22DA91364E}"/>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00625F"/>
          </a:solidFill>
          <a:ln w="6350" cap="flat">
            <a:noFill/>
            <a:prstDash val="solid"/>
            <a:miter/>
          </a:ln>
        </p:spPr>
        <p:txBody>
          <a:bodyPr rtlCol="0" anchor="ctr"/>
          <a:lstStyle/>
          <a:p>
            <a:endParaRPr lang="en-NL"/>
          </a:p>
        </p:txBody>
      </p:sp>
      <p:sp>
        <p:nvSpPr>
          <p:cNvPr id="3" name="Slide Number Placeholder 2">
            <a:extLst>
              <a:ext uri="{FF2B5EF4-FFF2-40B4-BE49-F238E27FC236}">
                <a16:creationId xmlns:a16="http://schemas.microsoft.com/office/drawing/2014/main" id="{16651DB9-E107-103C-3FC4-E329566CD2DF}"/>
              </a:ext>
            </a:extLst>
          </p:cNvPr>
          <p:cNvSpPr>
            <a:spLocks noGrp="1"/>
          </p:cNvSpPr>
          <p:nvPr>
            <p:ph type="sldNum" sz="quarter" idx="18"/>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195342923"/>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ent Pebble Image (Whit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2" y="551655"/>
            <a:ext cx="5113337" cy="2067714"/>
          </a:xfrm>
          <a:prstGeom prst="rect">
            <a:avLst/>
          </a:prstGeom>
        </p:spPr>
        <p:txBody>
          <a:bodyPr anchor="b" anchorCtr="0">
            <a:noAutofit/>
          </a:bodyPr>
          <a:lstStyle>
            <a:lvl1pPr marL="0" indent="0">
              <a:spcBef>
                <a:spcPts val="0"/>
              </a:spcBef>
              <a:buNone/>
              <a:defRPr sz="4000" b="1">
                <a:solidFill>
                  <a:schemeClr val="accent2"/>
                </a:solidFill>
              </a:defRPr>
            </a:lvl1pPr>
          </a:lstStyle>
          <a:p>
            <a:pPr lvl="0"/>
            <a:r>
              <a:rPr lang="en-GB"/>
              <a:t>A captivating headline</a:t>
            </a:r>
            <a:endParaRPr lang="en-NL"/>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2" y="2811868"/>
            <a:ext cx="5113337" cy="3494478"/>
          </a:xfrm>
          <a:prstGeom prst="rect">
            <a:avLst/>
          </a:prstGeom>
        </p:spPr>
        <p:txBody>
          <a:bodyPr>
            <a:noAutofit/>
          </a:bodyPr>
          <a:lstStyle>
            <a:lvl1pPr marL="0" indent="0">
              <a:buNone/>
              <a:defRPr sz="1400" b="0">
                <a:solidFill>
                  <a:srgbClr val="00625F"/>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endParaRPr lang="en-NL"/>
          </a:p>
        </p:txBody>
      </p:sp>
      <p:sp>
        <p:nvSpPr>
          <p:cNvPr id="5" name="Picture Placeholder 4">
            <a:extLst>
              <a:ext uri="{FF2B5EF4-FFF2-40B4-BE49-F238E27FC236}">
                <a16:creationId xmlns:a16="http://schemas.microsoft.com/office/drawing/2014/main" id="{A6D049BA-8763-7863-E7E0-8A31A9438750}"/>
              </a:ext>
            </a:extLst>
          </p:cNvPr>
          <p:cNvSpPr>
            <a:spLocks noGrp="1"/>
          </p:cNvSpPr>
          <p:nvPr>
            <p:ph type="pic" sz="quarter" idx="18"/>
          </p:nvPr>
        </p:nvSpPr>
        <p:spPr>
          <a:xfrm>
            <a:off x="6413557" y="1016789"/>
            <a:ext cx="5129758" cy="4824422"/>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2400">
                <a:solidFill>
                  <a:srgbClr val="00625F"/>
                </a:solidFill>
              </a:defRPr>
            </a:lvl1pPr>
          </a:lstStyle>
          <a:p>
            <a:r>
              <a:rPr lang="en-US"/>
              <a:t>Click icon to add picture</a:t>
            </a:r>
          </a:p>
        </p:txBody>
      </p:sp>
      <p:sp>
        <p:nvSpPr>
          <p:cNvPr id="3" name="Graphic 2">
            <a:extLst>
              <a:ext uri="{FF2B5EF4-FFF2-40B4-BE49-F238E27FC236}">
                <a16:creationId xmlns:a16="http://schemas.microsoft.com/office/drawing/2014/main" id="{476B7FD4-566B-5820-BF84-2CED8B397F59}"/>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00625F"/>
          </a:solidFill>
          <a:ln w="6350" cap="flat">
            <a:noFill/>
            <a:prstDash val="solid"/>
            <a:miter/>
          </a:ln>
        </p:spPr>
        <p:txBody>
          <a:bodyPr rtlCol="0" anchor="ctr"/>
          <a:lstStyle/>
          <a:p>
            <a:endParaRPr lang="en-NL"/>
          </a:p>
        </p:txBody>
      </p:sp>
      <p:sp>
        <p:nvSpPr>
          <p:cNvPr id="7" name="Slide Number Placeholder 6">
            <a:extLst>
              <a:ext uri="{FF2B5EF4-FFF2-40B4-BE49-F238E27FC236}">
                <a16:creationId xmlns:a16="http://schemas.microsoft.com/office/drawing/2014/main" id="{B3AD07E9-07ED-4708-7265-73129262E63A}"/>
              </a:ext>
            </a:extLst>
          </p:cNvPr>
          <p:cNvSpPr>
            <a:spLocks noGrp="1"/>
          </p:cNvSpPr>
          <p:nvPr>
            <p:ph type="sldNum" sz="quarter" idx="19"/>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3041302261"/>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Image List (Whit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3" y="3755424"/>
            <a:ext cx="3187973" cy="520092"/>
          </a:xfrm>
          <a:prstGeom prst="rect">
            <a:avLst/>
          </a:prstGeom>
        </p:spPr>
        <p:txBody>
          <a:bodyPr>
            <a:noAutofit/>
          </a:bodyPr>
          <a:lstStyle>
            <a:lvl1pPr marL="0" indent="0" algn="ctr">
              <a:spcBef>
                <a:spcPts val="0"/>
              </a:spcBef>
              <a:buNone/>
              <a:defRPr sz="2400" b="1">
                <a:solidFill>
                  <a:srgbClr val="47DA86"/>
                </a:solidFill>
              </a:defRPr>
            </a:lvl1pPr>
          </a:lstStyle>
          <a:p>
            <a:pPr lvl="0"/>
            <a:r>
              <a:rPr lang="en-GB"/>
              <a:t>Header 1</a:t>
            </a:r>
            <a:endParaRPr lang="en-NL"/>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3" y="4275516"/>
            <a:ext cx="3187973" cy="1634791"/>
          </a:xfrm>
          <a:prstGeom prst="rect">
            <a:avLst/>
          </a:prstGeom>
        </p:spPr>
        <p:txBody>
          <a:bodyPr>
            <a:noAutofit/>
          </a:bodyPr>
          <a:lstStyle>
            <a:lvl1pPr marL="0" indent="0" algn="ctr">
              <a:buNone/>
              <a:defRPr sz="1200" b="0">
                <a:solidFill>
                  <a:srgbClr val="00625F"/>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endParaRPr lang="en-NL"/>
          </a:p>
        </p:txBody>
      </p:sp>
      <p:sp>
        <p:nvSpPr>
          <p:cNvPr id="13" name="Text Placeholder 11">
            <a:extLst>
              <a:ext uri="{FF2B5EF4-FFF2-40B4-BE49-F238E27FC236}">
                <a16:creationId xmlns:a16="http://schemas.microsoft.com/office/drawing/2014/main" id="{1C0119C8-1D9A-0DFA-77E1-D96E4EC70820}"/>
              </a:ext>
            </a:extLst>
          </p:cNvPr>
          <p:cNvSpPr>
            <a:spLocks noGrp="1"/>
          </p:cNvSpPr>
          <p:nvPr>
            <p:ph type="body" sz="quarter" idx="19" hasCustomPrompt="1"/>
          </p:nvPr>
        </p:nvSpPr>
        <p:spPr>
          <a:xfrm>
            <a:off x="4500345" y="4275516"/>
            <a:ext cx="3187973" cy="1634791"/>
          </a:xfrm>
          <a:prstGeom prst="rect">
            <a:avLst/>
          </a:prstGeom>
        </p:spPr>
        <p:txBody>
          <a:bodyPr>
            <a:noAutofit/>
          </a:bodyPr>
          <a:lstStyle>
            <a:lvl1pPr marL="0" indent="0" algn="ctr">
              <a:buNone/>
              <a:defRPr sz="1200" b="0">
                <a:solidFill>
                  <a:srgbClr val="00625F"/>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endParaRPr lang="en-NL"/>
          </a:p>
        </p:txBody>
      </p:sp>
      <p:sp>
        <p:nvSpPr>
          <p:cNvPr id="14" name="Text Placeholder 11">
            <a:extLst>
              <a:ext uri="{FF2B5EF4-FFF2-40B4-BE49-F238E27FC236}">
                <a16:creationId xmlns:a16="http://schemas.microsoft.com/office/drawing/2014/main" id="{D2914D5C-66D1-2DD5-239D-D767E5AD9FB1}"/>
              </a:ext>
            </a:extLst>
          </p:cNvPr>
          <p:cNvSpPr>
            <a:spLocks noGrp="1"/>
          </p:cNvSpPr>
          <p:nvPr>
            <p:ph type="body" sz="quarter" idx="20" hasCustomPrompt="1"/>
          </p:nvPr>
        </p:nvSpPr>
        <p:spPr>
          <a:xfrm>
            <a:off x="8343546" y="4275516"/>
            <a:ext cx="3187973" cy="1634791"/>
          </a:xfrm>
          <a:prstGeom prst="rect">
            <a:avLst/>
          </a:prstGeom>
        </p:spPr>
        <p:txBody>
          <a:bodyPr>
            <a:noAutofit/>
          </a:bodyPr>
          <a:lstStyle>
            <a:lvl1pPr marL="0" indent="0" algn="ctr">
              <a:buNone/>
              <a:defRPr sz="1200" b="0">
                <a:solidFill>
                  <a:srgbClr val="00625F"/>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endParaRPr lang="en-NL"/>
          </a:p>
        </p:txBody>
      </p:sp>
      <p:sp>
        <p:nvSpPr>
          <p:cNvPr id="18" name="Picture Placeholder 17">
            <a:extLst>
              <a:ext uri="{FF2B5EF4-FFF2-40B4-BE49-F238E27FC236}">
                <a16:creationId xmlns:a16="http://schemas.microsoft.com/office/drawing/2014/main" id="{680FA60A-84B6-E342-F780-1771576770FF}"/>
              </a:ext>
            </a:extLst>
          </p:cNvPr>
          <p:cNvSpPr>
            <a:spLocks noGrp="1"/>
          </p:cNvSpPr>
          <p:nvPr>
            <p:ph type="pic" sz="quarter" idx="22"/>
          </p:nvPr>
        </p:nvSpPr>
        <p:spPr>
          <a:xfrm>
            <a:off x="778386"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tx1"/>
                </a:solidFill>
              </a:defRPr>
            </a:lvl1pPr>
          </a:lstStyle>
          <a:p>
            <a:pPr marL="0" marR="0" lvl="0" indent="0" algn="ctr" defTabSz="914400" rtl="0" eaLnBrk="1" fontAlgn="auto" latinLnBrk="0" hangingPunct="1">
              <a:lnSpc>
                <a:spcPct val="100000"/>
              </a:lnSpc>
              <a:spcBef>
                <a:spcPts val="1000"/>
              </a:spcBef>
              <a:spcAft>
                <a:spcPts val="1000"/>
              </a:spcAft>
              <a:buClr>
                <a:srgbClr val="47DA86"/>
              </a:buClr>
              <a:buSzTx/>
              <a:buFont typeface="Arial" panose="020B0604020202020204" pitchFamily="34" charset="0"/>
              <a:buNone/>
              <a:tabLst/>
              <a:defRPr/>
            </a:pPr>
            <a:r>
              <a:rPr lang="en-US"/>
              <a:t>Click icon to add picture</a:t>
            </a:r>
          </a:p>
        </p:txBody>
      </p:sp>
      <p:sp>
        <p:nvSpPr>
          <p:cNvPr id="19" name="Text Placeholder 11">
            <a:extLst>
              <a:ext uri="{FF2B5EF4-FFF2-40B4-BE49-F238E27FC236}">
                <a16:creationId xmlns:a16="http://schemas.microsoft.com/office/drawing/2014/main" id="{4CDAB5D0-7F86-EA91-AB9B-1A439E9373FC}"/>
              </a:ext>
            </a:extLst>
          </p:cNvPr>
          <p:cNvSpPr>
            <a:spLocks noGrp="1"/>
          </p:cNvSpPr>
          <p:nvPr>
            <p:ph type="body" sz="quarter" idx="23" hasCustomPrompt="1"/>
          </p:nvPr>
        </p:nvSpPr>
        <p:spPr>
          <a:xfrm>
            <a:off x="4500345" y="3755424"/>
            <a:ext cx="3187973" cy="520092"/>
          </a:xfrm>
          <a:prstGeom prst="rect">
            <a:avLst/>
          </a:prstGeom>
        </p:spPr>
        <p:txBody>
          <a:bodyPr>
            <a:noAutofit/>
          </a:bodyPr>
          <a:lstStyle>
            <a:lvl1pPr marL="0" indent="0" algn="ctr">
              <a:spcBef>
                <a:spcPts val="0"/>
              </a:spcBef>
              <a:buNone/>
              <a:defRPr sz="2400" b="1">
                <a:solidFill>
                  <a:srgbClr val="47DA86"/>
                </a:solidFill>
              </a:defRPr>
            </a:lvl1pPr>
          </a:lstStyle>
          <a:p>
            <a:pPr lvl="0"/>
            <a:r>
              <a:rPr lang="en-GB"/>
              <a:t>Header 2</a:t>
            </a:r>
            <a:endParaRPr lang="en-NL"/>
          </a:p>
        </p:txBody>
      </p:sp>
      <p:sp>
        <p:nvSpPr>
          <p:cNvPr id="20" name="Text Placeholder 11">
            <a:extLst>
              <a:ext uri="{FF2B5EF4-FFF2-40B4-BE49-F238E27FC236}">
                <a16:creationId xmlns:a16="http://schemas.microsoft.com/office/drawing/2014/main" id="{7FC37118-FC7D-57FD-16B1-A498B8326CE2}"/>
              </a:ext>
            </a:extLst>
          </p:cNvPr>
          <p:cNvSpPr>
            <a:spLocks noGrp="1"/>
          </p:cNvSpPr>
          <p:nvPr>
            <p:ph type="body" sz="quarter" idx="24" hasCustomPrompt="1"/>
          </p:nvPr>
        </p:nvSpPr>
        <p:spPr>
          <a:xfrm>
            <a:off x="8343546" y="3755424"/>
            <a:ext cx="3187973" cy="520092"/>
          </a:xfrm>
          <a:prstGeom prst="rect">
            <a:avLst/>
          </a:prstGeom>
        </p:spPr>
        <p:txBody>
          <a:bodyPr>
            <a:noAutofit/>
          </a:bodyPr>
          <a:lstStyle>
            <a:lvl1pPr marL="0" indent="0" algn="ctr">
              <a:spcBef>
                <a:spcPts val="0"/>
              </a:spcBef>
              <a:buNone/>
              <a:defRPr sz="2400" b="1">
                <a:solidFill>
                  <a:srgbClr val="47DA86"/>
                </a:solidFill>
              </a:defRPr>
            </a:lvl1pPr>
          </a:lstStyle>
          <a:p>
            <a:pPr lvl="0"/>
            <a:r>
              <a:rPr lang="en-GB"/>
              <a:t>Header 3</a:t>
            </a:r>
            <a:endParaRPr lang="en-NL"/>
          </a:p>
        </p:txBody>
      </p:sp>
      <p:sp>
        <p:nvSpPr>
          <p:cNvPr id="2" name="Picture Placeholder 17">
            <a:extLst>
              <a:ext uri="{FF2B5EF4-FFF2-40B4-BE49-F238E27FC236}">
                <a16:creationId xmlns:a16="http://schemas.microsoft.com/office/drawing/2014/main" id="{160CCCF0-FF52-334B-607F-3D23F714FF58}"/>
              </a:ext>
            </a:extLst>
          </p:cNvPr>
          <p:cNvSpPr>
            <a:spLocks noGrp="1"/>
          </p:cNvSpPr>
          <p:nvPr>
            <p:ph type="pic" sz="quarter" idx="25"/>
          </p:nvPr>
        </p:nvSpPr>
        <p:spPr>
          <a:xfrm>
            <a:off x="4620752"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tx1"/>
                </a:solidFill>
              </a:defRPr>
            </a:lvl1pPr>
          </a:lstStyle>
          <a:p>
            <a:pPr marL="0" marR="0" lvl="0" indent="0" algn="ctr" defTabSz="914400" rtl="0" eaLnBrk="1" fontAlgn="auto" latinLnBrk="0" hangingPunct="1">
              <a:lnSpc>
                <a:spcPct val="100000"/>
              </a:lnSpc>
              <a:spcBef>
                <a:spcPts val="1000"/>
              </a:spcBef>
              <a:spcAft>
                <a:spcPts val="1000"/>
              </a:spcAft>
              <a:buClr>
                <a:srgbClr val="47DA86"/>
              </a:buClr>
              <a:buSzTx/>
              <a:buFont typeface="Arial" panose="020B0604020202020204" pitchFamily="34" charset="0"/>
              <a:buNone/>
              <a:tabLst/>
              <a:defRPr/>
            </a:pPr>
            <a:r>
              <a:rPr lang="en-US"/>
              <a:t>Click icon to add picture</a:t>
            </a:r>
          </a:p>
        </p:txBody>
      </p:sp>
      <p:sp>
        <p:nvSpPr>
          <p:cNvPr id="3" name="Picture Placeholder 17">
            <a:extLst>
              <a:ext uri="{FF2B5EF4-FFF2-40B4-BE49-F238E27FC236}">
                <a16:creationId xmlns:a16="http://schemas.microsoft.com/office/drawing/2014/main" id="{15C15C35-1275-8D82-7B48-0886DD32ED42}"/>
              </a:ext>
            </a:extLst>
          </p:cNvPr>
          <p:cNvSpPr>
            <a:spLocks noGrp="1"/>
          </p:cNvSpPr>
          <p:nvPr>
            <p:ph type="pic" sz="quarter" idx="26"/>
          </p:nvPr>
        </p:nvSpPr>
        <p:spPr>
          <a:xfrm>
            <a:off x="8464786"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tx1"/>
                </a:solidFill>
              </a:defRPr>
            </a:lvl1pPr>
          </a:lstStyle>
          <a:p>
            <a:pPr marL="0" marR="0" lvl="0" indent="0" algn="ctr" defTabSz="914400" rtl="0" eaLnBrk="1" fontAlgn="auto" latinLnBrk="0" hangingPunct="1">
              <a:lnSpc>
                <a:spcPct val="100000"/>
              </a:lnSpc>
              <a:spcBef>
                <a:spcPts val="1000"/>
              </a:spcBef>
              <a:spcAft>
                <a:spcPts val="1000"/>
              </a:spcAft>
              <a:buClr>
                <a:srgbClr val="47DA86"/>
              </a:buClr>
              <a:buSzTx/>
              <a:buFont typeface="Arial" panose="020B0604020202020204" pitchFamily="34" charset="0"/>
              <a:buNone/>
              <a:tabLst/>
              <a:defRPr/>
            </a:pPr>
            <a:r>
              <a:rPr lang="en-US"/>
              <a:t>Click icon to add picture</a:t>
            </a:r>
          </a:p>
        </p:txBody>
      </p:sp>
      <p:sp>
        <p:nvSpPr>
          <p:cNvPr id="5" name="Graphic 2">
            <a:extLst>
              <a:ext uri="{FF2B5EF4-FFF2-40B4-BE49-F238E27FC236}">
                <a16:creationId xmlns:a16="http://schemas.microsoft.com/office/drawing/2014/main" id="{4514206C-194B-0C56-A8E5-1F2556ABFACE}"/>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00625F"/>
          </a:solidFill>
          <a:ln w="6350" cap="flat">
            <a:noFill/>
            <a:prstDash val="solid"/>
            <a:miter/>
          </a:ln>
        </p:spPr>
        <p:txBody>
          <a:bodyPr rtlCol="0" anchor="ctr"/>
          <a:lstStyle/>
          <a:p>
            <a:endParaRPr lang="en-NL"/>
          </a:p>
        </p:txBody>
      </p:sp>
      <p:sp>
        <p:nvSpPr>
          <p:cNvPr id="6" name="Slide Number Placeholder 5">
            <a:extLst>
              <a:ext uri="{FF2B5EF4-FFF2-40B4-BE49-F238E27FC236}">
                <a16:creationId xmlns:a16="http://schemas.microsoft.com/office/drawing/2014/main" id="{E1FC47AC-3C70-D163-7E67-9994B20661F4}"/>
              </a:ext>
            </a:extLst>
          </p:cNvPr>
          <p:cNvSpPr>
            <a:spLocks noGrp="1"/>
          </p:cNvSpPr>
          <p:nvPr>
            <p:ph type="sldNum" sz="quarter" idx="27"/>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343252037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Pebbles (White)">
    <p:spTree>
      <p:nvGrpSpPr>
        <p:cNvPr id="1" name=""/>
        <p:cNvGrpSpPr/>
        <p:nvPr/>
      </p:nvGrpSpPr>
      <p:grpSpPr>
        <a:xfrm>
          <a:off x="0" y="0"/>
          <a:ext cx="0" cy="0"/>
          <a:chOff x="0" y="0"/>
          <a:chExt cx="0" cy="0"/>
        </a:xfrm>
      </p:grpSpPr>
      <p:sp>
        <p:nvSpPr>
          <p:cNvPr id="66" name="Picture Placeholder 65">
            <a:extLst>
              <a:ext uri="{FF2B5EF4-FFF2-40B4-BE49-F238E27FC236}">
                <a16:creationId xmlns:a16="http://schemas.microsoft.com/office/drawing/2014/main" id="{F2661CE8-4FDA-2506-7DD0-FB3A695D8106}"/>
              </a:ext>
            </a:extLst>
          </p:cNvPr>
          <p:cNvSpPr>
            <a:spLocks noGrp="1"/>
          </p:cNvSpPr>
          <p:nvPr>
            <p:ph type="pic" sz="quarter" idx="15"/>
          </p:nvPr>
        </p:nvSpPr>
        <p:spPr>
          <a:xfrm>
            <a:off x="6508923" y="3620604"/>
            <a:ext cx="1154057" cy="1164548"/>
          </a:xfrm>
          <a:custGeom>
            <a:avLst/>
            <a:gdLst>
              <a:gd name="connsiteX0" fmla="*/ 620546 w 1154057"/>
              <a:gd name="connsiteY0" fmla="*/ 1074 h 1164548"/>
              <a:gd name="connsiteX1" fmla="*/ 740037 w 1154057"/>
              <a:gd name="connsiteY1" fmla="*/ 30926 h 1164548"/>
              <a:gd name="connsiteX2" fmla="*/ 1149079 w 1154057"/>
              <a:gd name="connsiteY2" fmla="*/ 544452 h 1164548"/>
              <a:gd name="connsiteX3" fmla="*/ 1006132 w 1154057"/>
              <a:gd name="connsiteY3" fmla="*/ 957097 h 1164548"/>
              <a:gd name="connsiteX4" fmla="*/ 883647 w 1154057"/>
              <a:gd name="connsiteY4" fmla="*/ 1053039 h 1164548"/>
              <a:gd name="connsiteX5" fmla="*/ 162661 w 1154057"/>
              <a:gd name="connsiteY5" fmla="*/ 1067667 h 1164548"/>
              <a:gd name="connsiteX6" fmla="*/ 579 w 1154057"/>
              <a:gd name="connsiteY6" fmla="*/ 741180 h 1164548"/>
              <a:gd name="connsiteX7" fmla="*/ 256727 w 1154057"/>
              <a:gd name="connsiteY7" fmla="*/ 146531 h 1164548"/>
              <a:gd name="connsiteX8" fmla="*/ 620546 w 1154057"/>
              <a:gd name="connsiteY8" fmla="*/ 1074 h 116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4057" h="1164548">
                <a:moveTo>
                  <a:pt x="620546" y="1074"/>
                </a:moveTo>
                <a:cubicBezTo>
                  <a:pt x="661868" y="4174"/>
                  <a:pt x="702145" y="14018"/>
                  <a:pt x="740037" y="30926"/>
                </a:cubicBezTo>
                <a:cubicBezTo>
                  <a:pt x="949389" y="123543"/>
                  <a:pt x="1117629" y="334710"/>
                  <a:pt x="1149079" y="544452"/>
                </a:cubicBezTo>
                <a:cubicBezTo>
                  <a:pt x="1171057" y="698529"/>
                  <a:pt x="1119713" y="843201"/>
                  <a:pt x="1006132" y="957097"/>
                </a:cubicBezTo>
                <a:cubicBezTo>
                  <a:pt x="971083" y="992244"/>
                  <a:pt x="930159" y="1024446"/>
                  <a:pt x="883647" y="1053039"/>
                </a:cubicBezTo>
                <a:cubicBezTo>
                  <a:pt x="651181" y="1196096"/>
                  <a:pt x="354772" y="1202081"/>
                  <a:pt x="162661" y="1067667"/>
                </a:cubicBezTo>
                <a:cubicBezTo>
                  <a:pt x="62721" y="988634"/>
                  <a:pt x="6736" y="875689"/>
                  <a:pt x="579" y="741180"/>
                </a:cubicBezTo>
                <a:cubicBezTo>
                  <a:pt x="-8705" y="539607"/>
                  <a:pt x="94456" y="299943"/>
                  <a:pt x="256727" y="146531"/>
                </a:cubicBezTo>
                <a:cubicBezTo>
                  <a:pt x="363227" y="43156"/>
                  <a:pt x="496583" y="-8228"/>
                  <a:pt x="620546" y="1074"/>
                </a:cubicBezTo>
                <a:close/>
              </a:path>
            </a:pathLst>
          </a:custGeom>
        </p:spPr>
        <p:txBody>
          <a:bodyPr wrap="square" anchor="ctr">
            <a:noAutofit/>
          </a:bodyPr>
          <a:lstStyle>
            <a:lvl1pPr marL="0" indent="0" algn="ctr">
              <a:buNone/>
              <a:defRPr sz="1000">
                <a:solidFill>
                  <a:schemeClr val="tx1"/>
                </a:solidFill>
              </a:defRPr>
            </a:lvl1pPr>
          </a:lstStyle>
          <a:p>
            <a:endParaRPr lang="en-US"/>
          </a:p>
        </p:txBody>
      </p:sp>
      <p:sp>
        <p:nvSpPr>
          <p:cNvPr id="67" name="Picture Placeholder 66">
            <a:extLst>
              <a:ext uri="{FF2B5EF4-FFF2-40B4-BE49-F238E27FC236}">
                <a16:creationId xmlns:a16="http://schemas.microsoft.com/office/drawing/2014/main" id="{3B71B6AE-BEDB-94B9-6987-0DDAA2DCD384}"/>
              </a:ext>
            </a:extLst>
          </p:cNvPr>
          <p:cNvSpPr>
            <a:spLocks noGrp="1"/>
          </p:cNvSpPr>
          <p:nvPr>
            <p:ph type="pic" sz="quarter" idx="16"/>
          </p:nvPr>
        </p:nvSpPr>
        <p:spPr>
          <a:xfrm>
            <a:off x="7810410" y="3608348"/>
            <a:ext cx="1107883" cy="1189060"/>
          </a:xfrm>
          <a:custGeom>
            <a:avLst/>
            <a:gdLst>
              <a:gd name="connsiteX0" fmla="*/ 518352 w 1107883"/>
              <a:gd name="connsiteY0" fmla="*/ 3 h 1189060"/>
              <a:gd name="connsiteX1" fmla="*/ 916906 w 1107883"/>
              <a:gd name="connsiteY1" fmla="*/ 119284 h 1189060"/>
              <a:gd name="connsiteX2" fmla="*/ 1107883 w 1107883"/>
              <a:gd name="connsiteY2" fmla="*/ 511437 h 1189060"/>
              <a:gd name="connsiteX3" fmla="*/ 1088833 w 1107883"/>
              <a:gd name="connsiteY3" fmla="*/ 665779 h 1189060"/>
              <a:gd name="connsiteX4" fmla="*/ 586579 w 1107883"/>
              <a:gd name="connsiteY4" fmla="*/ 1186029 h 1189060"/>
              <a:gd name="connsiteX5" fmla="*/ 239869 w 1107883"/>
              <a:gd name="connsiteY5" fmla="*/ 1070344 h 1189060"/>
              <a:gd name="connsiteX6" fmla="*/ 316 w 1107883"/>
              <a:gd name="connsiteY6" fmla="*/ 469749 h 1189060"/>
              <a:gd name="connsiteX7" fmla="*/ 261967 w 1107883"/>
              <a:gd name="connsiteY7" fmla="*/ 46424 h 1189060"/>
              <a:gd name="connsiteX8" fmla="*/ 518352 w 1107883"/>
              <a:gd name="connsiteY8" fmla="*/ 3 h 118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883" h="1189060">
                <a:moveTo>
                  <a:pt x="518352" y="3"/>
                </a:moveTo>
                <a:cubicBezTo>
                  <a:pt x="664673" y="-378"/>
                  <a:pt x="809989" y="40763"/>
                  <a:pt x="916906" y="119284"/>
                </a:cubicBezTo>
                <a:cubicBezTo>
                  <a:pt x="1041779" y="212419"/>
                  <a:pt x="1107883" y="350748"/>
                  <a:pt x="1107883" y="511437"/>
                </a:cubicBezTo>
                <a:cubicBezTo>
                  <a:pt x="1107883" y="560990"/>
                  <a:pt x="1101596" y="612626"/>
                  <a:pt x="1088833" y="665779"/>
                </a:cubicBezTo>
                <a:cubicBezTo>
                  <a:pt x="1025015" y="931068"/>
                  <a:pt x="818513" y="1144909"/>
                  <a:pt x="586579" y="1186029"/>
                </a:cubicBezTo>
                <a:cubicBezTo>
                  <a:pt x="459516" y="1200904"/>
                  <a:pt x="339596" y="1160827"/>
                  <a:pt x="239869" y="1070344"/>
                </a:cubicBezTo>
                <a:cubicBezTo>
                  <a:pt x="90327" y="934668"/>
                  <a:pt x="-6257" y="692781"/>
                  <a:pt x="316" y="469749"/>
                </a:cubicBezTo>
                <a:cubicBezTo>
                  <a:pt x="3554" y="272109"/>
                  <a:pt x="106234" y="105924"/>
                  <a:pt x="261967" y="46424"/>
                </a:cubicBezTo>
                <a:cubicBezTo>
                  <a:pt x="342406" y="15407"/>
                  <a:pt x="430560" y="231"/>
                  <a:pt x="518352" y="3"/>
                </a:cubicBezTo>
                <a:close/>
              </a:path>
            </a:pathLst>
          </a:custGeom>
        </p:spPr>
        <p:txBody>
          <a:bodyPr wrap="square" anchor="ctr">
            <a:noAutofit/>
          </a:bodyPr>
          <a:lstStyle>
            <a:lvl1pPr marL="0" indent="0" algn="ctr">
              <a:buNone/>
              <a:defRPr sz="1000">
                <a:solidFill>
                  <a:schemeClr val="tx1"/>
                </a:solidFill>
              </a:defRPr>
            </a:lvl1pPr>
          </a:lstStyle>
          <a:p>
            <a:endParaRPr lang="en-US"/>
          </a:p>
        </p:txBody>
      </p:sp>
      <p:sp>
        <p:nvSpPr>
          <p:cNvPr id="68" name="Picture Placeholder 67">
            <a:extLst>
              <a:ext uri="{FF2B5EF4-FFF2-40B4-BE49-F238E27FC236}">
                <a16:creationId xmlns:a16="http://schemas.microsoft.com/office/drawing/2014/main" id="{906C151D-F8D9-E488-C77D-9C9B042AEA15}"/>
              </a:ext>
            </a:extLst>
          </p:cNvPr>
          <p:cNvSpPr>
            <a:spLocks noGrp="1"/>
          </p:cNvSpPr>
          <p:nvPr>
            <p:ph type="pic" sz="quarter" idx="17"/>
          </p:nvPr>
        </p:nvSpPr>
        <p:spPr>
          <a:xfrm>
            <a:off x="7803666" y="2055915"/>
            <a:ext cx="1164457" cy="1154057"/>
          </a:xfrm>
          <a:custGeom>
            <a:avLst/>
            <a:gdLst>
              <a:gd name="connsiteX0" fmla="*/ 657822 w 1164457"/>
              <a:gd name="connsiteY0" fmla="*/ 2070 h 1154057"/>
              <a:gd name="connsiteX1" fmla="*/ 957005 w 1164457"/>
              <a:gd name="connsiteY1" fmla="*/ 147925 h 1154057"/>
              <a:gd name="connsiteX2" fmla="*/ 1052947 w 1164457"/>
              <a:gd name="connsiteY2" fmla="*/ 270411 h 1154057"/>
              <a:gd name="connsiteX3" fmla="*/ 1067576 w 1164457"/>
              <a:gd name="connsiteY3" fmla="*/ 991397 h 1154057"/>
              <a:gd name="connsiteX4" fmla="*/ 741089 w 1164457"/>
              <a:gd name="connsiteY4" fmla="*/ 1153384 h 1154057"/>
              <a:gd name="connsiteX5" fmla="*/ 741184 w 1164457"/>
              <a:gd name="connsiteY5" fmla="*/ 1153479 h 1154057"/>
              <a:gd name="connsiteX6" fmla="*/ 146440 w 1164457"/>
              <a:gd name="connsiteY6" fmla="*/ 897331 h 1154057"/>
              <a:gd name="connsiteX7" fmla="*/ 30930 w 1164457"/>
              <a:gd name="connsiteY7" fmla="*/ 414021 h 1154057"/>
              <a:gd name="connsiteX8" fmla="*/ 544361 w 1164457"/>
              <a:gd name="connsiteY8" fmla="*/ 4979 h 1154057"/>
              <a:gd name="connsiteX9" fmla="*/ 657822 w 1164457"/>
              <a:gd name="connsiteY9" fmla="*/ 2070 h 115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4457" h="1154057">
                <a:moveTo>
                  <a:pt x="657822" y="2070"/>
                </a:moveTo>
                <a:cubicBezTo>
                  <a:pt x="768851" y="12563"/>
                  <a:pt x="871584" y="62740"/>
                  <a:pt x="957005" y="147925"/>
                </a:cubicBezTo>
                <a:cubicBezTo>
                  <a:pt x="992152" y="182975"/>
                  <a:pt x="1024355" y="223898"/>
                  <a:pt x="1052947" y="270411"/>
                </a:cubicBezTo>
                <a:cubicBezTo>
                  <a:pt x="1196005" y="502877"/>
                  <a:pt x="1201990" y="799286"/>
                  <a:pt x="1067576" y="991397"/>
                </a:cubicBezTo>
                <a:cubicBezTo>
                  <a:pt x="988543" y="1091242"/>
                  <a:pt x="875502" y="1147227"/>
                  <a:pt x="741089" y="1153384"/>
                </a:cubicBezTo>
                <a:lnTo>
                  <a:pt x="741184" y="1153479"/>
                </a:lnTo>
                <a:cubicBezTo>
                  <a:pt x="539516" y="1162763"/>
                  <a:pt x="299947" y="1059602"/>
                  <a:pt x="146440" y="897331"/>
                </a:cubicBezTo>
                <a:cubicBezTo>
                  <a:pt x="8702" y="755331"/>
                  <a:pt x="-36705" y="565588"/>
                  <a:pt x="30930" y="414021"/>
                </a:cubicBezTo>
                <a:cubicBezTo>
                  <a:pt x="123547" y="204668"/>
                  <a:pt x="334714" y="36429"/>
                  <a:pt x="544361" y="4979"/>
                </a:cubicBezTo>
                <a:cubicBezTo>
                  <a:pt x="582880" y="-515"/>
                  <a:pt x="620812" y="-1427"/>
                  <a:pt x="657822" y="2070"/>
                </a:cubicBezTo>
                <a:close/>
              </a:path>
            </a:pathLst>
          </a:custGeom>
        </p:spPr>
        <p:txBody>
          <a:bodyPr wrap="square" anchor="ctr">
            <a:noAutofit/>
          </a:bodyPr>
          <a:lstStyle>
            <a:lvl1pPr marL="0" indent="0" algn="ctr">
              <a:buNone/>
              <a:defRPr sz="1000">
                <a:solidFill>
                  <a:schemeClr val="tx1"/>
                </a:solidFill>
              </a:defRPr>
            </a:lvl1pPr>
          </a:lstStyle>
          <a:p>
            <a:endParaRPr lang="en-US"/>
          </a:p>
        </p:txBody>
      </p:sp>
      <p:sp>
        <p:nvSpPr>
          <p:cNvPr id="69" name="Picture Placeholder 68">
            <a:extLst>
              <a:ext uri="{FF2B5EF4-FFF2-40B4-BE49-F238E27FC236}">
                <a16:creationId xmlns:a16="http://schemas.microsoft.com/office/drawing/2014/main" id="{97C88B23-F01B-B969-B774-88297D25CAD5}"/>
              </a:ext>
            </a:extLst>
          </p:cNvPr>
          <p:cNvSpPr>
            <a:spLocks noGrp="1"/>
          </p:cNvSpPr>
          <p:nvPr>
            <p:ph type="pic" sz="quarter" idx="18"/>
          </p:nvPr>
        </p:nvSpPr>
        <p:spPr>
          <a:xfrm>
            <a:off x="9065723" y="3648937"/>
            <a:ext cx="1189061" cy="1107883"/>
          </a:xfrm>
          <a:custGeom>
            <a:avLst/>
            <a:gdLst>
              <a:gd name="connsiteX0" fmla="*/ 719312 w 1189061"/>
              <a:gd name="connsiteY0" fmla="*/ 316 h 1107883"/>
              <a:gd name="connsiteX1" fmla="*/ 1142638 w 1189061"/>
              <a:gd name="connsiteY1" fmla="*/ 261967 h 1107883"/>
              <a:gd name="connsiteX2" fmla="*/ 1069778 w 1189061"/>
              <a:gd name="connsiteY2" fmla="*/ 916906 h 1107883"/>
              <a:gd name="connsiteX3" fmla="*/ 677624 w 1189061"/>
              <a:gd name="connsiteY3" fmla="*/ 1107883 h 1107883"/>
              <a:gd name="connsiteX4" fmla="*/ 523283 w 1189061"/>
              <a:gd name="connsiteY4" fmla="*/ 1088833 h 1107883"/>
              <a:gd name="connsiteX5" fmla="*/ 3032 w 1189061"/>
              <a:gd name="connsiteY5" fmla="*/ 586579 h 1107883"/>
              <a:gd name="connsiteX6" fmla="*/ 118717 w 1189061"/>
              <a:gd name="connsiteY6" fmla="*/ 239869 h 1107883"/>
              <a:gd name="connsiteX7" fmla="*/ 719312 w 1189061"/>
              <a:gd name="connsiteY7" fmla="*/ 316 h 110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1" h="1107883">
                <a:moveTo>
                  <a:pt x="719312" y="316"/>
                </a:moveTo>
                <a:cubicBezTo>
                  <a:pt x="916953" y="3554"/>
                  <a:pt x="1083137" y="106234"/>
                  <a:pt x="1142638" y="261967"/>
                </a:cubicBezTo>
                <a:cubicBezTo>
                  <a:pt x="1225351" y="476470"/>
                  <a:pt x="1195411" y="745838"/>
                  <a:pt x="1069778" y="916906"/>
                </a:cubicBezTo>
                <a:cubicBezTo>
                  <a:pt x="976643" y="1041779"/>
                  <a:pt x="838313" y="1107883"/>
                  <a:pt x="677624" y="1107883"/>
                </a:cubicBezTo>
                <a:cubicBezTo>
                  <a:pt x="628072" y="1107883"/>
                  <a:pt x="576435" y="1101596"/>
                  <a:pt x="523283" y="1088833"/>
                </a:cubicBezTo>
                <a:cubicBezTo>
                  <a:pt x="257994" y="1025015"/>
                  <a:pt x="44152" y="818513"/>
                  <a:pt x="3032" y="586579"/>
                </a:cubicBezTo>
                <a:cubicBezTo>
                  <a:pt x="-11843" y="459516"/>
                  <a:pt x="28235" y="339596"/>
                  <a:pt x="118717" y="239869"/>
                </a:cubicBezTo>
                <a:cubicBezTo>
                  <a:pt x="254394" y="90327"/>
                  <a:pt x="496280" y="-6257"/>
                  <a:pt x="719312" y="316"/>
                </a:cubicBezTo>
                <a:close/>
              </a:path>
            </a:pathLst>
          </a:custGeom>
        </p:spPr>
        <p:txBody>
          <a:bodyPr wrap="square" anchor="ctr">
            <a:noAutofit/>
          </a:bodyPr>
          <a:lstStyle>
            <a:lvl1pPr marL="0" indent="0" algn="ctr">
              <a:buNone/>
              <a:defRPr sz="1000">
                <a:solidFill>
                  <a:schemeClr val="tx1"/>
                </a:solidFill>
              </a:defRPr>
            </a:lvl1pPr>
          </a:lstStyle>
          <a:p>
            <a:endParaRPr lang="en-US"/>
          </a:p>
        </p:txBody>
      </p:sp>
      <p:sp>
        <p:nvSpPr>
          <p:cNvPr id="70" name="Picture Placeholder 69">
            <a:extLst>
              <a:ext uri="{FF2B5EF4-FFF2-40B4-BE49-F238E27FC236}">
                <a16:creationId xmlns:a16="http://schemas.microsoft.com/office/drawing/2014/main" id="{999EFC1E-B95B-3F1C-CE75-B89111D6591C}"/>
              </a:ext>
            </a:extLst>
          </p:cNvPr>
          <p:cNvSpPr>
            <a:spLocks noGrp="1"/>
          </p:cNvSpPr>
          <p:nvPr>
            <p:ph type="pic" sz="quarter" idx="19"/>
          </p:nvPr>
        </p:nvSpPr>
        <p:spPr>
          <a:xfrm>
            <a:off x="9091307" y="2055915"/>
            <a:ext cx="1164633" cy="1154057"/>
          </a:xfrm>
          <a:custGeom>
            <a:avLst/>
            <a:gdLst>
              <a:gd name="connsiteX0" fmla="*/ 423358 w 1164633"/>
              <a:gd name="connsiteY0" fmla="*/ 579 h 1154057"/>
              <a:gd name="connsiteX1" fmla="*/ 1018102 w 1164633"/>
              <a:gd name="connsiteY1" fmla="*/ 256727 h 1154057"/>
              <a:gd name="connsiteX2" fmla="*/ 1133708 w 1164633"/>
              <a:gd name="connsiteY2" fmla="*/ 740037 h 1154057"/>
              <a:gd name="connsiteX3" fmla="*/ 620182 w 1164633"/>
              <a:gd name="connsiteY3" fmla="*/ 1149079 h 1154057"/>
              <a:gd name="connsiteX4" fmla="*/ 207537 w 1164633"/>
              <a:gd name="connsiteY4" fmla="*/ 1006132 h 1154057"/>
              <a:gd name="connsiteX5" fmla="*/ 111595 w 1164633"/>
              <a:gd name="connsiteY5" fmla="*/ 883647 h 1154057"/>
              <a:gd name="connsiteX6" fmla="*/ 96871 w 1164633"/>
              <a:gd name="connsiteY6" fmla="*/ 162661 h 1154057"/>
              <a:gd name="connsiteX7" fmla="*/ 423358 w 1164633"/>
              <a:gd name="connsiteY7" fmla="*/ 579 h 115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633" h="1154057">
                <a:moveTo>
                  <a:pt x="423358" y="579"/>
                </a:moveTo>
                <a:cubicBezTo>
                  <a:pt x="625026" y="-8705"/>
                  <a:pt x="864596" y="94456"/>
                  <a:pt x="1018102" y="256727"/>
                </a:cubicBezTo>
                <a:cubicBezTo>
                  <a:pt x="1155936" y="398727"/>
                  <a:pt x="1201342" y="588470"/>
                  <a:pt x="1133708" y="740037"/>
                </a:cubicBezTo>
                <a:cubicBezTo>
                  <a:pt x="1041090" y="949389"/>
                  <a:pt x="829924" y="1117629"/>
                  <a:pt x="620182" y="1149079"/>
                </a:cubicBezTo>
                <a:cubicBezTo>
                  <a:pt x="466105" y="1171057"/>
                  <a:pt x="321432" y="1119713"/>
                  <a:pt x="207537" y="1006132"/>
                </a:cubicBezTo>
                <a:cubicBezTo>
                  <a:pt x="172390" y="971083"/>
                  <a:pt x="140188" y="930159"/>
                  <a:pt x="111595" y="883647"/>
                </a:cubicBezTo>
                <a:cubicBezTo>
                  <a:pt x="-31558" y="651181"/>
                  <a:pt x="-37542" y="354772"/>
                  <a:pt x="96871" y="162661"/>
                </a:cubicBezTo>
                <a:cubicBezTo>
                  <a:pt x="175905" y="62721"/>
                  <a:pt x="288850" y="6736"/>
                  <a:pt x="423358" y="579"/>
                </a:cubicBezTo>
                <a:close/>
              </a:path>
            </a:pathLst>
          </a:custGeom>
        </p:spPr>
        <p:txBody>
          <a:bodyPr wrap="square" anchor="ctr">
            <a:noAutofit/>
          </a:bodyPr>
          <a:lstStyle>
            <a:lvl1pPr marL="0" indent="0" algn="ctr">
              <a:buNone/>
              <a:defRPr sz="1000">
                <a:solidFill>
                  <a:schemeClr val="tx1"/>
                </a:solidFill>
              </a:defRPr>
            </a:lvl1pPr>
          </a:lstStyle>
          <a:p>
            <a:endParaRPr lang="en-US"/>
          </a:p>
        </p:txBody>
      </p:sp>
      <p:sp>
        <p:nvSpPr>
          <p:cNvPr id="71" name="Picture Placeholder 70">
            <a:extLst>
              <a:ext uri="{FF2B5EF4-FFF2-40B4-BE49-F238E27FC236}">
                <a16:creationId xmlns:a16="http://schemas.microsoft.com/office/drawing/2014/main" id="{8E8FEB9C-40A3-9F02-121F-D2BC9CAE02D1}"/>
              </a:ext>
            </a:extLst>
          </p:cNvPr>
          <p:cNvSpPr>
            <a:spLocks noGrp="1"/>
          </p:cNvSpPr>
          <p:nvPr>
            <p:ph type="pic" sz="quarter" idx="20"/>
          </p:nvPr>
        </p:nvSpPr>
        <p:spPr>
          <a:xfrm>
            <a:off x="10402215" y="3608348"/>
            <a:ext cx="1107882" cy="1189061"/>
          </a:xfrm>
          <a:custGeom>
            <a:avLst/>
            <a:gdLst>
              <a:gd name="connsiteX0" fmla="*/ 615058 w 1107882"/>
              <a:gd name="connsiteY0" fmla="*/ 2108 h 1189061"/>
              <a:gd name="connsiteX1" fmla="*/ 868013 w 1107882"/>
              <a:gd name="connsiteY1" fmla="*/ 118717 h 1189061"/>
              <a:gd name="connsiteX2" fmla="*/ 1107567 w 1107882"/>
              <a:gd name="connsiteY2" fmla="*/ 719312 h 1189061"/>
              <a:gd name="connsiteX3" fmla="*/ 845915 w 1107882"/>
              <a:gd name="connsiteY3" fmla="*/ 1142638 h 1189061"/>
              <a:gd name="connsiteX4" fmla="*/ 190976 w 1107882"/>
              <a:gd name="connsiteY4" fmla="*/ 1069778 h 1189061"/>
              <a:gd name="connsiteX5" fmla="*/ 0 w 1107882"/>
              <a:gd name="connsiteY5" fmla="*/ 677624 h 1189061"/>
              <a:gd name="connsiteX6" fmla="*/ 19050 w 1107882"/>
              <a:gd name="connsiteY6" fmla="*/ 523283 h 1189061"/>
              <a:gd name="connsiteX7" fmla="*/ 521303 w 1107882"/>
              <a:gd name="connsiteY7" fmla="*/ 3032 h 1189061"/>
              <a:gd name="connsiteX8" fmla="*/ 615058 w 1107882"/>
              <a:gd name="connsiteY8" fmla="*/ 2108 h 118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882" h="1189061">
                <a:moveTo>
                  <a:pt x="615058" y="2108"/>
                </a:moveTo>
                <a:cubicBezTo>
                  <a:pt x="707065" y="11346"/>
                  <a:pt x="793218" y="50856"/>
                  <a:pt x="868013" y="118717"/>
                </a:cubicBezTo>
                <a:cubicBezTo>
                  <a:pt x="1017556" y="254394"/>
                  <a:pt x="1114139" y="496280"/>
                  <a:pt x="1107567" y="719312"/>
                </a:cubicBezTo>
                <a:cubicBezTo>
                  <a:pt x="1104329" y="916953"/>
                  <a:pt x="1001649" y="1083137"/>
                  <a:pt x="845915" y="1142638"/>
                </a:cubicBezTo>
                <a:cubicBezTo>
                  <a:pt x="631412" y="1225351"/>
                  <a:pt x="362045" y="1195411"/>
                  <a:pt x="190976" y="1069778"/>
                </a:cubicBezTo>
                <a:cubicBezTo>
                  <a:pt x="66104" y="976643"/>
                  <a:pt x="0" y="838313"/>
                  <a:pt x="0" y="677624"/>
                </a:cubicBezTo>
                <a:cubicBezTo>
                  <a:pt x="0" y="628072"/>
                  <a:pt x="6287" y="576435"/>
                  <a:pt x="19050" y="523283"/>
                </a:cubicBezTo>
                <a:cubicBezTo>
                  <a:pt x="82868" y="257994"/>
                  <a:pt x="289370" y="44152"/>
                  <a:pt x="521303" y="3032"/>
                </a:cubicBezTo>
                <a:cubicBezTo>
                  <a:pt x="553069" y="-687"/>
                  <a:pt x="584389" y="-971"/>
                  <a:pt x="615058" y="2108"/>
                </a:cubicBezTo>
                <a:close/>
              </a:path>
            </a:pathLst>
          </a:custGeom>
        </p:spPr>
        <p:txBody>
          <a:bodyPr wrap="square" anchor="ctr">
            <a:noAutofit/>
          </a:bodyPr>
          <a:lstStyle>
            <a:lvl1pPr marL="0" indent="0" algn="ctr">
              <a:buNone/>
              <a:defRPr sz="1000">
                <a:solidFill>
                  <a:schemeClr val="tx1"/>
                </a:solidFill>
              </a:defRPr>
            </a:lvl1pPr>
          </a:lstStyle>
          <a:p>
            <a:endParaRPr lang="en-US"/>
          </a:p>
        </p:txBody>
      </p:sp>
      <p:sp>
        <p:nvSpPr>
          <p:cNvPr id="72" name="Picture Placeholder 71">
            <a:extLst>
              <a:ext uri="{FF2B5EF4-FFF2-40B4-BE49-F238E27FC236}">
                <a16:creationId xmlns:a16="http://schemas.microsoft.com/office/drawing/2014/main" id="{D9FEA025-F3DE-8FBE-6582-61EB9226E41C}"/>
              </a:ext>
            </a:extLst>
          </p:cNvPr>
          <p:cNvSpPr>
            <a:spLocks noGrp="1"/>
          </p:cNvSpPr>
          <p:nvPr>
            <p:ph type="pic" sz="quarter" idx="21"/>
          </p:nvPr>
        </p:nvSpPr>
        <p:spPr>
          <a:xfrm>
            <a:off x="10379124" y="2050622"/>
            <a:ext cx="1154064" cy="1164642"/>
          </a:xfrm>
          <a:custGeom>
            <a:avLst/>
            <a:gdLst>
              <a:gd name="connsiteX0" fmla="*/ 646043 w 1154064"/>
              <a:gd name="connsiteY0" fmla="*/ 144 h 1164642"/>
              <a:gd name="connsiteX1" fmla="*/ 991404 w 1154064"/>
              <a:gd name="connsiteY1" fmla="*/ 96881 h 1164642"/>
              <a:gd name="connsiteX2" fmla="*/ 1153391 w 1154064"/>
              <a:gd name="connsiteY2" fmla="*/ 423368 h 1164642"/>
              <a:gd name="connsiteX3" fmla="*/ 1153486 w 1154064"/>
              <a:gd name="connsiteY3" fmla="*/ 423368 h 1164642"/>
              <a:gd name="connsiteX4" fmla="*/ 897337 w 1154064"/>
              <a:gd name="connsiteY4" fmla="*/ 1018112 h 1164642"/>
              <a:gd name="connsiteX5" fmla="*/ 414027 w 1154064"/>
              <a:gd name="connsiteY5" fmla="*/ 1133717 h 1164642"/>
              <a:gd name="connsiteX6" fmla="*/ 4985 w 1154064"/>
              <a:gd name="connsiteY6" fmla="*/ 620191 h 1164642"/>
              <a:gd name="connsiteX7" fmla="*/ 147932 w 1154064"/>
              <a:gd name="connsiteY7" fmla="*/ 207451 h 1164642"/>
              <a:gd name="connsiteX8" fmla="*/ 270417 w 1154064"/>
              <a:gd name="connsiteY8" fmla="*/ 111510 h 1164642"/>
              <a:gd name="connsiteX9" fmla="*/ 646043 w 1154064"/>
              <a:gd name="connsiteY9" fmla="*/ 144 h 116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064" h="1164642">
                <a:moveTo>
                  <a:pt x="646043" y="144"/>
                </a:moveTo>
                <a:cubicBezTo>
                  <a:pt x="773218" y="-2433"/>
                  <a:pt x="895348" y="29674"/>
                  <a:pt x="991404" y="96881"/>
                </a:cubicBezTo>
                <a:cubicBezTo>
                  <a:pt x="1091248" y="175914"/>
                  <a:pt x="1147234" y="288954"/>
                  <a:pt x="1153391" y="423368"/>
                </a:cubicBezTo>
                <a:lnTo>
                  <a:pt x="1153486" y="423368"/>
                </a:lnTo>
                <a:cubicBezTo>
                  <a:pt x="1162769" y="625036"/>
                  <a:pt x="1059609" y="864605"/>
                  <a:pt x="897337" y="1018112"/>
                </a:cubicBezTo>
                <a:cubicBezTo>
                  <a:pt x="755338" y="1155945"/>
                  <a:pt x="565594" y="1201351"/>
                  <a:pt x="414027" y="1133717"/>
                </a:cubicBezTo>
                <a:cubicBezTo>
                  <a:pt x="204675" y="1041100"/>
                  <a:pt x="36435" y="829838"/>
                  <a:pt x="4985" y="620191"/>
                </a:cubicBezTo>
                <a:cubicBezTo>
                  <a:pt x="-16992" y="466114"/>
                  <a:pt x="34257" y="321442"/>
                  <a:pt x="147932" y="207451"/>
                </a:cubicBezTo>
                <a:cubicBezTo>
                  <a:pt x="182982" y="172304"/>
                  <a:pt x="223905" y="140102"/>
                  <a:pt x="270417" y="111510"/>
                </a:cubicBezTo>
                <a:cubicBezTo>
                  <a:pt x="386650" y="39981"/>
                  <a:pt x="518869" y="2720"/>
                  <a:pt x="646043" y="144"/>
                </a:cubicBezTo>
                <a:close/>
              </a:path>
            </a:pathLst>
          </a:custGeom>
        </p:spPr>
        <p:txBody>
          <a:bodyPr wrap="square" anchor="ctr">
            <a:noAutofit/>
          </a:bodyPr>
          <a:lstStyle>
            <a:lvl1pPr marL="0" indent="0" algn="ctr">
              <a:buNone/>
              <a:defRPr sz="1000">
                <a:solidFill>
                  <a:schemeClr val="tx1"/>
                </a:solidFill>
              </a:defRPr>
            </a:lvl1pPr>
          </a:lstStyle>
          <a:p>
            <a:endParaRPr lang="en-US"/>
          </a:p>
        </p:txBody>
      </p:sp>
      <p:sp>
        <p:nvSpPr>
          <p:cNvPr id="47" name="Picture Placeholder 46">
            <a:extLst>
              <a:ext uri="{FF2B5EF4-FFF2-40B4-BE49-F238E27FC236}">
                <a16:creationId xmlns:a16="http://schemas.microsoft.com/office/drawing/2014/main" id="{D0D75CA1-3DB1-D879-A1A7-ACAD5AEC0A2A}"/>
              </a:ext>
            </a:extLst>
          </p:cNvPr>
          <p:cNvSpPr>
            <a:spLocks noGrp="1"/>
          </p:cNvSpPr>
          <p:nvPr>
            <p:ph type="pic" sz="quarter" idx="13"/>
          </p:nvPr>
        </p:nvSpPr>
        <p:spPr>
          <a:xfrm>
            <a:off x="6491422" y="2079002"/>
            <a:ext cx="1189060" cy="1107882"/>
          </a:xfrm>
          <a:custGeom>
            <a:avLst/>
            <a:gdLst>
              <a:gd name="connsiteX0" fmla="*/ 511437 w 1189060"/>
              <a:gd name="connsiteY0" fmla="*/ 0 h 1107882"/>
              <a:gd name="connsiteX1" fmla="*/ 665779 w 1189060"/>
              <a:gd name="connsiteY1" fmla="*/ 19050 h 1107882"/>
              <a:gd name="connsiteX2" fmla="*/ 1186029 w 1189060"/>
              <a:gd name="connsiteY2" fmla="*/ 521303 h 1107882"/>
              <a:gd name="connsiteX3" fmla="*/ 1070344 w 1189060"/>
              <a:gd name="connsiteY3" fmla="*/ 868013 h 1107882"/>
              <a:gd name="connsiteX4" fmla="*/ 469749 w 1189060"/>
              <a:gd name="connsiteY4" fmla="*/ 1107567 h 1107882"/>
              <a:gd name="connsiteX5" fmla="*/ 46424 w 1189060"/>
              <a:gd name="connsiteY5" fmla="*/ 845915 h 1107882"/>
              <a:gd name="connsiteX6" fmla="*/ 119284 w 1189060"/>
              <a:gd name="connsiteY6" fmla="*/ 190976 h 1107882"/>
              <a:gd name="connsiteX7" fmla="*/ 511437 w 1189060"/>
              <a:gd name="connsiteY7" fmla="*/ 0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511437" y="0"/>
                </a:moveTo>
                <a:cubicBezTo>
                  <a:pt x="560990" y="0"/>
                  <a:pt x="612626" y="6287"/>
                  <a:pt x="665779" y="19050"/>
                </a:cubicBezTo>
                <a:cubicBezTo>
                  <a:pt x="931068" y="82868"/>
                  <a:pt x="1144909" y="289370"/>
                  <a:pt x="1186029" y="521303"/>
                </a:cubicBezTo>
                <a:cubicBezTo>
                  <a:pt x="1200904" y="648367"/>
                  <a:pt x="1160827" y="768287"/>
                  <a:pt x="1070344" y="868013"/>
                </a:cubicBez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lose/>
              </a:path>
            </a:pathLst>
          </a:custGeom>
        </p:spPr>
        <p:txBody>
          <a:bodyPr wrap="square" anchor="ctr">
            <a:noAutofit/>
          </a:bodyPr>
          <a:lstStyle>
            <a:lvl1pPr marL="0" indent="0" algn="ctr">
              <a:buNone/>
              <a:defRPr sz="1000">
                <a:solidFill>
                  <a:schemeClr val="tx1"/>
                </a:solidFill>
              </a:defRPr>
            </a:lvl1pPr>
          </a:lstStyle>
          <a:p>
            <a:endParaRPr lang="en-US"/>
          </a:p>
        </p:txBody>
      </p:sp>
      <p:sp>
        <p:nvSpPr>
          <p:cNvPr id="2" name="Graphic 2">
            <a:extLst>
              <a:ext uri="{FF2B5EF4-FFF2-40B4-BE49-F238E27FC236}">
                <a16:creationId xmlns:a16="http://schemas.microsoft.com/office/drawing/2014/main" id="{A9395C7B-EFF3-0099-6086-07A24E0EEDC6}"/>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00625F"/>
          </a:solidFill>
          <a:ln w="6350" cap="flat">
            <a:noFill/>
            <a:prstDash val="solid"/>
            <a:miter/>
          </a:ln>
        </p:spPr>
        <p:txBody>
          <a:bodyPr rtlCol="0" anchor="ctr"/>
          <a:lstStyle/>
          <a:p>
            <a:endParaRPr lang="en-NL"/>
          </a:p>
        </p:txBody>
      </p:sp>
      <p:sp>
        <p:nvSpPr>
          <p:cNvPr id="3" name="Slide Number Placeholder 2">
            <a:extLst>
              <a:ext uri="{FF2B5EF4-FFF2-40B4-BE49-F238E27FC236}">
                <a16:creationId xmlns:a16="http://schemas.microsoft.com/office/drawing/2014/main" id="{A4E0687F-B388-1A33-A0CD-221AC0EF9B92}"/>
              </a:ext>
            </a:extLst>
          </p:cNvPr>
          <p:cNvSpPr>
            <a:spLocks noGrp="1"/>
          </p:cNvSpPr>
          <p:nvPr>
            <p:ph type="sldNum" sz="quarter" idx="22"/>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4020769441"/>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Slide (White)">
    <p:spTree>
      <p:nvGrpSpPr>
        <p:cNvPr id="1" name=""/>
        <p:cNvGrpSpPr/>
        <p:nvPr/>
      </p:nvGrpSpPr>
      <p:grpSpPr>
        <a:xfrm>
          <a:off x="0" y="0"/>
          <a:ext cx="0" cy="0"/>
          <a:chOff x="0" y="0"/>
          <a:chExt cx="0" cy="0"/>
        </a:xfrm>
      </p:grpSpPr>
      <p:sp>
        <p:nvSpPr>
          <p:cNvPr id="5" name="Graphic 2">
            <a:extLst>
              <a:ext uri="{FF2B5EF4-FFF2-40B4-BE49-F238E27FC236}">
                <a16:creationId xmlns:a16="http://schemas.microsoft.com/office/drawing/2014/main" id="{4514206C-194B-0C56-A8E5-1F2556ABFACE}"/>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00625F"/>
          </a:solidFill>
          <a:ln w="6350" cap="flat">
            <a:noFill/>
            <a:prstDash val="solid"/>
            <a:miter/>
          </a:ln>
        </p:spPr>
        <p:txBody>
          <a:bodyPr rtlCol="0" anchor="ctr"/>
          <a:lstStyle/>
          <a:p>
            <a:endParaRPr lang="en-NL"/>
          </a:p>
        </p:txBody>
      </p:sp>
      <p:sp>
        <p:nvSpPr>
          <p:cNvPr id="6" name="Slide Number Placeholder 5">
            <a:extLst>
              <a:ext uri="{FF2B5EF4-FFF2-40B4-BE49-F238E27FC236}">
                <a16:creationId xmlns:a16="http://schemas.microsoft.com/office/drawing/2014/main" id="{E1FC47AC-3C70-D163-7E67-9994B20661F4}"/>
              </a:ext>
            </a:extLst>
          </p:cNvPr>
          <p:cNvSpPr>
            <a:spLocks noGrp="1"/>
          </p:cNvSpPr>
          <p:nvPr>
            <p:ph type="sldNum" sz="quarter" idx="27"/>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340360331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Ripple Right">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658813" y="1301534"/>
            <a:ext cx="6456691" cy="1792121"/>
          </a:xfrm>
        </p:spPr>
        <p:txBody>
          <a:bodyPr anchor="b" anchorCtr="0">
            <a:normAutofit/>
          </a:bodyPr>
          <a:lstStyle>
            <a:lvl1pPr marL="0" indent="0">
              <a:lnSpc>
                <a:spcPct val="100000"/>
              </a:lnSpc>
              <a:spcBef>
                <a:spcPts val="0"/>
              </a:spcBef>
              <a:buNone/>
              <a:defRPr sz="6500" b="1">
                <a:latin typeface="+mj-lt"/>
              </a:defRPr>
            </a:lvl1pPr>
          </a:lstStyle>
          <a:p>
            <a:pPr lvl="0"/>
            <a:r>
              <a:rPr lang="en-GB" dirty="0"/>
              <a:t>A captivating headline</a:t>
            </a:r>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658813" y="3336417"/>
            <a:ext cx="6456690" cy="2469072"/>
          </a:xfrm>
        </p:spPr>
        <p:txBody>
          <a:bodyPr>
            <a:noAutofit/>
          </a:bodyPr>
          <a:lstStyle>
            <a:lvl1pPr marL="0" indent="0">
              <a:buNone/>
              <a:defRPr sz="1400" b="0"/>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 name="Graphic 2">
            <a:extLst>
              <a:ext uri="{FF2B5EF4-FFF2-40B4-BE49-F238E27FC236}">
                <a16:creationId xmlns:a16="http://schemas.microsoft.com/office/drawing/2014/main" id="{B25CF752-074D-9B3E-B631-8489DEFC32EC}"/>
              </a:ext>
            </a:extLst>
          </p:cNvPr>
          <p:cNvSpPr/>
          <p:nvPr userDrawn="1"/>
        </p:nvSpPr>
        <p:spPr>
          <a:xfrm>
            <a:off x="7594280"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47DA86"/>
          </a:solidFill>
          <a:ln w="6350" cap="flat">
            <a:noFill/>
            <a:prstDash val="solid"/>
            <a:miter/>
          </a:ln>
        </p:spPr>
        <p:txBody>
          <a:bodyPr rtlCol="0" anchor="ctr"/>
          <a:lstStyle/>
          <a:p>
            <a:endParaRPr lang="en-GB" dirty="0"/>
          </a:p>
        </p:txBody>
      </p:sp>
      <p:sp>
        <p:nvSpPr>
          <p:cNvPr id="10" name="Slide Number Placeholder 9">
            <a:extLst>
              <a:ext uri="{FF2B5EF4-FFF2-40B4-BE49-F238E27FC236}">
                <a16:creationId xmlns:a16="http://schemas.microsoft.com/office/drawing/2014/main" id="{A9648C54-60DB-26A4-D087-869DAC88F7B1}"/>
              </a:ext>
            </a:extLst>
          </p:cNvPr>
          <p:cNvSpPr>
            <a:spLocks noGrp="1"/>
          </p:cNvSpPr>
          <p:nvPr>
            <p:ph type="sldNum" sz="quarter" idx="18"/>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343485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25B6C1A5-44FF-F1AD-DBF4-D4CCDB07A7E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GB" smtClean="0"/>
              <a:pPr/>
              <a:t>‹#›</a:t>
            </a:fld>
            <a:endParaRPr lang="en-GB"/>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lvl1pPr>
              <a:defRPr>
                <a:solidFill>
                  <a:schemeClr val="tx2"/>
                </a:solidFill>
              </a:defRPr>
            </a:lvl1pPr>
          </a:lstStyle>
          <a:p>
            <a:r>
              <a:rPr lang="en-GB"/>
              <a:t>Regular heading goes here</a:t>
            </a:r>
          </a:p>
        </p:txBody>
      </p:sp>
      <p:sp>
        <p:nvSpPr>
          <p:cNvPr id="4" name="Text Placeholder 9">
            <a:extLst>
              <a:ext uri="{FF2B5EF4-FFF2-40B4-BE49-F238E27FC236}">
                <a16:creationId xmlns:a16="http://schemas.microsoft.com/office/drawing/2014/main" id="{2C531370-F196-1C33-7DC8-DBF0301C2AE1}"/>
              </a:ext>
            </a:extLst>
          </p:cNvPr>
          <p:cNvSpPr>
            <a:spLocks noGrp="1"/>
          </p:cNvSpPr>
          <p:nvPr>
            <p:ph type="body" sz="quarter" idx="18" hasCustomPrompt="1"/>
          </p:nvPr>
        </p:nvSpPr>
        <p:spPr>
          <a:xfrm>
            <a:off x="674159" y="1051658"/>
            <a:ext cx="10859029" cy="411162"/>
          </a:xfrm>
          <a:prstGeom prst="rect">
            <a:avLst/>
          </a:prstGeom>
        </p:spPr>
        <p:txBody>
          <a:bodyPr>
            <a:no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a:t>Subheading goes here</a:t>
            </a:r>
          </a:p>
        </p:txBody>
      </p:sp>
    </p:spTree>
    <p:extLst>
      <p:ext uri="{BB962C8B-B14F-4D97-AF65-F5344CB8AC3E}">
        <p14:creationId xmlns:p14="http://schemas.microsoft.com/office/powerpoint/2010/main" val="287403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 Slide (with image)">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F759DD16-F627-ED25-C0C9-0D6D34AEFCC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Text Placeholder 11">
            <a:extLst>
              <a:ext uri="{FF2B5EF4-FFF2-40B4-BE49-F238E27FC236}">
                <a16:creationId xmlns:a16="http://schemas.microsoft.com/office/drawing/2014/main" id="{140D1306-286B-D86B-C6B5-BC2A0E54B29C}"/>
              </a:ext>
            </a:extLst>
          </p:cNvPr>
          <p:cNvSpPr>
            <a:spLocks noGrp="1"/>
          </p:cNvSpPr>
          <p:nvPr>
            <p:ph type="body" sz="quarter" idx="16" hasCustomPrompt="1"/>
          </p:nvPr>
        </p:nvSpPr>
        <p:spPr>
          <a:xfrm>
            <a:off x="658812" y="551732"/>
            <a:ext cx="5113338" cy="3169664"/>
          </a:xfrm>
        </p:spPr>
        <p:txBody>
          <a:bodyPr anchor="b">
            <a:normAutofit/>
          </a:bodyPr>
          <a:lstStyle>
            <a:lvl1pPr marL="0" indent="0">
              <a:lnSpc>
                <a:spcPct val="90000"/>
              </a:lnSpc>
              <a:spcBef>
                <a:spcPts val="0"/>
              </a:spcBef>
              <a:spcAft>
                <a:spcPts val="0"/>
              </a:spcAft>
              <a:buNone/>
              <a:defRPr sz="6500" b="1">
                <a:solidFill>
                  <a:schemeClr val="bg1"/>
                </a:solidFill>
                <a:latin typeface="+mj-lt"/>
              </a:defRPr>
            </a:lvl1pPr>
          </a:lstStyle>
          <a:p>
            <a:pPr lvl="0"/>
            <a:r>
              <a:rPr lang="en-GB"/>
              <a:t>Presentation title goes here</a:t>
            </a:r>
          </a:p>
        </p:txBody>
      </p:sp>
      <p:sp>
        <p:nvSpPr>
          <p:cNvPr id="16" name="Text Placeholder 11">
            <a:extLst>
              <a:ext uri="{FF2B5EF4-FFF2-40B4-BE49-F238E27FC236}">
                <a16:creationId xmlns:a16="http://schemas.microsoft.com/office/drawing/2014/main" id="{74A8F2DB-B148-88A1-2854-99FF5E6E5E58}"/>
              </a:ext>
            </a:extLst>
          </p:cNvPr>
          <p:cNvSpPr>
            <a:spLocks noGrp="1"/>
          </p:cNvSpPr>
          <p:nvPr>
            <p:ph type="body" sz="quarter" idx="17" hasCustomPrompt="1"/>
          </p:nvPr>
        </p:nvSpPr>
        <p:spPr>
          <a:xfrm>
            <a:off x="658812" y="3880453"/>
            <a:ext cx="5113338" cy="626878"/>
          </a:xfrm>
        </p:spPr>
        <p:txBody>
          <a:bodyPr>
            <a:normAutofit/>
          </a:bodyPr>
          <a:lstStyle>
            <a:lvl1pPr marL="0" indent="0">
              <a:buNone/>
              <a:defRPr sz="2800" b="0">
                <a:solidFill>
                  <a:srgbClr val="47D985"/>
                </a:solidFill>
              </a:defRPr>
            </a:lvl1pPr>
          </a:lstStyle>
          <a:p>
            <a:pPr lvl="0"/>
            <a:r>
              <a:rPr lang="en-GB"/>
              <a:t>25.08.2022</a:t>
            </a:r>
          </a:p>
        </p:txBody>
      </p:sp>
      <p:sp>
        <p:nvSpPr>
          <p:cNvPr id="7" name="Picture Placeholder 6">
            <a:extLst>
              <a:ext uri="{FF2B5EF4-FFF2-40B4-BE49-F238E27FC236}">
                <a16:creationId xmlns:a16="http://schemas.microsoft.com/office/drawing/2014/main" id="{BAB5E7E1-25E5-E81B-80F1-16B46ADD72C4}"/>
              </a:ext>
            </a:extLst>
          </p:cNvPr>
          <p:cNvSpPr>
            <a:spLocks noGrp="1"/>
          </p:cNvSpPr>
          <p:nvPr>
            <p:ph type="pic" sz="quarter" idx="18"/>
          </p:nvPr>
        </p:nvSpPr>
        <p:spPr>
          <a:xfrm>
            <a:off x="6510879" y="0"/>
            <a:ext cx="5681121" cy="6860682"/>
          </a:xfrm>
          <a:custGeom>
            <a:avLst/>
            <a:gdLst>
              <a:gd name="connsiteX0" fmla="*/ 1792436 w 5681121"/>
              <a:gd name="connsiteY0" fmla="*/ 0 h 6860682"/>
              <a:gd name="connsiteX1" fmla="*/ 2607541 w 5681121"/>
              <a:gd name="connsiteY1" fmla="*/ 0 h 6860682"/>
              <a:gd name="connsiteX2" fmla="*/ 2321681 w 5681121"/>
              <a:gd name="connsiteY2" fmla="*/ 154750 h 6860682"/>
              <a:gd name="connsiteX3" fmla="*/ 425552 w 5681121"/>
              <a:gd name="connsiteY3" fmla="*/ 3013901 h 6860682"/>
              <a:gd name="connsiteX4" fmla="*/ 2076495 w 5681121"/>
              <a:gd name="connsiteY4" fmla="*/ 6858000 h 6860682"/>
              <a:gd name="connsiteX5" fmla="*/ 2432852 w 5681121"/>
              <a:gd name="connsiteY5" fmla="*/ 6858000 h 6860682"/>
              <a:gd name="connsiteX6" fmla="*/ 1106412 w 5681121"/>
              <a:gd name="connsiteY6" fmla="*/ 5293106 h 6860682"/>
              <a:gd name="connsiteX7" fmla="*/ 1023986 w 5681121"/>
              <a:gd name="connsiteY7" fmla="*/ 2390775 h 6860682"/>
              <a:gd name="connsiteX8" fmla="*/ 2893654 w 5681121"/>
              <a:gd name="connsiteY8" fmla="*/ 180594 h 6860682"/>
              <a:gd name="connsiteX9" fmla="*/ 3293858 w 5681121"/>
              <a:gd name="connsiteY9" fmla="*/ 0 h 6860682"/>
              <a:gd name="connsiteX10" fmla="*/ 5681121 w 5681121"/>
              <a:gd name="connsiteY10" fmla="*/ 0 h 6860682"/>
              <a:gd name="connsiteX11" fmla="*/ 5681121 w 5681121"/>
              <a:gd name="connsiteY11" fmla="*/ 6860682 h 6860682"/>
              <a:gd name="connsiteX12" fmla="*/ 1585041 w 5681121"/>
              <a:gd name="connsiteY12" fmla="*/ 6860682 h 6860682"/>
              <a:gd name="connsiteX13" fmla="*/ 243389 w 5681121"/>
              <a:gd name="connsiteY13" fmla="*/ 5161393 h 6860682"/>
              <a:gd name="connsiteX14" fmla="*/ 1792436 w 5681121"/>
              <a:gd name="connsiteY14" fmla="*/ 0 h 686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81121" h="6860682">
                <a:moveTo>
                  <a:pt x="1792436" y="0"/>
                </a:moveTo>
                <a:lnTo>
                  <a:pt x="2607541" y="0"/>
                </a:lnTo>
                <a:cubicBezTo>
                  <a:pt x="2510774" y="47498"/>
                  <a:pt x="2415402" y="99124"/>
                  <a:pt x="2321681" y="154750"/>
                </a:cubicBezTo>
                <a:cubicBezTo>
                  <a:pt x="1288842" y="768668"/>
                  <a:pt x="597702" y="1810830"/>
                  <a:pt x="425552" y="3013901"/>
                </a:cubicBezTo>
                <a:cubicBezTo>
                  <a:pt x="204732" y="4511612"/>
                  <a:pt x="884704" y="6005132"/>
                  <a:pt x="2076495" y="6858000"/>
                </a:cubicBezTo>
                <a:lnTo>
                  <a:pt x="2432852" y="6858000"/>
                </a:lnTo>
                <a:cubicBezTo>
                  <a:pt x="1849901" y="6480620"/>
                  <a:pt x="1391257" y="5943664"/>
                  <a:pt x="1106412" y="5293106"/>
                </a:cubicBezTo>
                <a:cubicBezTo>
                  <a:pt x="712427" y="4393375"/>
                  <a:pt x="683175" y="3362643"/>
                  <a:pt x="1023986" y="2390775"/>
                </a:cubicBezTo>
                <a:cubicBezTo>
                  <a:pt x="1363971" y="1420940"/>
                  <a:pt x="2027382" y="635699"/>
                  <a:pt x="2893654" y="180594"/>
                </a:cubicBezTo>
                <a:cubicBezTo>
                  <a:pt x="3024433" y="111760"/>
                  <a:pt x="3158003" y="51562"/>
                  <a:pt x="3293858" y="0"/>
                </a:cubicBezTo>
                <a:lnTo>
                  <a:pt x="5681121" y="0"/>
                </a:lnTo>
                <a:lnTo>
                  <a:pt x="5681121" y="6860682"/>
                </a:lnTo>
                <a:lnTo>
                  <a:pt x="1585041" y="6860682"/>
                </a:lnTo>
                <a:cubicBezTo>
                  <a:pt x="976954" y="6494907"/>
                  <a:pt x="492377" y="5932458"/>
                  <a:pt x="243389" y="5161393"/>
                </a:cubicBezTo>
                <a:cubicBezTo>
                  <a:pt x="-352570" y="3349919"/>
                  <a:pt x="139246" y="1030182"/>
                  <a:pt x="1792436" y="0"/>
                </a:cubicBezTo>
                <a:close/>
              </a:path>
            </a:pathLst>
          </a:custGeom>
        </p:spPr>
        <p:txBody>
          <a:bodyPr wrap="square" anchor="ctr">
            <a:noAutofit/>
          </a:bodyPr>
          <a:lstStyle>
            <a:lvl1pPr marL="0" indent="0" algn="ctr">
              <a:buNone/>
              <a:defRPr/>
            </a:lvl1pPr>
          </a:lstStyle>
          <a:p>
            <a:r>
              <a:rPr lang="en-GB"/>
              <a:t>Click icon to add picture</a:t>
            </a:r>
          </a:p>
        </p:txBody>
      </p:sp>
      <p:grpSp>
        <p:nvGrpSpPr>
          <p:cNvPr id="3" name="Graphic 77">
            <a:extLst>
              <a:ext uri="{FF2B5EF4-FFF2-40B4-BE49-F238E27FC236}">
                <a16:creationId xmlns:a16="http://schemas.microsoft.com/office/drawing/2014/main" id="{9F893BB0-7DF6-1882-0B79-6A8826A2134C}"/>
              </a:ext>
            </a:extLst>
          </p:cNvPr>
          <p:cNvGrpSpPr>
            <a:grpSpLocks noChangeAspect="1"/>
          </p:cNvGrpSpPr>
          <p:nvPr userDrawn="1"/>
        </p:nvGrpSpPr>
        <p:grpSpPr>
          <a:xfrm>
            <a:off x="658812" y="4884015"/>
            <a:ext cx="2549217" cy="933156"/>
            <a:chOff x="4489439" y="2838428"/>
            <a:chExt cx="3217768" cy="1177883"/>
          </a:xfrm>
          <a:solidFill>
            <a:schemeClr val="bg1"/>
          </a:solidFill>
        </p:grpSpPr>
        <p:sp>
          <p:nvSpPr>
            <p:cNvPr id="6" name="Freeform 5">
              <a:extLst>
                <a:ext uri="{FF2B5EF4-FFF2-40B4-BE49-F238E27FC236}">
                  <a16:creationId xmlns:a16="http://schemas.microsoft.com/office/drawing/2014/main" id="{6E151A0C-A34C-2591-5887-5019D4E2FB9A}"/>
                </a:ext>
              </a:extLst>
            </p:cNvPr>
            <p:cNvSpPr/>
            <p:nvPr/>
          </p:nvSpPr>
          <p:spPr>
            <a:xfrm>
              <a:off x="4489439" y="2838428"/>
              <a:ext cx="3217388" cy="1177883"/>
            </a:xfrm>
            <a:custGeom>
              <a:avLst/>
              <a:gdLst>
                <a:gd name="connsiteX0" fmla="*/ 1527089 w 3217388"/>
                <a:gd name="connsiteY0" fmla="*/ 295107 h 1177883"/>
                <a:gd name="connsiteX1" fmla="*/ 1705520 w 3217388"/>
                <a:gd name="connsiteY1" fmla="*/ 295107 h 1177883"/>
                <a:gd name="connsiteX2" fmla="*/ 1705520 w 3217388"/>
                <a:gd name="connsiteY2" fmla="*/ 947283 h 1177883"/>
                <a:gd name="connsiteX3" fmla="*/ 1527089 w 3217388"/>
                <a:gd name="connsiteY3" fmla="*/ 947283 h 1177883"/>
                <a:gd name="connsiteX4" fmla="*/ 1527089 w 3217388"/>
                <a:gd name="connsiteY4" fmla="*/ 295107 h 1177883"/>
                <a:gd name="connsiteX5" fmla="*/ 2318481 w 3217388"/>
                <a:gd name="connsiteY5" fmla="*/ 4403 h 1177883"/>
                <a:gd name="connsiteX6" fmla="*/ 2318481 w 3217388"/>
                <a:gd name="connsiteY6" fmla="*/ 386070 h 1177883"/>
                <a:gd name="connsiteX7" fmla="*/ 2100884 w 3217388"/>
                <a:gd name="connsiteY7" fmla="*/ 274533 h 1177883"/>
                <a:gd name="connsiteX8" fmla="*/ 1939848 w 3217388"/>
                <a:gd name="connsiteY8" fmla="*/ 318919 h 1177883"/>
                <a:gd name="connsiteX9" fmla="*/ 1819785 w 3217388"/>
                <a:gd name="connsiteY9" fmla="*/ 441792 h 1177883"/>
                <a:gd name="connsiteX10" fmla="*/ 1776817 w 3217388"/>
                <a:gd name="connsiteY10" fmla="*/ 620576 h 1177883"/>
                <a:gd name="connsiteX11" fmla="*/ 1819785 w 3217388"/>
                <a:gd name="connsiteY11" fmla="*/ 800027 h 1177883"/>
                <a:gd name="connsiteX12" fmla="*/ 1940419 w 3217388"/>
                <a:gd name="connsiteY12" fmla="*/ 922899 h 1177883"/>
                <a:gd name="connsiteX13" fmla="*/ 2111816 w 3217388"/>
                <a:gd name="connsiteY13" fmla="*/ 966619 h 1177883"/>
                <a:gd name="connsiteX14" fmla="*/ 2318481 w 3217388"/>
                <a:gd name="connsiteY14" fmla="*/ 864606 h 1177883"/>
                <a:gd name="connsiteX15" fmla="*/ 2318481 w 3217388"/>
                <a:gd name="connsiteY15" fmla="*/ 947283 h 1177883"/>
                <a:gd name="connsiteX16" fmla="*/ 2496913 w 3217388"/>
                <a:gd name="connsiteY16" fmla="*/ 947283 h 1177883"/>
                <a:gd name="connsiteX17" fmla="*/ 2496913 w 3217388"/>
                <a:gd name="connsiteY17" fmla="*/ 4403 h 1177883"/>
                <a:gd name="connsiteX18" fmla="*/ 2318481 w 3217388"/>
                <a:gd name="connsiteY18" fmla="*/ 4403 h 1177883"/>
                <a:gd name="connsiteX19" fmla="*/ 2146323 w 3217388"/>
                <a:gd name="connsiteY19" fmla="*/ 813648 h 1177883"/>
                <a:gd name="connsiteX20" fmla="*/ 1957815 w 3217388"/>
                <a:gd name="connsiteY20" fmla="*/ 620576 h 1177883"/>
                <a:gd name="connsiteX21" fmla="*/ 2146323 w 3217388"/>
                <a:gd name="connsiteY21" fmla="*/ 427504 h 1177883"/>
                <a:gd name="connsiteX22" fmla="*/ 2334832 w 3217388"/>
                <a:gd name="connsiteY22" fmla="*/ 620576 h 1177883"/>
                <a:gd name="connsiteX23" fmla="*/ 2146323 w 3217388"/>
                <a:gd name="connsiteY23" fmla="*/ 813648 h 1177883"/>
                <a:gd name="connsiteX24" fmla="*/ 3186113 w 3217388"/>
                <a:gd name="connsiteY24" fmla="*/ 403787 h 1177883"/>
                <a:gd name="connsiteX25" fmla="*/ 3097515 w 3217388"/>
                <a:gd name="connsiteY25" fmla="*/ 307298 h 1177883"/>
                <a:gd name="connsiteX26" fmla="*/ 2959485 w 3217388"/>
                <a:gd name="connsiteY26" fmla="*/ 274533 h 1177883"/>
                <a:gd name="connsiteX27" fmla="*/ 2759189 w 3217388"/>
                <a:gd name="connsiteY27" fmla="*/ 385975 h 1177883"/>
                <a:gd name="connsiteX28" fmla="*/ 2759189 w 3217388"/>
                <a:gd name="connsiteY28" fmla="*/ 4403 h 1177883"/>
                <a:gd name="connsiteX29" fmla="*/ 2580567 w 3217388"/>
                <a:gd name="connsiteY29" fmla="*/ 4403 h 1177883"/>
                <a:gd name="connsiteX30" fmla="*/ 2580567 w 3217388"/>
                <a:gd name="connsiteY30" fmla="*/ 947283 h 1177883"/>
                <a:gd name="connsiteX31" fmla="*/ 2759094 w 3217388"/>
                <a:gd name="connsiteY31" fmla="*/ 947283 h 1177883"/>
                <a:gd name="connsiteX32" fmla="*/ 2759094 w 3217388"/>
                <a:gd name="connsiteY32" fmla="*/ 598097 h 1177883"/>
                <a:gd name="connsiteX33" fmla="*/ 2902162 w 3217388"/>
                <a:gd name="connsiteY33" fmla="*/ 429219 h 1177883"/>
                <a:gd name="connsiteX34" fmla="*/ 3038957 w 3217388"/>
                <a:gd name="connsiteY34" fmla="*/ 598097 h 1177883"/>
                <a:gd name="connsiteX35" fmla="*/ 3038957 w 3217388"/>
                <a:gd name="connsiteY35" fmla="*/ 947283 h 1177883"/>
                <a:gd name="connsiteX36" fmla="*/ 3217388 w 3217388"/>
                <a:gd name="connsiteY36" fmla="*/ 947283 h 1177883"/>
                <a:gd name="connsiteX37" fmla="*/ 3217388 w 3217388"/>
                <a:gd name="connsiteY37" fmla="*/ 560092 h 1177883"/>
                <a:gd name="connsiteX38" fmla="*/ 3185923 w 3217388"/>
                <a:gd name="connsiteY38" fmla="*/ 403787 h 1177883"/>
                <a:gd name="connsiteX39" fmla="*/ 1731282 w 3217388"/>
                <a:gd name="connsiteY39" fmla="*/ 100701 h 1177883"/>
                <a:gd name="connsiteX40" fmla="*/ 1615972 w 3217388"/>
                <a:gd name="connsiteY40" fmla="*/ 216906 h 1177883"/>
                <a:gd name="connsiteX41" fmla="*/ 1507221 w 3217388"/>
                <a:gd name="connsiteY41" fmla="*/ 156803 h 1177883"/>
                <a:gd name="connsiteX42" fmla="*/ 1560836 w 3217388"/>
                <a:gd name="connsiteY42" fmla="*/ 8499 h 1177883"/>
                <a:gd name="connsiteX43" fmla="*/ 1731187 w 3217388"/>
                <a:gd name="connsiteY43" fmla="*/ 100606 h 1177883"/>
                <a:gd name="connsiteX44" fmla="*/ 1731187 w 3217388"/>
                <a:gd name="connsiteY44" fmla="*/ 100606 h 1177883"/>
                <a:gd name="connsiteX45" fmla="*/ 243274 w 3217388"/>
                <a:gd name="connsiteY45" fmla="*/ 1020912 h 1177883"/>
                <a:gd name="connsiteX46" fmla="*/ 250974 w 3217388"/>
                <a:gd name="connsiteY46" fmla="*/ 1046439 h 1177883"/>
                <a:gd name="connsiteX47" fmla="*/ 217798 w 3217388"/>
                <a:gd name="connsiteY47" fmla="*/ 1047010 h 1177883"/>
                <a:gd name="connsiteX48" fmla="*/ 198975 w 3217388"/>
                <a:gd name="connsiteY48" fmla="*/ 1012625 h 1177883"/>
                <a:gd name="connsiteX49" fmla="*/ 243274 w 3217388"/>
                <a:gd name="connsiteY49" fmla="*/ 1020912 h 1177883"/>
                <a:gd name="connsiteX50" fmla="*/ 848820 w 3217388"/>
                <a:gd name="connsiteY50" fmla="*/ 564283 h 1177883"/>
                <a:gd name="connsiteX51" fmla="*/ 826290 w 3217388"/>
                <a:gd name="connsiteY51" fmla="*/ 650103 h 1177883"/>
                <a:gd name="connsiteX52" fmla="*/ 712121 w 3217388"/>
                <a:gd name="connsiteY52" fmla="*/ 716302 h 1177883"/>
                <a:gd name="connsiteX53" fmla="*/ 683507 w 3217388"/>
                <a:gd name="connsiteY53" fmla="*/ 719255 h 1177883"/>
                <a:gd name="connsiteX54" fmla="*/ 564489 w 3217388"/>
                <a:gd name="connsiteY54" fmla="*/ 646103 h 1177883"/>
                <a:gd name="connsiteX55" fmla="*/ 631223 w 3217388"/>
                <a:gd name="connsiteY55" fmla="*/ 446173 h 1177883"/>
                <a:gd name="connsiteX56" fmla="*/ 765451 w 3217388"/>
                <a:gd name="connsiteY56" fmla="*/ 454841 h 1177883"/>
                <a:gd name="connsiteX57" fmla="*/ 848915 w 3217388"/>
                <a:gd name="connsiteY57" fmla="*/ 563997 h 1177883"/>
                <a:gd name="connsiteX58" fmla="*/ 848915 w 3217388"/>
                <a:gd name="connsiteY58" fmla="*/ 564188 h 1177883"/>
                <a:gd name="connsiteX59" fmla="*/ 808039 w 3217388"/>
                <a:gd name="connsiteY59" fmla="*/ 570760 h 1177883"/>
                <a:gd name="connsiteX60" fmla="*/ 718680 w 3217388"/>
                <a:gd name="connsiteY60" fmla="*/ 484749 h 1177883"/>
                <a:gd name="connsiteX61" fmla="*/ 692158 w 3217388"/>
                <a:gd name="connsiteY61" fmla="*/ 481511 h 1177883"/>
                <a:gd name="connsiteX62" fmla="*/ 624759 w 3217388"/>
                <a:gd name="connsiteY62" fmla="*/ 514182 h 1177883"/>
                <a:gd name="connsiteX63" fmla="*/ 612211 w 3217388"/>
                <a:gd name="connsiteY63" fmla="*/ 626291 h 1177883"/>
                <a:gd name="connsiteX64" fmla="*/ 684933 w 3217388"/>
                <a:gd name="connsiteY64" fmla="*/ 671058 h 1177883"/>
                <a:gd name="connsiteX65" fmla="*/ 788076 w 3217388"/>
                <a:gd name="connsiteY65" fmla="*/ 630006 h 1177883"/>
                <a:gd name="connsiteX66" fmla="*/ 807943 w 3217388"/>
                <a:gd name="connsiteY66" fmla="*/ 570665 h 1177883"/>
                <a:gd name="connsiteX67" fmla="*/ 893024 w 3217388"/>
                <a:gd name="connsiteY67" fmla="*/ 502656 h 1177883"/>
                <a:gd name="connsiteX68" fmla="*/ 838173 w 3217388"/>
                <a:gd name="connsiteY68" fmla="*/ 782977 h 1177883"/>
                <a:gd name="connsiteX69" fmla="*/ 677043 w 3217388"/>
                <a:gd name="connsiteY69" fmla="*/ 846414 h 1177883"/>
                <a:gd name="connsiteX70" fmla="*/ 622097 w 3217388"/>
                <a:gd name="connsiteY70" fmla="*/ 840508 h 1177883"/>
                <a:gd name="connsiteX71" fmla="*/ 418569 w 3217388"/>
                <a:gd name="connsiteY71" fmla="*/ 675059 h 1177883"/>
                <a:gd name="connsiteX72" fmla="*/ 419710 w 3217388"/>
                <a:gd name="connsiteY72" fmla="*/ 475224 h 1177883"/>
                <a:gd name="connsiteX73" fmla="*/ 569147 w 3217388"/>
                <a:gd name="connsiteY73" fmla="*/ 334254 h 1177883"/>
                <a:gd name="connsiteX74" fmla="*/ 753663 w 3217388"/>
                <a:gd name="connsiteY74" fmla="*/ 342922 h 1177883"/>
                <a:gd name="connsiteX75" fmla="*/ 893024 w 3217388"/>
                <a:gd name="connsiteY75" fmla="*/ 502561 h 1177883"/>
                <a:gd name="connsiteX76" fmla="*/ 880381 w 3217388"/>
                <a:gd name="connsiteY76" fmla="*/ 507323 h 1177883"/>
                <a:gd name="connsiteX77" fmla="*/ 880381 w 3217388"/>
                <a:gd name="connsiteY77" fmla="*/ 507323 h 1177883"/>
                <a:gd name="connsiteX78" fmla="*/ 670198 w 3217388"/>
                <a:gd name="connsiteY78" fmla="*/ 370449 h 1177883"/>
                <a:gd name="connsiteX79" fmla="*/ 669153 w 3217388"/>
                <a:gd name="connsiteY79" fmla="*/ 370449 h 1177883"/>
                <a:gd name="connsiteX80" fmla="*/ 485588 w 3217388"/>
                <a:gd name="connsiteY80" fmla="*/ 460746 h 1177883"/>
                <a:gd name="connsiteX81" fmla="*/ 448704 w 3217388"/>
                <a:gd name="connsiteY81" fmla="*/ 664391 h 1177883"/>
                <a:gd name="connsiteX82" fmla="*/ 557170 w 3217388"/>
                <a:gd name="connsiteY82" fmla="*/ 793264 h 1177883"/>
                <a:gd name="connsiteX83" fmla="*/ 734270 w 3217388"/>
                <a:gd name="connsiteY83" fmla="*/ 794121 h 1177883"/>
                <a:gd name="connsiteX84" fmla="*/ 880381 w 3217388"/>
                <a:gd name="connsiteY84" fmla="*/ 507419 h 1177883"/>
                <a:gd name="connsiteX85" fmla="*/ 634645 w 3217388"/>
                <a:gd name="connsiteY85" fmla="*/ 996051 h 1177883"/>
                <a:gd name="connsiteX86" fmla="*/ 488535 w 3217388"/>
                <a:gd name="connsiteY86" fmla="*/ 966524 h 1177883"/>
                <a:gd name="connsiteX87" fmla="*/ 255062 w 3217388"/>
                <a:gd name="connsiteY87" fmla="*/ 426742 h 1177883"/>
                <a:gd name="connsiteX88" fmla="*/ 580460 w 3217388"/>
                <a:gd name="connsiteY88" fmla="*/ 157280 h 1177883"/>
                <a:gd name="connsiteX89" fmla="*/ 969359 w 3217388"/>
                <a:gd name="connsiteY89" fmla="*/ 317490 h 1177883"/>
                <a:gd name="connsiteX90" fmla="*/ 1014704 w 3217388"/>
                <a:gd name="connsiteY90" fmla="*/ 721255 h 1177883"/>
                <a:gd name="connsiteX91" fmla="*/ 785129 w 3217388"/>
                <a:gd name="connsiteY91" fmla="*/ 964714 h 1177883"/>
                <a:gd name="connsiteX92" fmla="*/ 634645 w 3217388"/>
                <a:gd name="connsiteY92" fmla="*/ 996051 h 1177883"/>
                <a:gd name="connsiteX93" fmla="*/ 1002631 w 3217388"/>
                <a:gd name="connsiteY93" fmla="*/ 716493 h 1177883"/>
                <a:gd name="connsiteX94" fmla="*/ 945593 w 3217388"/>
                <a:gd name="connsiteY94" fmla="*/ 359496 h 1177883"/>
                <a:gd name="connsiteX95" fmla="*/ 637212 w 3217388"/>
                <a:gd name="connsiteY95" fmla="*/ 204333 h 1177883"/>
                <a:gd name="connsiteX96" fmla="*/ 590156 w 3217388"/>
                <a:gd name="connsiteY96" fmla="*/ 207191 h 1177883"/>
                <a:gd name="connsiteX97" fmla="*/ 284151 w 3217388"/>
                <a:gd name="connsiteY97" fmla="*/ 438077 h 1177883"/>
                <a:gd name="connsiteX98" fmla="*/ 376456 w 3217388"/>
                <a:gd name="connsiteY98" fmla="*/ 851748 h 1177883"/>
                <a:gd name="connsiteX99" fmla="*/ 744632 w 3217388"/>
                <a:gd name="connsiteY99" fmla="*/ 937568 h 1177883"/>
                <a:gd name="connsiteX100" fmla="*/ 1002536 w 3217388"/>
                <a:gd name="connsiteY100" fmla="*/ 716493 h 1177883"/>
                <a:gd name="connsiteX101" fmla="*/ 1002536 w 3217388"/>
                <a:gd name="connsiteY101" fmla="*/ 716493 h 1177883"/>
                <a:gd name="connsiteX102" fmla="*/ 43834 w 3217388"/>
                <a:gd name="connsiteY102" fmla="*/ 569617 h 1177883"/>
                <a:gd name="connsiteX103" fmla="*/ 240328 w 3217388"/>
                <a:gd name="connsiteY103" fmla="*/ 192998 h 1177883"/>
                <a:gd name="connsiteX104" fmla="*/ 636451 w 3217388"/>
                <a:gd name="connsiteY104" fmla="*/ 44408 h 1177883"/>
                <a:gd name="connsiteX105" fmla="*/ 1012897 w 3217388"/>
                <a:gd name="connsiteY105" fmla="*/ 220240 h 1177883"/>
                <a:gd name="connsiteX106" fmla="*/ 1019742 w 3217388"/>
                <a:gd name="connsiteY106" fmla="*/ 223955 h 1177883"/>
                <a:gd name="connsiteX107" fmla="*/ 1027537 w 3217388"/>
                <a:gd name="connsiteY107" fmla="*/ 221288 h 1177883"/>
                <a:gd name="connsiteX108" fmla="*/ 1030674 w 3217388"/>
                <a:gd name="connsiteY108" fmla="*/ 213668 h 1177883"/>
                <a:gd name="connsiteX109" fmla="*/ 1027822 w 3217388"/>
                <a:gd name="connsiteY109" fmla="*/ 206905 h 1177883"/>
                <a:gd name="connsiteX110" fmla="*/ 565345 w 3217388"/>
                <a:gd name="connsiteY110" fmla="*/ 212 h 1177883"/>
                <a:gd name="connsiteX111" fmla="*/ 119504 w 3217388"/>
                <a:gd name="connsiteY111" fmla="*/ 229765 h 1177883"/>
                <a:gd name="connsiteX112" fmla="*/ 148402 w 3217388"/>
                <a:gd name="connsiteY112" fmla="*/ 978049 h 1177883"/>
                <a:gd name="connsiteX113" fmla="*/ 152775 w 3217388"/>
                <a:gd name="connsiteY113" fmla="*/ 982907 h 1177883"/>
                <a:gd name="connsiteX114" fmla="*/ 155057 w 3217388"/>
                <a:gd name="connsiteY114" fmla="*/ 985383 h 1177883"/>
                <a:gd name="connsiteX115" fmla="*/ 156198 w 3217388"/>
                <a:gd name="connsiteY115" fmla="*/ 986050 h 1177883"/>
                <a:gd name="connsiteX116" fmla="*/ 162852 w 3217388"/>
                <a:gd name="connsiteY116" fmla="*/ 987860 h 1177883"/>
                <a:gd name="connsiteX117" fmla="*/ 166464 w 3217388"/>
                <a:gd name="connsiteY117" fmla="*/ 987384 h 1177883"/>
                <a:gd name="connsiteX118" fmla="*/ 173974 w 3217388"/>
                <a:gd name="connsiteY118" fmla="*/ 981383 h 1177883"/>
                <a:gd name="connsiteX119" fmla="*/ 172168 w 3217388"/>
                <a:gd name="connsiteY119" fmla="*/ 967191 h 1177883"/>
                <a:gd name="connsiteX120" fmla="*/ 43929 w 3217388"/>
                <a:gd name="connsiteY120" fmla="*/ 569712 h 1177883"/>
                <a:gd name="connsiteX121" fmla="*/ 1172032 w 3217388"/>
                <a:gd name="connsiteY121" fmla="*/ 561997 h 1177883"/>
                <a:gd name="connsiteX122" fmla="*/ 1171651 w 3217388"/>
                <a:gd name="connsiteY122" fmla="*/ 559902 h 1177883"/>
                <a:gd name="connsiteX123" fmla="*/ 1159578 w 3217388"/>
                <a:gd name="connsiteY123" fmla="*/ 550853 h 1177883"/>
                <a:gd name="connsiteX124" fmla="*/ 1150738 w 3217388"/>
                <a:gd name="connsiteY124" fmla="*/ 555520 h 1177883"/>
                <a:gd name="connsiteX125" fmla="*/ 1148076 w 3217388"/>
                <a:gd name="connsiteY125" fmla="*/ 565521 h 1177883"/>
                <a:gd name="connsiteX126" fmla="*/ 1074403 w 3217388"/>
                <a:gd name="connsiteY126" fmla="*/ 861939 h 1177883"/>
                <a:gd name="connsiteX127" fmla="*/ 621241 w 3217388"/>
                <a:gd name="connsiteY127" fmla="*/ 1150642 h 1177883"/>
                <a:gd name="connsiteX128" fmla="*/ 609169 w 3217388"/>
                <a:gd name="connsiteY128" fmla="*/ 1165692 h 1177883"/>
                <a:gd name="connsiteX129" fmla="*/ 620481 w 3217388"/>
                <a:gd name="connsiteY129" fmla="*/ 1177693 h 1177883"/>
                <a:gd name="connsiteX130" fmla="*/ 621432 w 3217388"/>
                <a:gd name="connsiteY130" fmla="*/ 1177884 h 1177883"/>
                <a:gd name="connsiteX131" fmla="*/ 622382 w 3217388"/>
                <a:gd name="connsiteY131" fmla="*/ 1177884 h 1177883"/>
                <a:gd name="connsiteX132" fmla="*/ 664685 w 3217388"/>
                <a:gd name="connsiteY132" fmla="*/ 1174264 h 1177883"/>
                <a:gd name="connsiteX133" fmla="*/ 1045599 w 3217388"/>
                <a:gd name="connsiteY133" fmla="*/ 963285 h 1177883"/>
                <a:gd name="connsiteX134" fmla="*/ 1172032 w 3217388"/>
                <a:gd name="connsiteY134" fmla="*/ 561997 h 1177883"/>
                <a:gd name="connsiteX135" fmla="*/ 1170130 w 3217388"/>
                <a:gd name="connsiteY135" fmla="*/ 489226 h 1177883"/>
                <a:gd name="connsiteX136" fmla="*/ 1142657 w 3217388"/>
                <a:gd name="connsiteY136" fmla="*/ 363591 h 1177883"/>
                <a:gd name="connsiteX137" fmla="*/ 1115565 w 3217388"/>
                <a:gd name="connsiteY137" fmla="*/ 352923 h 1177883"/>
                <a:gd name="connsiteX138" fmla="*/ 1114804 w 3217388"/>
                <a:gd name="connsiteY138" fmla="*/ 389975 h 1177883"/>
                <a:gd name="connsiteX139" fmla="*/ 1145414 w 3217388"/>
                <a:gd name="connsiteY139" fmla="*/ 486559 h 1177883"/>
                <a:gd name="connsiteX140" fmla="*/ 1158913 w 3217388"/>
                <a:gd name="connsiteY140" fmla="*/ 501418 h 1177883"/>
                <a:gd name="connsiteX141" fmla="*/ 1170130 w 3217388"/>
                <a:gd name="connsiteY141" fmla="*/ 489321 h 117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217388" h="1177883">
                  <a:moveTo>
                    <a:pt x="1527089" y="295107"/>
                  </a:moveTo>
                  <a:lnTo>
                    <a:pt x="1705520" y="295107"/>
                  </a:lnTo>
                  <a:lnTo>
                    <a:pt x="1705520" y="947283"/>
                  </a:lnTo>
                  <a:lnTo>
                    <a:pt x="1527089" y="947283"/>
                  </a:lnTo>
                  <a:lnTo>
                    <a:pt x="1527089" y="295107"/>
                  </a:lnTo>
                  <a:close/>
                  <a:moveTo>
                    <a:pt x="2318481" y="4403"/>
                  </a:moveTo>
                  <a:lnTo>
                    <a:pt x="2318481" y="386070"/>
                  </a:lnTo>
                  <a:cubicBezTo>
                    <a:pt x="2295095" y="345779"/>
                    <a:pt x="2216669" y="274533"/>
                    <a:pt x="2100884" y="274533"/>
                  </a:cubicBezTo>
                  <a:cubicBezTo>
                    <a:pt x="2046888" y="274533"/>
                    <a:pt x="1991182" y="289296"/>
                    <a:pt x="1939848" y="318919"/>
                  </a:cubicBezTo>
                  <a:cubicBezTo>
                    <a:pt x="1888515" y="348542"/>
                    <a:pt x="1848494" y="389499"/>
                    <a:pt x="1819785" y="441792"/>
                  </a:cubicBezTo>
                  <a:cubicBezTo>
                    <a:pt x="1791076" y="494084"/>
                    <a:pt x="1776817" y="553710"/>
                    <a:pt x="1776817" y="620576"/>
                  </a:cubicBezTo>
                  <a:cubicBezTo>
                    <a:pt x="1776817" y="687441"/>
                    <a:pt x="1791171" y="747258"/>
                    <a:pt x="1819785" y="800027"/>
                  </a:cubicBezTo>
                  <a:cubicBezTo>
                    <a:pt x="1848399" y="852795"/>
                    <a:pt x="1888705" y="893753"/>
                    <a:pt x="1940419" y="922899"/>
                  </a:cubicBezTo>
                  <a:cubicBezTo>
                    <a:pt x="1992228" y="952046"/>
                    <a:pt x="2048409" y="966619"/>
                    <a:pt x="2111816" y="966619"/>
                  </a:cubicBezTo>
                  <a:cubicBezTo>
                    <a:pt x="2223704" y="966619"/>
                    <a:pt x="2302605" y="899182"/>
                    <a:pt x="2318481" y="864606"/>
                  </a:cubicBezTo>
                  <a:lnTo>
                    <a:pt x="2318481" y="947283"/>
                  </a:lnTo>
                  <a:cubicBezTo>
                    <a:pt x="2318481" y="947283"/>
                    <a:pt x="2496913" y="947283"/>
                    <a:pt x="2496913" y="947283"/>
                  </a:cubicBezTo>
                  <a:lnTo>
                    <a:pt x="2496913" y="4403"/>
                  </a:lnTo>
                  <a:lnTo>
                    <a:pt x="2318481" y="4403"/>
                  </a:lnTo>
                  <a:close/>
                  <a:moveTo>
                    <a:pt x="2146323" y="813648"/>
                  </a:moveTo>
                  <a:cubicBezTo>
                    <a:pt x="2030633" y="813648"/>
                    <a:pt x="1957815" y="728304"/>
                    <a:pt x="1957815" y="620576"/>
                  </a:cubicBezTo>
                  <a:cubicBezTo>
                    <a:pt x="1957815" y="512848"/>
                    <a:pt x="2030252" y="427504"/>
                    <a:pt x="2146323" y="427504"/>
                  </a:cubicBezTo>
                  <a:cubicBezTo>
                    <a:pt x="2262394" y="427504"/>
                    <a:pt x="2334832" y="512848"/>
                    <a:pt x="2334832" y="620576"/>
                  </a:cubicBezTo>
                  <a:cubicBezTo>
                    <a:pt x="2334832" y="728304"/>
                    <a:pt x="2260398" y="813648"/>
                    <a:pt x="2146323" y="813648"/>
                  </a:cubicBezTo>
                  <a:close/>
                  <a:moveTo>
                    <a:pt x="3186113" y="403787"/>
                  </a:moveTo>
                  <a:cubicBezTo>
                    <a:pt x="3165104" y="361305"/>
                    <a:pt x="3135635" y="329206"/>
                    <a:pt x="3097515" y="307298"/>
                  </a:cubicBezTo>
                  <a:cubicBezTo>
                    <a:pt x="3059395" y="285391"/>
                    <a:pt x="3013480" y="274533"/>
                    <a:pt x="2959485" y="274533"/>
                  </a:cubicBezTo>
                  <a:cubicBezTo>
                    <a:pt x="2848832" y="274533"/>
                    <a:pt x="2777441" y="350351"/>
                    <a:pt x="2759189" y="385975"/>
                  </a:cubicBezTo>
                  <a:lnTo>
                    <a:pt x="2759189" y="4403"/>
                  </a:lnTo>
                  <a:lnTo>
                    <a:pt x="2580567" y="4403"/>
                  </a:lnTo>
                  <a:lnTo>
                    <a:pt x="2580567" y="947283"/>
                  </a:lnTo>
                  <a:lnTo>
                    <a:pt x="2759094" y="947283"/>
                  </a:lnTo>
                  <a:lnTo>
                    <a:pt x="2759094" y="598097"/>
                  </a:lnTo>
                  <a:cubicBezTo>
                    <a:pt x="2759094" y="495227"/>
                    <a:pt x="2816987" y="429219"/>
                    <a:pt x="2902162" y="429219"/>
                  </a:cubicBezTo>
                  <a:cubicBezTo>
                    <a:pt x="2947792" y="429219"/>
                    <a:pt x="3038957" y="462175"/>
                    <a:pt x="3038957" y="598097"/>
                  </a:cubicBezTo>
                  <a:lnTo>
                    <a:pt x="3038957" y="947283"/>
                  </a:lnTo>
                  <a:lnTo>
                    <a:pt x="3217388" y="947283"/>
                  </a:lnTo>
                  <a:lnTo>
                    <a:pt x="3217388" y="560092"/>
                  </a:lnTo>
                  <a:cubicBezTo>
                    <a:pt x="3217388" y="498370"/>
                    <a:pt x="3206932" y="446268"/>
                    <a:pt x="3185923" y="403787"/>
                  </a:cubicBezTo>
                  <a:close/>
                  <a:moveTo>
                    <a:pt x="1731282" y="100701"/>
                  </a:moveTo>
                  <a:cubicBezTo>
                    <a:pt x="1740503" y="166900"/>
                    <a:pt x="1673104" y="211667"/>
                    <a:pt x="1615972" y="216906"/>
                  </a:cubicBezTo>
                  <a:cubicBezTo>
                    <a:pt x="1570342" y="223193"/>
                    <a:pt x="1522621" y="204333"/>
                    <a:pt x="1507221" y="156803"/>
                  </a:cubicBezTo>
                  <a:cubicBezTo>
                    <a:pt x="1489539" y="102987"/>
                    <a:pt x="1506555" y="32978"/>
                    <a:pt x="1560836" y="8499"/>
                  </a:cubicBezTo>
                  <a:cubicBezTo>
                    <a:pt x="1627474" y="-20266"/>
                    <a:pt x="1718163" y="27359"/>
                    <a:pt x="1731187" y="100606"/>
                  </a:cubicBezTo>
                  <a:lnTo>
                    <a:pt x="1731187" y="100606"/>
                  </a:lnTo>
                  <a:close/>
                  <a:moveTo>
                    <a:pt x="243274" y="1020912"/>
                  </a:moveTo>
                  <a:cubicBezTo>
                    <a:pt x="251735" y="1025864"/>
                    <a:pt x="257819" y="1034437"/>
                    <a:pt x="250974" y="1046439"/>
                  </a:cubicBezTo>
                  <a:cubicBezTo>
                    <a:pt x="244130" y="1058440"/>
                    <a:pt x="225213" y="1053297"/>
                    <a:pt x="217798" y="1047010"/>
                  </a:cubicBezTo>
                  <a:cubicBezTo>
                    <a:pt x="206961" y="1037771"/>
                    <a:pt x="194793" y="1016816"/>
                    <a:pt x="198975" y="1012625"/>
                  </a:cubicBezTo>
                  <a:cubicBezTo>
                    <a:pt x="203158" y="1008434"/>
                    <a:pt x="234814" y="1015959"/>
                    <a:pt x="243274" y="1020912"/>
                  </a:cubicBezTo>
                  <a:close/>
                  <a:moveTo>
                    <a:pt x="848820" y="564283"/>
                  </a:moveTo>
                  <a:cubicBezTo>
                    <a:pt x="853383" y="594382"/>
                    <a:pt x="845588" y="624100"/>
                    <a:pt x="826290" y="650103"/>
                  </a:cubicBezTo>
                  <a:cubicBezTo>
                    <a:pt x="800814" y="684489"/>
                    <a:pt x="757085" y="709825"/>
                    <a:pt x="712121" y="716302"/>
                  </a:cubicBezTo>
                  <a:cubicBezTo>
                    <a:pt x="702900" y="718302"/>
                    <a:pt x="693299" y="719255"/>
                    <a:pt x="683507" y="719255"/>
                  </a:cubicBezTo>
                  <a:cubicBezTo>
                    <a:pt x="635406" y="719255"/>
                    <a:pt x="583692" y="695157"/>
                    <a:pt x="564489" y="646103"/>
                  </a:cubicBezTo>
                  <a:cubicBezTo>
                    <a:pt x="536161" y="577332"/>
                    <a:pt x="556219" y="480558"/>
                    <a:pt x="631223" y="446173"/>
                  </a:cubicBezTo>
                  <a:cubicBezTo>
                    <a:pt x="672955" y="428361"/>
                    <a:pt x="721912" y="431504"/>
                    <a:pt x="765451" y="454841"/>
                  </a:cubicBezTo>
                  <a:cubicBezTo>
                    <a:pt x="809750" y="478558"/>
                    <a:pt x="840170" y="518372"/>
                    <a:pt x="848915" y="563997"/>
                  </a:cubicBezTo>
                  <a:lnTo>
                    <a:pt x="848915" y="564188"/>
                  </a:lnTo>
                  <a:close/>
                  <a:moveTo>
                    <a:pt x="808039" y="570760"/>
                  </a:moveTo>
                  <a:cubicBezTo>
                    <a:pt x="801004" y="531041"/>
                    <a:pt x="764215" y="495703"/>
                    <a:pt x="718680" y="484749"/>
                  </a:cubicBezTo>
                  <a:cubicBezTo>
                    <a:pt x="709554" y="482559"/>
                    <a:pt x="700713" y="481511"/>
                    <a:pt x="692158" y="481511"/>
                  </a:cubicBezTo>
                  <a:cubicBezTo>
                    <a:pt x="664590" y="481511"/>
                    <a:pt x="640824" y="492846"/>
                    <a:pt x="624759" y="514182"/>
                  </a:cubicBezTo>
                  <a:cubicBezTo>
                    <a:pt x="603180" y="543423"/>
                    <a:pt x="598046" y="589620"/>
                    <a:pt x="612211" y="626291"/>
                  </a:cubicBezTo>
                  <a:cubicBezTo>
                    <a:pt x="622477" y="652961"/>
                    <a:pt x="650996" y="670487"/>
                    <a:pt x="684933" y="671058"/>
                  </a:cubicBezTo>
                  <a:cubicBezTo>
                    <a:pt x="723243" y="672201"/>
                    <a:pt x="764785" y="655628"/>
                    <a:pt x="788076" y="630006"/>
                  </a:cubicBezTo>
                  <a:cubicBezTo>
                    <a:pt x="803666" y="612956"/>
                    <a:pt x="810510" y="592382"/>
                    <a:pt x="807943" y="570665"/>
                  </a:cubicBezTo>
                  <a:close/>
                  <a:moveTo>
                    <a:pt x="893024" y="502656"/>
                  </a:moveTo>
                  <a:cubicBezTo>
                    <a:pt x="924014" y="587715"/>
                    <a:pt x="919166" y="707444"/>
                    <a:pt x="838173" y="782977"/>
                  </a:cubicBezTo>
                  <a:cubicBezTo>
                    <a:pt x="794730" y="824411"/>
                    <a:pt x="737883" y="846414"/>
                    <a:pt x="677043" y="846414"/>
                  </a:cubicBezTo>
                  <a:cubicBezTo>
                    <a:pt x="658981" y="846414"/>
                    <a:pt x="640634" y="844509"/>
                    <a:pt x="622097" y="840508"/>
                  </a:cubicBezTo>
                  <a:cubicBezTo>
                    <a:pt x="530742" y="821172"/>
                    <a:pt x="452791" y="757736"/>
                    <a:pt x="418569" y="675059"/>
                  </a:cubicBezTo>
                  <a:cubicBezTo>
                    <a:pt x="391096" y="613241"/>
                    <a:pt x="391476" y="540375"/>
                    <a:pt x="419710" y="475224"/>
                  </a:cubicBezTo>
                  <a:cubicBezTo>
                    <a:pt x="448609" y="408454"/>
                    <a:pt x="503079" y="357019"/>
                    <a:pt x="569147" y="334254"/>
                  </a:cubicBezTo>
                  <a:cubicBezTo>
                    <a:pt x="631413" y="311966"/>
                    <a:pt x="695200" y="315014"/>
                    <a:pt x="753663" y="342922"/>
                  </a:cubicBezTo>
                  <a:cubicBezTo>
                    <a:pt x="817165" y="373307"/>
                    <a:pt x="867928" y="431409"/>
                    <a:pt x="893024" y="502561"/>
                  </a:cubicBezTo>
                  <a:close/>
                  <a:moveTo>
                    <a:pt x="880381" y="507323"/>
                  </a:moveTo>
                  <a:lnTo>
                    <a:pt x="880381" y="507323"/>
                  </a:lnTo>
                  <a:cubicBezTo>
                    <a:pt x="851957" y="425885"/>
                    <a:pt x="765356" y="369497"/>
                    <a:pt x="670198" y="370449"/>
                  </a:cubicBezTo>
                  <a:cubicBezTo>
                    <a:pt x="669818" y="370449"/>
                    <a:pt x="669533" y="370449"/>
                    <a:pt x="669153" y="370449"/>
                  </a:cubicBezTo>
                  <a:cubicBezTo>
                    <a:pt x="595765" y="370449"/>
                    <a:pt x="528936" y="403311"/>
                    <a:pt x="485588" y="460746"/>
                  </a:cubicBezTo>
                  <a:cubicBezTo>
                    <a:pt x="441859" y="518658"/>
                    <a:pt x="428360" y="592858"/>
                    <a:pt x="448704" y="664391"/>
                  </a:cubicBezTo>
                  <a:cubicBezTo>
                    <a:pt x="465720" y="722493"/>
                    <a:pt x="504220" y="768309"/>
                    <a:pt x="557170" y="793264"/>
                  </a:cubicBezTo>
                  <a:cubicBezTo>
                    <a:pt x="611735" y="818982"/>
                    <a:pt x="676378" y="819267"/>
                    <a:pt x="734270" y="794121"/>
                  </a:cubicBezTo>
                  <a:cubicBezTo>
                    <a:pt x="839029" y="752307"/>
                    <a:pt x="924680" y="624291"/>
                    <a:pt x="880381" y="507419"/>
                  </a:cubicBezTo>
                  <a:close/>
                  <a:moveTo>
                    <a:pt x="634645" y="996051"/>
                  </a:moveTo>
                  <a:cubicBezTo>
                    <a:pt x="585118" y="996051"/>
                    <a:pt x="535686" y="986241"/>
                    <a:pt x="488535" y="966524"/>
                  </a:cubicBezTo>
                  <a:cubicBezTo>
                    <a:pt x="287383" y="883371"/>
                    <a:pt x="180438" y="636197"/>
                    <a:pt x="255062" y="426742"/>
                  </a:cubicBezTo>
                  <a:cubicBezTo>
                    <a:pt x="305065" y="281391"/>
                    <a:pt x="426744" y="180616"/>
                    <a:pt x="580460" y="157280"/>
                  </a:cubicBezTo>
                  <a:cubicBezTo>
                    <a:pt x="733605" y="134039"/>
                    <a:pt x="878955" y="193856"/>
                    <a:pt x="969359" y="317490"/>
                  </a:cubicBezTo>
                  <a:cubicBezTo>
                    <a:pt x="1049972" y="427790"/>
                    <a:pt x="1067748" y="586286"/>
                    <a:pt x="1014704" y="721255"/>
                  </a:cubicBezTo>
                  <a:cubicBezTo>
                    <a:pt x="972876" y="831078"/>
                    <a:pt x="889127" y="919851"/>
                    <a:pt x="785129" y="964714"/>
                  </a:cubicBezTo>
                  <a:cubicBezTo>
                    <a:pt x="736647" y="985574"/>
                    <a:pt x="685599" y="996051"/>
                    <a:pt x="634645" y="996051"/>
                  </a:cubicBezTo>
                  <a:close/>
                  <a:moveTo>
                    <a:pt x="1002631" y="716493"/>
                  </a:moveTo>
                  <a:cubicBezTo>
                    <a:pt x="1047975" y="601907"/>
                    <a:pt x="1025541" y="461794"/>
                    <a:pt x="945593" y="359496"/>
                  </a:cubicBezTo>
                  <a:cubicBezTo>
                    <a:pt x="870019" y="260340"/>
                    <a:pt x="757180" y="204333"/>
                    <a:pt x="637212" y="204333"/>
                  </a:cubicBezTo>
                  <a:cubicBezTo>
                    <a:pt x="621622" y="204333"/>
                    <a:pt x="605937" y="205286"/>
                    <a:pt x="590156" y="207191"/>
                  </a:cubicBezTo>
                  <a:cubicBezTo>
                    <a:pt x="454407" y="223669"/>
                    <a:pt x="339953" y="309966"/>
                    <a:pt x="284151" y="438077"/>
                  </a:cubicBezTo>
                  <a:cubicBezTo>
                    <a:pt x="221410" y="578952"/>
                    <a:pt x="260196" y="752878"/>
                    <a:pt x="376456" y="851748"/>
                  </a:cubicBezTo>
                  <a:cubicBezTo>
                    <a:pt x="472089" y="937187"/>
                    <a:pt x="613066" y="970048"/>
                    <a:pt x="744632" y="937568"/>
                  </a:cubicBezTo>
                  <a:cubicBezTo>
                    <a:pt x="866882" y="907469"/>
                    <a:pt x="960898" y="826887"/>
                    <a:pt x="1002536" y="716493"/>
                  </a:cubicBezTo>
                  <a:lnTo>
                    <a:pt x="1002536" y="716493"/>
                  </a:lnTo>
                  <a:close/>
                  <a:moveTo>
                    <a:pt x="43834" y="569617"/>
                  </a:moveTo>
                  <a:cubicBezTo>
                    <a:pt x="57713" y="426551"/>
                    <a:pt x="127584" y="292725"/>
                    <a:pt x="240328" y="192998"/>
                  </a:cubicBezTo>
                  <a:cubicBezTo>
                    <a:pt x="352881" y="93462"/>
                    <a:pt x="493478" y="40598"/>
                    <a:pt x="636451" y="44408"/>
                  </a:cubicBezTo>
                  <a:cubicBezTo>
                    <a:pt x="781516" y="48218"/>
                    <a:pt x="915174" y="110607"/>
                    <a:pt x="1012897" y="220240"/>
                  </a:cubicBezTo>
                  <a:cubicBezTo>
                    <a:pt x="1014609" y="222335"/>
                    <a:pt x="1017080" y="223669"/>
                    <a:pt x="1019742" y="223955"/>
                  </a:cubicBezTo>
                  <a:cubicBezTo>
                    <a:pt x="1022594" y="224241"/>
                    <a:pt x="1025541" y="223288"/>
                    <a:pt x="1027537" y="221288"/>
                  </a:cubicBezTo>
                  <a:cubicBezTo>
                    <a:pt x="1029628" y="219383"/>
                    <a:pt x="1030769" y="216525"/>
                    <a:pt x="1030674" y="213668"/>
                  </a:cubicBezTo>
                  <a:cubicBezTo>
                    <a:pt x="1030674" y="211096"/>
                    <a:pt x="1029533" y="208715"/>
                    <a:pt x="1027822" y="206905"/>
                  </a:cubicBezTo>
                  <a:cubicBezTo>
                    <a:pt x="912512" y="70888"/>
                    <a:pt x="743967" y="-4264"/>
                    <a:pt x="565345" y="212"/>
                  </a:cubicBezTo>
                  <a:cubicBezTo>
                    <a:pt x="389765" y="4784"/>
                    <a:pt x="227304" y="88414"/>
                    <a:pt x="119504" y="229765"/>
                  </a:cubicBezTo>
                  <a:cubicBezTo>
                    <a:pt x="-50277" y="450459"/>
                    <a:pt x="-37824" y="772214"/>
                    <a:pt x="148402" y="978049"/>
                  </a:cubicBezTo>
                  <a:cubicBezTo>
                    <a:pt x="149828" y="979668"/>
                    <a:pt x="151349" y="981287"/>
                    <a:pt x="152775" y="982907"/>
                  </a:cubicBezTo>
                  <a:lnTo>
                    <a:pt x="155057" y="985383"/>
                  </a:lnTo>
                  <a:lnTo>
                    <a:pt x="156198" y="986050"/>
                  </a:lnTo>
                  <a:cubicBezTo>
                    <a:pt x="158194" y="987193"/>
                    <a:pt x="160570" y="987860"/>
                    <a:pt x="162852" y="987860"/>
                  </a:cubicBezTo>
                  <a:cubicBezTo>
                    <a:pt x="164088" y="987860"/>
                    <a:pt x="165228" y="987669"/>
                    <a:pt x="166464" y="987384"/>
                  </a:cubicBezTo>
                  <a:cubicBezTo>
                    <a:pt x="169696" y="986431"/>
                    <a:pt x="172453" y="984240"/>
                    <a:pt x="173974" y="981383"/>
                  </a:cubicBezTo>
                  <a:cubicBezTo>
                    <a:pt x="176351" y="976906"/>
                    <a:pt x="175685" y="971477"/>
                    <a:pt x="172168" y="967191"/>
                  </a:cubicBezTo>
                  <a:cubicBezTo>
                    <a:pt x="75300" y="856129"/>
                    <a:pt x="29765" y="714968"/>
                    <a:pt x="43929" y="569712"/>
                  </a:cubicBezTo>
                  <a:close/>
                  <a:moveTo>
                    <a:pt x="1172032" y="561997"/>
                  </a:moveTo>
                  <a:lnTo>
                    <a:pt x="1171651" y="559902"/>
                  </a:lnTo>
                  <a:cubicBezTo>
                    <a:pt x="1169940" y="554377"/>
                    <a:pt x="1164997" y="550567"/>
                    <a:pt x="1159578" y="550853"/>
                  </a:cubicBezTo>
                  <a:cubicBezTo>
                    <a:pt x="1156156" y="550948"/>
                    <a:pt x="1152924" y="552663"/>
                    <a:pt x="1150738" y="555520"/>
                  </a:cubicBezTo>
                  <a:cubicBezTo>
                    <a:pt x="1148551" y="558378"/>
                    <a:pt x="1147601" y="561902"/>
                    <a:pt x="1148076" y="565521"/>
                  </a:cubicBezTo>
                  <a:cubicBezTo>
                    <a:pt x="1151118" y="670677"/>
                    <a:pt x="1125641" y="773166"/>
                    <a:pt x="1074403" y="861939"/>
                  </a:cubicBezTo>
                  <a:cubicBezTo>
                    <a:pt x="980957" y="1028532"/>
                    <a:pt x="811746" y="1136450"/>
                    <a:pt x="621241" y="1150642"/>
                  </a:cubicBezTo>
                  <a:cubicBezTo>
                    <a:pt x="613827" y="1151595"/>
                    <a:pt x="608408" y="1158357"/>
                    <a:pt x="609169" y="1165692"/>
                  </a:cubicBezTo>
                  <a:cubicBezTo>
                    <a:pt x="609834" y="1171692"/>
                    <a:pt x="614397" y="1176550"/>
                    <a:pt x="620481" y="1177693"/>
                  </a:cubicBezTo>
                  <a:lnTo>
                    <a:pt x="621432" y="1177884"/>
                  </a:lnTo>
                  <a:lnTo>
                    <a:pt x="622382" y="1177884"/>
                  </a:lnTo>
                  <a:cubicBezTo>
                    <a:pt x="636642" y="1177217"/>
                    <a:pt x="650901" y="1175979"/>
                    <a:pt x="664685" y="1174264"/>
                  </a:cubicBezTo>
                  <a:cubicBezTo>
                    <a:pt x="816689" y="1155976"/>
                    <a:pt x="951963" y="1081014"/>
                    <a:pt x="1045599" y="963285"/>
                  </a:cubicBezTo>
                  <a:cubicBezTo>
                    <a:pt x="1135813" y="849843"/>
                    <a:pt x="1180682" y="707349"/>
                    <a:pt x="1172032" y="561997"/>
                  </a:cubicBezTo>
                  <a:close/>
                  <a:moveTo>
                    <a:pt x="1170130" y="489226"/>
                  </a:moveTo>
                  <a:cubicBezTo>
                    <a:pt x="1175073" y="468938"/>
                    <a:pt x="1167849" y="393595"/>
                    <a:pt x="1142657" y="363591"/>
                  </a:cubicBezTo>
                  <a:cubicBezTo>
                    <a:pt x="1134957" y="354352"/>
                    <a:pt x="1125831" y="346732"/>
                    <a:pt x="1115565" y="352923"/>
                  </a:cubicBezTo>
                  <a:cubicBezTo>
                    <a:pt x="1101876" y="361115"/>
                    <a:pt x="1104728" y="376069"/>
                    <a:pt x="1114804" y="389975"/>
                  </a:cubicBezTo>
                  <a:cubicBezTo>
                    <a:pt x="1131725" y="413407"/>
                    <a:pt x="1144559" y="466271"/>
                    <a:pt x="1145414" y="486559"/>
                  </a:cubicBezTo>
                  <a:cubicBezTo>
                    <a:pt x="1145794" y="495322"/>
                    <a:pt x="1151783" y="501227"/>
                    <a:pt x="1158913" y="501418"/>
                  </a:cubicBezTo>
                  <a:cubicBezTo>
                    <a:pt x="1166043" y="501513"/>
                    <a:pt x="1168039" y="497894"/>
                    <a:pt x="1170130" y="489321"/>
                  </a:cubicBezTo>
                  <a:close/>
                </a:path>
              </a:pathLst>
            </a:custGeom>
            <a:grpFill/>
            <a:ln w="9497" cap="flat">
              <a:noFill/>
              <a:prstDash val="solid"/>
              <a:miter/>
            </a:ln>
          </p:spPr>
          <p:txBody>
            <a:bodyPr rtlCol="0" anchor="ctr"/>
            <a:lstStyle/>
            <a:p>
              <a:endParaRPr lang="en-GB"/>
            </a:p>
          </p:txBody>
        </p:sp>
        <p:grpSp>
          <p:nvGrpSpPr>
            <p:cNvPr id="9" name="Graphic 77">
              <a:extLst>
                <a:ext uri="{FF2B5EF4-FFF2-40B4-BE49-F238E27FC236}">
                  <a16:creationId xmlns:a16="http://schemas.microsoft.com/office/drawing/2014/main" id="{7A9F2233-0580-4D9D-E555-79AF92641D6A}"/>
                </a:ext>
              </a:extLst>
            </p:cNvPr>
            <p:cNvGrpSpPr/>
            <p:nvPr/>
          </p:nvGrpSpPr>
          <p:grpSpPr>
            <a:xfrm>
              <a:off x="6016337" y="3871817"/>
              <a:ext cx="1690870" cy="144494"/>
              <a:chOff x="6016337" y="3871817"/>
              <a:chExt cx="1690870" cy="144494"/>
            </a:xfrm>
            <a:grpFill/>
          </p:grpSpPr>
          <p:sp>
            <p:nvSpPr>
              <p:cNvPr id="31" name="Freeform 30">
                <a:extLst>
                  <a:ext uri="{FF2B5EF4-FFF2-40B4-BE49-F238E27FC236}">
                    <a16:creationId xmlns:a16="http://schemas.microsoft.com/office/drawing/2014/main" id="{5C257215-CC9E-E6C0-722F-3B99CC7211D0}"/>
                  </a:ext>
                </a:extLst>
              </p:cNvPr>
              <p:cNvSpPr/>
              <p:nvPr/>
            </p:nvSpPr>
            <p:spPr>
              <a:xfrm>
                <a:off x="6016337"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2"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GB"/>
              </a:p>
            </p:txBody>
          </p:sp>
          <p:sp>
            <p:nvSpPr>
              <p:cNvPr id="32" name="Freeform 31">
                <a:extLst>
                  <a:ext uri="{FF2B5EF4-FFF2-40B4-BE49-F238E27FC236}">
                    <a16:creationId xmlns:a16="http://schemas.microsoft.com/office/drawing/2014/main" id="{BC932338-903D-554F-54B0-D77194E87927}"/>
                  </a:ext>
                </a:extLst>
              </p:cNvPr>
              <p:cNvSpPr/>
              <p:nvPr/>
            </p:nvSpPr>
            <p:spPr>
              <a:xfrm>
                <a:off x="6086303" y="3904773"/>
                <a:ext cx="70250" cy="78295"/>
              </a:xfrm>
              <a:custGeom>
                <a:avLst/>
                <a:gdLst>
                  <a:gd name="connsiteX0" fmla="*/ 0 w 70250"/>
                  <a:gd name="connsiteY0" fmla="*/ 1238 h 78295"/>
                  <a:gd name="connsiteX1" fmla="*/ 17492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1 w 70250"/>
                  <a:gd name="connsiteY8" fmla="*/ 34004 h 78295"/>
                  <a:gd name="connsiteX9" fmla="*/ 38976 w 70250"/>
                  <a:gd name="connsiteY9" fmla="*/ 14954 h 78295"/>
                  <a:gd name="connsiteX10" fmla="*/ 17492 w 70250"/>
                  <a:gd name="connsiteY10" fmla="*/ 44577 h 78295"/>
                  <a:gd name="connsiteX11" fmla="*/ 17492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2"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1" y="37624"/>
                      <a:pt x="54281" y="34004"/>
                    </a:cubicBezTo>
                    <a:cubicBezTo>
                      <a:pt x="54281" y="21050"/>
                      <a:pt x="49337" y="14954"/>
                      <a:pt x="38976" y="14954"/>
                    </a:cubicBezTo>
                    <a:cubicBezTo>
                      <a:pt x="25762" y="14954"/>
                      <a:pt x="17492" y="26194"/>
                      <a:pt x="17492" y="44577"/>
                    </a:cubicBezTo>
                    <a:lnTo>
                      <a:pt x="17492" y="78296"/>
                    </a:lnTo>
                    <a:lnTo>
                      <a:pt x="0" y="78296"/>
                    </a:lnTo>
                    <a:lnTo>
                      <a:pt x="0" y="1238"/>
                    </a:lnTo>
                    <a:close/>
                  </a:path>
                </a:pathLst>
              </a:custGeom>
              <a:grpFill/>
              <a:ln w="9497" cap="flat">
                <a:noFill/>
                <a:prstDash val="solid"/>
                <a:miter/>
              </a:ln>
            </p:spPr>
            <p:txBody>
              <a:bodyPr rtlCol="0" anchor="ctr"/>
              <a:lstStyle/>
              <a:p>
                <a:endParaRPr lang="en-GB"/>
              </a:p>
            </p:txBody>
          </p:sp>
          <p:sp>
            <p:nvSpPr>
              <p:cNvPr id="33" name="Freeform 32">
                <a:extLst>
                  <a:ext uri="{FF2B5EF4-FFF2-40B4-BE49-F238E27FC236}">
                    <a16:creationId xmlns:a16="http://schemas.microsoft.com/office/drawing/2014/main" id="{6E5B9C21-12EE-4D43-513B-B4B0B33CE9CF}"/>
                  </a:ext>
                </a:extLst>
              </p:cNvPr>
              <p:cNvSpPr/>
              <p:nvPr/>
            </p:nvSpPr>
            <p:spPr>
              <a:xfrm>
                <a:off x="6169197" y="3904773"/>
                <a:ext cx="74909" cy="79533"/>
              </a:xfrm>
              <a:custGeom>
                <a:avLst/>
                <a:gdLst>
                  <a:gd name="connsiteX0" fmla="*/ 95 w 74909"/>
                  <a:gd name="connsiteY0" fmla="*/ 56198 h 79533"/>
                  <a:gd name="connsiteX1" fmla="*/ 28899 w 74909"/>
                  <a:gd name="connsiteY1" fmla="*/ 35243 h 79533"/>
                  <a:gd name="connsiteX2" fmla="*/ 57418 w 74909"/>
                  <a:gd name="connsiteY2" fmla="*/ 35243 h 79533"/>
                  <a:gd name="connsiteX3" fmla="*/ 57418 w 74909"/>
                  <a:gd name="connsiteY3" fmla="*/ 29813 h 79533"/>
                  <a:gd name="connsiteX4" fmla="*/ 37169 w 74909"/>
                  <a:gd name="connsiteY4" fmla="*/ 13145 h 79533"/>
                  <a:gd name="connsiteX5" fmla="*/ 18632 w 74909"/>
                  <a:gd name="connsiteY5" fmla="*/ 26289 h 79533"/>
                  <a:gd name="connsiteX6" fmla="*/ 18822 w 74909"/>
                  <a:gd name="connsiteY6" fmla="*/ 29242 h 79533"/>
                  <a:gd name="connsiteX7" fmla="*/ 2757 w 74909"/>
                  <a:gd name="connsiteY7" fmla="*/ 29242 h 79533"/>
                  <a:gd name="connsiteX8" fmla="*/ 2472 w 74909"/>
                  <a:gd name="connsiteY8" fmla="*/ 24670 h 79533"/>
                  <a:gd name="connsiteX9" fmla="*/ 37835 w 74909"/>
                  <a:gd name="connsiteY9" fmla="*/ 0 h 79533"/>
                  <a:gd name="connsiteX10" fmla="*/ 74909 w 74909"/>
                  <a:gd name="connsiteY10" fmla="*/ 31337 h 79533"/>
                  <a:gd name="connsiteX11" fmla="*/ 74909 w 74909"/>
                  <a:gd name="connsiteY11" fmla="*/ 78296 h 79533"/>
                  <a:gd name="connsiteX12" fmla="*/ 57418 w 74909"/>
                  <a:gd name="connsiteY12" fmla="*/ 78296 h 79533"/>
                  <a:gd name="connsiteX13" fmla="*/ 58178 w 74909"/>
                  <a:gd name="connsiteY13" fmla="*/ 61246 h 79533"/>
                  <a:gd name="connsiteX14" fmla="*/ 57988 w 74909"/>
                  <a:gd name="connsiteY14" fmla="*/ 61246 h 79533"/>
                  <a:gd name="connsiteX15" fmla="*/ 29279 w 74909"/>
                  <a:gd name="connsiteY15" fmla="*/ 79534 h 79533"/>
                  <a:gd name="connsiteX16" fmla="*/ 0 w 74909"/>
                  <a:gd name="connsiteY16" fmla="*/ 56102 h 79533"/>
                  <a:gd name="connsiteX17" fmla="*/ 57418 w 74909"/>
                  <a:gd name="connsiteY17" fmla="*/ 47339 h 79533"/>
                  <a:gd name="connsiteX18" fmla="*/ 57418 w 74909"/>
                  <a:gd name="connsiteY18" fmla="*/ 45910 h 79533"/>
                  <a:gd name="connsiteX19" fmla="*/ 30515 w 74909"/>
                  <a:gd name="connsiteY19" fmla="*/ 45910 h 79533"/>
                  <a:gd name="connsiteX20" fmla="*/ 16161 w 74909"/>
                  <a:gd name="connsiteY20" fmla="*/ 55435 h 79533"/>
                  <a:gd name="connsiteX21" fmla="*/ 32987 w 74909"/>
                  <a:gd name="connsiteY21" fmla="*/ 66485 h 79533"/>
                  <a:gd name="connsiteX22" fmla="*/ 57418 w 74909"/>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09" h="79533">
                    <a:moveTo>
                      <a:pt x="95" y="56198"/>
                    </a:moveTo>
                    <a:cubicBezTo>
                      <a:pt x="95" y="44482"/>
                      <a:pt x="8366" y="35243"/>
                      <a:pt x="28899" y="35243"/>
                    </a:cubicBezTo>
                    <a:lnTo>
                      <a:pt x="57418" y="35243"/>
                    </a:lnTo>
                    <a:lnTo>
                      <a:pt x="57418" y="29813"/>
                    </a:lnTo>
                    <a:cubicBezTo>
                      <a:pt x="57418" y="18288"/>
                      <a:pt x="50763" y="13145"/>
                      <a:pt x="37169" y="13145"/>
                    </a:cubicBezTo>
                    <a:cubicBezTo>
                      <a:pt x="25287" y="13145"/>
                      <a:pt x="18632" y="17717"/>
                      <a:pt x="18632" y="26289"/>
                    </a:cubicBezTo>
                    <a:cubicBezTo>
                      <a:pt x="18632" y="26765"/>
                      <a:pt x="18632" y="28004"/>
                      <a:pt x="18822" y="29242"/>
                    </a:cubicBezTo>
                    <a:lnTo>
                      <a:pt x="2757" y="29242"/>
                    </a:lnTo>
                    <a:cubicBezTo>
                      <a:pt x="2567" y="28099"/>
                      <a:pt x="2472" y="26099"/>
                      <a:pt x="2472" y="24670"/>
                    </a:cubicBezTo>
                    <a:cubicBezTo>
                      <a:pt x="2472" y="9239"/>
                      <a:pt x="15875" y="0"/>
                      <a:pt x="37835" y="0"/>
                    </a:cubicBezTo>
                    <a:cubicBezTo>
                      <a:pt x="61220" y="0"/>
                      <a:pt x="74909" y="11049"/>
                      <a:pt x="74909" y="31337"/>
                    </a:cubicBezTo>
                    <a:lnTo>
                      <a:pt x="74909" y="78296"/>
                    </a:lnTo>
                    <a:lnTo>
                      <a:pt x="57418" y="78296"/>
                    </a:lnTo>
                    <a:cubicBezTo>
                      <a:pt x="57703" y="74581"/>
                      <a:pt x="58178" y="67532"/>
                      <a:pt x="58178" y="61246"/>
                    </a:cubicBezTo>
                    <a:lnTo>
                      <a:pt x="57988" y="61246"/>
                    </a:lnTo>
                    <a:cubicBezTo>
                      <a:pt x="55516" y="72676"/>
                      <a:pt x="46295" y="79534"/>
                      <a:pt x="29279" y="79534"/>
                    </a:cubicBezTo>
                    <a:cubicBezTo>
                      <a:pt x="12263" y="79534"/>
                      <a:pt x="0" y="71152"/>
                      <a:pt x="0" y="56102"/>
                    </a:cubicBezTo>
                    <a:close/>
                    <a:moveTo>
                      <a:pt x="57418" y="47339"/>
                    </a:moveTo>
                    <a:lnTo>
                      <a:pt x="57418" y="45910"/>
                    </a:lnTo>
                    <a:lnTo>
                      <a:pt x="30515" y="45910"/>
                    </a:lnTo>
                    <a:cubicBezTo>
                      <a:pt x="20533" y="45910"/>
                      <a:pt x="16161" y="49340"/>
                      <a:pt x="16161" y="55435"/>
                    </a:cubicBezTo>
                    <a:cubicBezTo>
                      <a:pt x="16161" y="62484"/>
                      <a:pt x="22435" y="66485"/>
                      <a:pt x="32987" y="66485"/>
                    </a:cubicBezTo>
                    <a:cubicBezTo>
                      <a:pt x="48101" y="66485"/>
                      <a:pt x="57418" y="59150"/>
                      <a:pt x="57418" y="47244"/>
                    </a:cubicBezTo>
                    <a:close/>
                  </a:path>
                </a:pathLst>
              </a:custGeom>
              <a:grpFill/>
              <a:ln w="9497" cap="flat">
                <a:noFill/>
                <a:prstDash val="solid"/>
                <a:miter/>
              </a:ln>
            </p:spPr>
            <p:txBody>
              <a:bodyPr rtlCol="0" anchor="ctr"/>
              <a:lstStyle/>
              <a:p>
                <a:endParaRPr lang="en-GB"/>
              </a:p>
            </p:txBody>
          </p:sp>
          <p:sp>
            <p:nvSpPr>
              <p:cNvPr id="34" name="Freeform 33">
                <a:extLst>
                  <a:ext uri="{FF2B5EF4-FFF2-40B4-BE49-F238E27FC236}">
                    <a16:creationId xmlns:a16="http://schemas.microsoft.com/office/drawing/2014/main" id="{838FAE42-E3A6-9BD2-CBEC-824E5AD13011}"/>
                  </a:ext>
                </a:extLst>
              </p:cNvPr>
              <p:cNvSpPr/>
              <p:nvPr/>
            </p:nvSpPr>
            <p:spPr>
              <a:xfrm>
                <a:off x="6260742" y="3904773"/>
                <a:ext cx="80612" cy="78390"/>
              </a:xfrm>
              <a:custGeom>
                <a:avLst/>
                <a:gdLst>
                  <a:gd name="connsiteX0" fmla="*/ 0 w 80612"/>
                  <a:gd name="connsiteY0" fmla="*/ 1238 h 78390"/>
                  <a:gd name="connsiteX1" fmla="*/ 17491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1 w 80612"/>
                  <a:gd name="connsiteY10" fmla="*/ 41053 h 78390"/>
                  <a:gd name="connsiteX11" fmla="*/ 17491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1"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1" y="24194"/>
                      <a:pt x="17491" y="41053"/>
                    </a:cubicBezTo>
                    <a:lnTo>
                      <a:pt x="17491" y="78391"/>
                    </a:lnTo>
                    <a:lnTo>
                      <a:pt x="0" y="78391"/>
                    </a:lnTo>
                    <a:lnTo>
                      <a:pt x="0" y="1333"/>
                    </a:lnTo>
                    <a:close/>
                  </a:path>
                </a:pathLst>
              </a:custGeom>
              <a:grpFill/>
              <a:ln w="9497" cap="flat">
                <a:noFill/>
                <a:prstDash val="solid"/>
                <a:miter/>
              </a:ln>
            </p:spPr>
            <p:txBody>
              <a:bodyPr rtlCol="0" anchor="ctr"/>
              <a:lstStyle/>
              <a:p>
                <a:endParaRPr lang="en-GB"/>
              </a:p>
            </p:txBody>
          </p:sp>
          <p:sp>
            <p:nvSpPr>
              <p:cNvPr id="35" name="Freeform 34">
                <a:extLst>
                  <a:ext uri="{FF2B5EF4-FFF2-40B4-BE49-F238E27FC236}">
                    <a16:creationId xmlns:a16="http://schemas.microsoft.com/office/drawing/2014/main" id="{532EEC5B-B374-B120-51AC-9E2C8BD23978}"/>
                  </a:ext>
                </a:extLst>
              </p:cNvPr>
              <p:cNvSpPr/>
              <p:nvPr/>
            </p:nvSpPr>
            <p:spPr>
              <a:xfrm>
                <a:off x="635561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4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3"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1"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4" y="79629"/>
                    </a:cubicBezTo>
                    <a:cubicBezTo>
                      <a:pt x="9601" y="79629"/>
                      <a:pt x="95" y="67723"/>
                      <a:pt x="95" y="52673"/>
                    </a:cubicBezTo>
                    <a:close/>
                  </a:path>
                </a:pathLst>
              </a:custGeom>
              <a:grpFill/>
              <a:ln w="9497" cap="flat">
                <a:noFill/>
                <a:prstDash val="solid"/>
                <a:miter/>
              </a:ln>
            </p:spPr>
            <p:txBody>
              <a:bodyPr rtlCol="0" anchor="ctr"/>
              <a:lstStyle/>
              <a:p>
                <a:endParaRPr lang="en-GB"/>
              </a:p>
            </p:txBody>
          </p:sp>
          <p:sp>
            <p:nvSpPr>
              <p:cNvPr id="36" name="Freeform 35">
                <a:extLst>
                  <a:ext uri="{FF2B5EF4-FFF2-40B4-BE49-F238E27FC236}">
                    <a16:creationId xmlns:a16="http://schemas.microsoft.com/office/drawing/2014/main" id="{098793D3-75C7-DD4D-E5B5-6B658C51246B}"/>
                  </a:ext>
                </a:extLst>
              </p:cNvPr>
              <p:cNvSpPr/>
              <p:nvPr/>
            </p:nvSpPr>
            <p:spPr>
              <a:xfrm>
                <a:off x="6436797" y="3871817"/>
                <a:ext cx="56466" cy="111252"/>
              </a:xfrm>
              <a:custGeom>
                <a:avLst/>
                <a:gdLst>
                  <a:gd name="connsiteX0" fmla="*/ 12263 w 56466"/>
                  <a:gd name="connsiteY0" fmla="*/ 48387 h 111252"/>
                  <a:gd name="connsiteX1" fmla="*/ 0 w 56466"/>
                  <a:gd name="connsiteY1" fmla="*/ 48387 h 111252"/>
                  <a:gd name="connsiteX2" fmla="*/ 0 w 56466"/>
                  <a:gd name="connsiteY2" fmla="*/ 34195 h 111252"/>
                  <a:gd name="connsiteX3" fmla="*/ 12263 w 56466"/>
                  <a:gd name="connsiteY3" fmla="*/ 34195 h 111252"/>
                  <a:gd name="connsiteX4" fmla="*/ 12263 w 56466"/>
                  <a:gd name="connsiteY4" fmla="*/ 26575 h 111252"/>
                  <a:gd name="connsiteX5" fmla="*/ 40306 w 56466"/>
                  <a:gd name="connsiteY5" fmla="*/ 0 h 111252"/>
                  <a:gd name="connsiteX6" fmla="*/ 55231 w 56466"/>
                  <a:gd name="connsiteY6" fmla="*/ 2191 h 111252"/>
                  <a:gd name="connsiteX7" fmla="*/ 55231 w 56466"/>
                  <a:gd name="connsiteY7" fmla="*/ 16097 h 111252"/>
                  <a:gd name="connsiteX8" fmla="*/ 43348 w 56466"/>
                  <a:gd name="connsiteY8" fmla="*/ 14192 h 111252"/>
                  <a:gd name="connsiteX9" fmla="*/ 29659 w 56466"/>
                  <a:gd name="connsiteY9" fmla="*/ 27337 h 111252"/>
                  <a:gd name="connsiteX10" fmla="*/ 29659 w 56466"/>
                  <a:gd name="connsiteY10" fmla="*/ 34195 h 111252"/>
                  <a:gd name="connsiteX11" fmla="*/ 56467 w 56466"/>
                  <a:gd name="connsiteY11" fmla="*/ 34195 h 111252"/>
                  <a:gd name="connsiteX12" fmla="*/ 56467 w 56466"/>
                  <a:gd name="connsiteY12" fmla="*/ 48387 h 111252"/>
                  <a:gd name="connsiteX13" fmla="*/ 29659 w 56466"/>
                  <a:gd name="connsiteY13" fmla="*/ 48387 h 111252"/>
                  <a:gd name="connsiteX14" fmla="*/ 29659 w 56466"/>
                  <a:gd name="connsiteY14" fmla="*/ 111252 h 111252"/>
                  <a:gd name="connsiteX15" fmla="*/ 12168 w 56466"/>
                  <a:gd name="connsiteY15" fmla="*/ 111252 h 111252"/>
                  <a:gd name="connsiteX16" fmla="*/ 12168 w 56466"/>
                  <a:gd name="connsiteY16" fmla="*/ 48387 h 11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466" h="111252">
                    <a:moveTo>
                      <a:pt x="12263" y="48387"/>
                    </a:moveTo>
                    <a:lnTo>
                      <a:pt x="0" y="48387"/>
                    </a:lnTo>
                    <a:lnTo>
                      <a:pt x="0" y="34195"/>
                    </a:lnTo>
                    <a:lnTo>
                      <a:pt x="12263" y="34195"/>
                    </a:lnTo>
                    <a:lnTo>
                      <a:pt x="12263" y="26575"/>
                    </a:lnTo>
                    <a:cubicBezTo>
                      <a:pt x="12263" y="9430"/>
                      <a:pt x="23670" y="0"/>
                      <a:pt x="40306" y="0"/>
                    </a:cubicBezTo>
                    <a:cubicBezTo>
                      <a:pt x="47151" y="0"/>
                      <a:pt x="52759" y="1238"/>
                      <a:pt x="55231" y="2191"/>
                    </a:cubicBezTo>
                    <a:lnTo>
                      <a:pt x="55231" y="16097"/>
                    </a:lnTo>
                    <a:cubicBezTo>
                      <a:pt x="52759" y="15335"/>
                      <a:pt x="48672" y="14192"/>
                      <a:pt x="43348" y="14192"/>
                    </a:cubicBezTo>
                    <a:cubicBezTo>
                      <a:pt x="34507" y="14192"/>
                      <a:pt x="29659" y="18860"/>
                      <a:pt x="29659" y="27337"/>
                    </a:cubicBezTo>
                    <a:lnTo>
                      <a:pt x="29659" y="34195"/>
                    </a:lnTo>
                    <a:lnTo>
                      <a:pt x="56467" y="34195"/>
                    </a:lnTo>
                    <a:lnTo>
                      <a:pt x="56467" y="48387"/>
                    </a:lnTo>
                    <a:lnTo>
                      <a:pt x="29659" y="48387"/>
                    </a:lnTo>
                    <a:lnTo>
                      <a:pt x="29659" y="111252"/>
                    </a:lnTo>
                    <a:lnTo>
                      <a:pt x="12168" y="111252"/>
                    </a:lnTo>
                    <a:lnTo>
                      <a:pt x="12168" y="48387"/>
                    </a:lnTo>
                    <a:close/>
                  </a:path>
                </a:pathLst>
              </a:custGeom>
              <a:grpFill/>
              <a:ln w="9497" cap="flat">
                <a:noFill/>
                <a:prstDash val="solid"/>
                <a:miter/>
              </a:ln>
            </p:spPr>
            <p:txBody>
              <a:bodyPr rtlCol="0" anchor="ctr"/>
              <a:lstStyle/>
              <a:p>
                <a:endParaRPr lang="en-GB"/>
              </a:p>
            </p:txBody>
          </p:sp>
          <p:sp>
            <p:nvSpPr>
              <p:cNvPr id="37" name="Freeform 36">
                <a:extLst>
                  <a:ext uri="{FF2B5EF4-FFF2-40B4-BE49-F238E27FC236}">
                    <a16:creationId xmlns:a16="http://schemas.microsoft.com/office/drawing/2014/main" id="{DEC6EDDD-901C-0F5B-C9AE-5E9A7EEC1BCB}"/>
                  </a:ext>
                </a:extLst>
              </p:cNvPr>
              <p:cNvSpPr/>
              <p:nvPr/>
            </p:nvSpPr>
            <p:spPr>
              <a:xfrm>
                <a:off x="6497732" y="3904773"/>
                <a:ext cx="80517" cy="79533"/>
              </a:xfrm>
              <a:custGeom>
                <a:avLst/>
                <a:gdLst>
                  <a:gd name="connsiteX0" fmla="*/ 0 w 80517"/>
                  <a:gd name="connsiteY0" fmla="*/ 39910 h 79533"/>
                  <a:gd name="connsiteX1" fmla="*/ 40211 w 80517"/>
                  <a:gd name="connsiteY1" fmla="*/ 0 h 79533"/>
                  <a:gd name="connsiteX2" fmla="*/ 80518 w 80517"/>
                  <a:gd name="connsiteY2" fmla="*/ 39910 h 79533"/>
                  <a:gd name="connsiteX3" fmla="*/ 40211 w 80517"/>
                  <a:gd name="connsiteY3" fmla="*/ 79534 h 79533"/>
                  <a:gd name="connsiteX4" fmla="*/ 0 w 80517"/>
                  <a:gd name="connsiteY4" fmla="*/ 39910 h 79533"/>
                  <a:gd name="connsiteX5" fmla="*/ 63121 w 80517"/>
                  <a:gd name="connsiteY5" fmla="*/ 39910 h 79533"/>
                  <a:gd name="connsiteX6" fmla="*/ 40211 w 80517"/>
                  <a:gd name="connsiteY6" fmla="*/ 14288 h 79533"/>
                  <a:gd name="connsiteX7" fmla="*/ 17492 w 80517"/>
                  <a:gd name="connsiteY7" fmla="*/ 39910 h 79533"/>
                  <a:gd name="connsiteX8" fmla="*/ 40211 w 80517"/>
                  <a:gd name="connsiteY8" fmla="*/ 65151 h 79533"/>
                  <a:gd name="connsiteX9" fmla="*/ 63121 w 80517"/>
                  <a:gd name="connsiteY9" fmla="*/ 39910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17" h="79533">
                    <a:moveTo>
                      <a:pt x="0" y="39910"/>
                    </a:moveTo>
                    <a:cubicBezTo>
                      <a:pt x="0" y="15240"/>
                      <a:pt x="15780" y="0"/>
                      <a:pt x="40211" y="0"/>
                    </a:cubicBezTo>
                    <a:cubicBezTo>
                      <a:pt x="64642" y="0"/>
                      <a:pt x="80518" y="15335"/>
                      <a:pt x="80518" y="39910"/>
                    </a:cubicBezTo>
                    <a:cubicBezTo>
                      <a:pt x="80518" y="64484"/>
                      <a:pt x="64737" y="79534"/>
                      <a:pt x="40211" y="79534"/>
                    </a:cubicBezTo>
                    <a:cubicBezTo>
                      <a:pt x="15685" y="79534"/>
                      <a:pt x="0" y="64389"/>
                      <a:pt x="0" y="39910"/>
                    </a:cubicBezTo>
                    <a:close/>
                    <a:moveTo>
                      <a:pt x="63121" y="39910"/>
                    </a:moveTo>
                    <a:cubicBezTo>
                      <a:pt x="63121" y="24098"/>
                      <a:pt x="54376" y="14288"/>
                      <a:pt x="40211" y="14288"/>
                    </a:cubicBezTo>
                    <a:cubicBezTo>
                      <a:pt x="26047" y="14288"/>
                      <a:pt x="17492" y="24098"/>
                      <a:pt x="17492" y="39910"/>
                    </a:cubicBezTo>
                    <a:cubicBezTo>
                      <a:pt x="17492" y="55721"/>
                      <a:pt x="26047" y="65151"/>
                      <a:pt x="40211" y="65151"/>
                    </a:cubicBezTo>
                    <a:cubicBezTo>
                      <a:pt x="54376" y="65151"/>
                      <a:pt x="63121" y="55435"/>
                      <a:pt x="63121" y="39910"/>
                    </a:cubicBezTo>
                    <a:close/>
                  </a:path>
                </a:pathLst>
              </a:custGeom>
              <a:grpFill/>
              <a:ln w="9497" cap="flat">
                <a:noFill/>
                <a:prstDash val="solid"/>
                <a:miter/>
              </a:ln>
            </p:spPr>
            <p:txBody>
              <a:bodyPr rtlCol="0" anchor="ctr"/>
              <a:lstStyle/>
              <a:p>
                <a:endParaRPr lang="en-GB"/>
              </a:p>
            </p:txBody>
          </p:sp>
          <p:sp>
            <p:nvSpPr>
              <p:cNvPr id="38" name="Freeform 37">
                <a:extLst>
                  <a:ext uri="{FF2B5EF4-FFF2-40B4-BE49-F238E27FC236}">
                    <a16:creationId xmlns:a16="http://schemas.microsoft.com/office/drawing/2014/main" id="{30BADD50-4056-F104-1C12-673BE324C267}"/>
                  </a:ext>
                </a:extLst>
              </p:cNvPr>
              <p:cNvSpPr/>
              <p:nvPr/>
            </p:nvSpPr>
            <p:spPr>
              <a:xfrm>
                <a:off x="6593174" y="3904773"/>
                <a:ext cx="70250" cy="78295"/>
              </a:xfrm>
              <a:custGeom>
                <a:avLst/>
                <a:gdLst>
                  <a:gd name="connsiteX0" fmla="*/ 0 w 70250"/>
                  <a:gd name="connsiteY0" fmla="*/ 1238 h 78295"/>
                  <a:gd name="connsiteX1" fmla="*/ 17491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0 w 70250"/>
                  <a:gd name="connsiteY8" fmla="*/ 34004 h 78295"/>
                  <a:gd name="connsiteX9" fmla="*/ 38975 w 70250"/>
                  <a:gd name="connsiteY9" fmla="*/ 14954 h 78295"/>
                  <a:gd name="connsiteX10" fmla="*/ 17491 w 70250"/>
                  <a:gd name="connsiteY10" fmla="*/ 44577 h 78295"/>
                  <a:gd name="connsiteX11" fmla="*/ 17491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1"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8975" y="14954"/>
                    </a:cubicBezTo>
                    <a:cubicBezTo>
                      <a:pt x="25762" y="14954"/>
                      <a:pt x="17491" y="26194"/>
                      <a:pt x="17491" y="44577"/>
                    </a:cubicBezTo>
                    <a:lnTo>
                      <a:pt x="17491" y="78296"/>
                    </a:lnTo>
                    <a:lnTo>
                      <a:pt x="0" y="78296"/>
                    </a:lnTo>
                    <a:lnTo>
                      <a:pt x="0" y="1238"/>
                    </a:lnTo>
                    <a:close/>
                  </a:path>
                </a:pathLst>
              </a:custGeom>
              <a:grpFill/>
              <a:ln w="9497" cap="flat">
                <a:noFill/>
                <a:prstDash val="solid"/>
                <a:miter/>
              </a:ln>
            </p:spPr>
            <p:txBody>
              <a:bodyPr rtlCol="0" anchor="ctr"/>
              <a:lstStyle/>
              <a:p>
                <a:endParaRPr lang="en-GB"/>
              </a:p>
            </p:txBody>
          </p:sp>
          <p:sp>
            <p:nvSpPr>
              <p:cNvPr id="39" name="Freeform 38">
                <a:extLst>
                  <a:ext uri="{FF2B5EF4-FFF2-40B4-BE49-F238E27FC236}">
                    <a16:creationId xmlns:a16="http://schemas.microsoft.com/office/drawing/2014/main" id="{D3472F8A-847F-E5FE-AA51-027CF785CFE4}"/>
                  </a:ext>
                </a:extLst>
              </p:cNvPr>
              <p:cNvSpPr/>
              <p:nvPr/>
            </p:nvSpPr>
            <p:spPr>
              <a:xfrm>
                <a:off x="6678445"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293"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2"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GB"/>
              </a:p>
            </p:txBody>
          </p:sp>
          <p:sp>
            <p:nvSpPr>
              <p:cNvPr id="40" name="Freeform 39">
                <a:extLst>
                  <a:ext uri="{FF2B5EF4-FFF2-40B4-BE49-F238E27FC236}">
                    <a16:creationId xmlns:a16="http://schemas.microsoft.com/office/drawing/2014/main" id="{B182A506-4997-AC1D-1793-C8EBAB0B7F39}"/>
                  </a:ext>
                </a:extLst>
              </p:cNvPr>
              <p:cNvSpPr/>
              <p:nvPr/>
            </p:nvSpPr>
            <p:spPr>
              <a:xfrm>
                <a:off x="6819708" y="3879818"/>
                <a:ext cx="17871" cy="103250"/>
              </a:xfrm>
              <a:custGeom>
                <a:avLst/>
                <a:gdLst>
                  <a:gd name="connsiteX0" fmla="*/ 0 w 17871"/>
                  <a:gd name="connsiteY0" fmla="*/ 0 h 103250"/>
                  <a:gd name="connsiteX1" fmla="*/ 17872 w 17871"/>
                  <a:gd name="connsiteY1" fmla="*/ 0 h 103250"/>
                  <a:gd name="connsiteX2" fmla="*/ 17872 w 17871"/>
                  <a:gd name="connsiteY2" fmla="*/ 17145 h 103250"/>
                  <a:gd name="connsiteX3" fmla="*/ 0 w 17871"/>
                  <a:gd name="connsiteY3" fmla="*/ 17145 h 103250"/>
                  <a:gd name="connsiteX4" fmla="*/ 0 w 17871"/>
                  <a:gd name="connsiteY4" fmla="*/ 0 h 103250"/>
                  <a:gd name="connsiteX5" fmla="*/ 190 w 17871"/>
                  <a:gd name="connsiteY5" fmla="*/ 26194 h 103250"/>
                  <a:gd name="connsiteX6" fmla="*/ 17682 w 17871"/>
                  <a:gd name="connsiteY6" fmla="*/ 26194 h 103250"/>
                  <a:gd name="connsiteX7" fmla="*/ 17682 w 17871"/>
                  <a:gd name="connsiteY7" fmla="*/ 103251 h 103250"/>
                  <a:gd name="connsiteX8" fmla="*/ 190 w 17871"/>
                  <a:gd name="connsiteY8" fmla="*/ 103251 h 103250"/>
                  <a:gd name="connsiteX9" fmla="*/ 190 w 17871"/>
                  <a:gd name="connsiteY9" fmla="*/ 26194 h 10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71" h="103250">
                    <a:moveTo>
                      <a:pt x="0" y="0"/>
                    </a:moveTo>
                    <a:lnTo>
                      <a:pt x="17872" y="0"/>
                    </a:lnTo>
                    <a:lnTo>
                      <a:pt x="17872" y="17145"/>
                    </a:lnTo>
                    <a:lnTo>
                      <a:pt x="0" y="17145"/>
                    </a:lnTo>
                    <a:lnTo>
                      <a:pt x="0" y="0"/>
                    </a:lnTo>
                    <a:close/>
                    <a:moveTo>
                      <a:pt x="190" y="26194"/>
                    </a:moveTo>
                    <a:lnTo>
                      <a:pt x="17682" y="26194"/>
                    </a:lnTo>
                    <a:lnTo>
                      <a:pt x="17682" y="103251"/>
                    </a:lnTo>
                    <a:lnTo>
                      <a:pt x="190" y="103251"/>
                    </a:lnTo>
                    <a:lnTo>
                      <a:pt x="190" y="26194"/>
                    </a:lnTo>
                    <a:close/>
                  </a:path>
                </a:pathLst>
              </a:custGeom>
              <a:grpFill/>
              <a:ln w="9497" cap="flat">
                <a:noFill/>
                <a:prstDash val="solid"/>
                <a:miter/>
              </a:ln>
            </p:spPr>
            <p:txBody>
              <a:bodyPr rtlCol="0" anchor="ctr"/>
              <a:lstStyle/>
              <a:p>
                <a:endParaRPr lang="en-GB"/>
              </a:p>
            </p:txBody>
          </p:sp>
          <p:sp>
            <p:nvSpPr>
              <p:cNvPr id="41" name="Freeform 40">
                <a:extLst>
                  <a:ext uri="{FF2B5EF4-FFF2-40B4-BE49-F238E27FC236}">
                    <a16:creationId xmlns:a16="http://schemas.microsoft.com/office/drawing/2014/main" id="{F98AF2A8-9CA4-1E7A-6C12-1C43C9E6280B}"/>
                  </a:ext>
                </a:extLst>
              </p:cNvPr>
              <p:cNvSpPr/>
              <p:nvPr/>
            </p:nvSpPr>
            <p:spPr>
              <a:xfrm>
                <a:off x="6855546" y="3904773"/>
                <a:ext cx="80612" cy="78390"/>
              </a:xfrm>
              <a:custGeom>
                <a:avLst/>
                <a:gdLst>
                  <a:gd name="connsiteX0" fmla="*/ 0 w 80612"/>
                  <a:gd name="connsiteY0" fmla="*/ 1238 h 78390"/>
                  <a:gd name="connsiteX1" fmla="*/ 17492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2 w 80612"/>
                  <a:gd name="connsiteY10" fmla="*/ 41053 h 78390"/>
                  <a:gd name="connsiteX11" fmla="*/ 17492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2"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2" y="24194"/>
                      <a:pt x="17492" y="41053"/>
                    </a:cubicBezTo>
                    <a:lnTo>
                      <a:pt x="17492" y="78391"/>
                    </a:lnTo>
                    <a:lnTo>
                      <a:pt x="0" y="78391"/>
                    </a:lnTo>
                    <a:lnTo>
                      <a:pt x="0" y="1333"/>
                    </a:lnTo>
                    <a:close/>
                  </a:path>
                </a:pathLst>
              </a:custGeom>
              <a:grpFill/>
              <a:ln w="9497" cap="flat">
                <a:noFill/>
                <a:prstDash val="solid"/>
                <a:miter/>
              </a:ln>
            </p:spPr>
            <p:txBody>
              <a:bodyPr rtlCol="0" anchor="ctr"/>
              <a:lstStyle/>
              <a:p>
                <a:endParaRPr lang="en-GB"/>
              </a:p>
            </p:txBody>
          </p:sp>
          <p:sp>
            <p:nvSpPr>
              <p:cNvPr id="42" name="Freeform 41">
                <a:extLst>
                  <a:ext uri="{FF2B5EF4-FFF2-40B4-BE49-F238E27FC236}">
                    <a16:creationId xmlns:a16="http://schemas.microsoft.com/office/drawing/2014/main" id="{E120418C-91A6-D9CC-FFE2-3B2C7F960F72}"/>
                  </a:ext>
                </a:extLst>
              </p:cNvPr>
              <p:cNvSpPr/>
              <p:nvPr/>
            </p:nvSpPr>
            <p:spPr>
              <a:xfrm>
                <a:off x="6950133" y="3890581"/>
                <a:ext cx="82133" cy="125730"/>
              </a:xfrm>
              <a:custGeom>
                <a:avLst/>
                <a:gdLst>
                  <a:gd name="connsiteX0" fmla="*/ 82039 w 82133"/>
                  <a:gd name="connsiteY0" fmla="*/ 99822 h 125730"/>
                  <a:gd name="connsiteX1" fmla="*/ 41542 w 82133"/>
                  <a:gd name="connsiteY1" fmla="*/ 125730 h 125730"/>
                  <a:gd name="connsiteX2" fmla="*/ 0 w 82133"/>
                  <a:gd name="connsiteY2" fmla="*/ 103918 h 125730"/>
                  <a:gd name="connsiteX3" fmla="*/ 14925 w 82133"/>
                  <a:gd name="connsiteY3" fmla="*/ 89916 h 125730"/>
                  <a:gd name="connsiteX4" fmla="*/ 14925 w 82133"/>
                  <a:gd name="connsiteY4" fmla="*/ 89725 h 125730"/>
                  <a:gd name="connsiteX5" fmla="*/ 8175 w 82133"/>
                  <a:gd name="connsiteY5" fmla="*/ 77057 h 125730"/>
                  <a:gd name="connsiteX6" fmla="*/ 15305 w 82133"/>
                  <a:gd name="connsiteY6" fmla="*/ 63913 h 125730"/>
                  <a:gd name="connsiteX7" fmla="*/ 15305 w 82133"/>
                  <a:gd name="connsiteY7" fmla="*/ 63627 h 125730"/>
                  <a:gd name="connsiteX8" fmla="*/ 3422 w 82133"/>
                  <a:gd name="connsiteY8" fmla="*/ 41624 h 125730"/>
                  <a:gd name="connsiteX9" fmla="*/ 37740 w 82133"/>
                  <a:gd name="connsiteY9" fmla="*/ 14192 h 125730"/>
                  <a:gd name="connsiteX10" fmla="*/ 59224 w 82133"/>
                  <a:gd name="connsiteY10" fmla="*/ 19145 h 125730"/>
                  <a:gd name="connsiteX11" fmla="*/ 59414 w 82133"/>
                  <a:gd name="connsiteY11" fmla="*/ 18955 h 125730"/>
                  <a:gd name="connsiteX12" fmla="*/ 55706 w 82133"/>
                  <a:gd name="connsiteY12" fmla="*/ 10192 h 125730"/>
                  <a:gd name="connsiteX13" fmla="*/ 70821 w 82133"/>
                  <a:gd name="connsiteY13" fmla="*/ 0 h 125730"/>
                  <a:gd name="connsiteX14" fmla="*/ 78616 w 82133"/>
                  <a:gd name="connsiteY14" fmla="*/ 762 h 125730"/>
                  <a:gd name="connsiteX15" fmla="*/ 78616 w 82133"/>
                  <a:gd name="connsiteY15" fmla="*/ 13049 h 125730"/>
                  <a:gd name="connsiteX16" fmla="*/ 73483 w 82133"/>
                  <a:gd name="connsiteY16" fmla="*/ 12287 h 125730"/>
                  <a:gd name="connsiteX17" fmla="*/ 65878 w 82133"/>
                  <a:gd name="connsiteY17" fmla="*/ 18669 h 125730"/>
                  <a:gd name="connsiteX18" fmla="*/ 67589 w 82133"/>
                  <a:gd name="connsiteY18" fmla="*/ 26479 h 125730"/>
                  <a:gd name="connsiteX19" fmla="*/ 72152 w 82133"/>
                  <a:gd name="connsiteY19" fmla="*/ 41434 h 125730"/>
                  <a:gd name="connsiteX20" fmla="*/ 37930 w 82133"/>
                  <a:gd name="connsiteY20" fmla="*/ 68866 h 125730"/>
                  <a:gd name="connsiteX21" fmla="*/ 24336 w 82133"/>
                  <a:gd name="connsiteY21" fmla="*/ 67151 h 125730"/>
                  <a:gd name="connsiteX22" fmla="*/ 22435 w 82133"/>
                  <a:gd name="connsiteY22" fmla="*/ 73057 h 125730"/>
                  <a:gd name="connsiteX23" fmla="*/ 31180 w 82133"/>
                  <a:gd name="connsiteY23" fmla="*/ 80105 h 125730"/>
                  <a:gd name="connsiteX24" fmla="*/ 56087 w 82133"/>
                  <a:gd name="connsiteY24" fmla="*/ 80105 h 125730"/>
                  <a:gd name="connsiteX25" fmla="*/ 82134 w 82133"/>
                  <a:gd name="connsiteY25" fmla="*/ 99631 h 125730"/>
                  <a:gd name="connsiteX26" fmla="*/ 64547 w 82133"/>
                  <a:gd name="connsiteY26" fmla="*/ 101822 h 125730"/>
                  <a:gd name="connsiteX27" fmla="*/ 52379 w 82133"/>
                  <a:gd name="connsiteY27" fmla="*/ 93821 h 125730"/>
                  <a:gd name="connsiteX28" fmla="*/ 31466 w 82133"/>
                  <a:gd name="connsiteY28" fmla="*/ 93821 h 125730"/>
                  <a:gd name="connsiteX29" fmla="*/ 17111 w 82133"/>
                  <a:gd name="connsiteY29" fmla="*/ 102394 h 125730"/>
                  <a:gd name="connsiteX30" fmla="*/ 41257 w 82133"/>
                  <a:gd name="connsiteY30" fmla="*/ 113348 h 125730"/>
                  <a:gd name="connsiteX31" fmla="*/ 64452 w 82133"/>
                  <a:gd name="connsiteY31" fmla="*/ 101822 h 125730"/>
                  <a:gd name="connsiteX32" fmla="*/ 20153 w 82133"/>
                  <a:gd name="connsiteY32" fmla="*/ 41624 h 125730"/>
                  <a:gd name="connsiteX33" fmla="*/ 37740 w 82133"/>
                  <a:gd name="connsiteY33" fmla="*/ 56579 h 125730"/>
                  <a:gd name="connsiteX34" fmla="*/ 55326 w 82133"/>
                  <a:gd name="connsiteY34" fmla="*/ 41624 h 125730"/>
                  <a:gd name="connsiteX35" fmla="*/ 37740 w 82133"/>
                  <a:gd name="connsiteY35" fmla="*/ 26670 h 125730"/>
                  <a:gd name="connsiteX36" fmla="*/ 20153 w 82133"/>
                  <a:gd name="connsiteY36" fmla="*/ 41624 h 12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133" h="125730">
                    <a:moveTo>
                      <a:pt x="82039" y="99822"/>
                    </a:moveTo>
                    <a:cubicBezTo>
                      <a:pt x="82039" y="116015"/>
                      <a:pt x="66924" y="125730"/>
                      <a:pt x="41542" y="125730"/>
                    </a:cubicBezTo>
                    <a:cubicBezTo>
                      <a:pt x="16160" y="125730"/>
                      <a:pt x="0" y="117729"/>
                      <a:pt x="0" y="103918"/>
                    </a:cubicBezTo>
                    <a:cubicBezTo>
                      <a:pt x="0" y="96107"/>
                      <a:pt x="5799" y="90297"/>
                      <a:pt x="14925" y="89916"/>
                    </a:cubicBezTo>
                    <a:lnTo>
                      <a:pt x="14925" y="89725"/>
                    </a:lnTo>
                    <a:cubicBezTo>
                      <a:pt x="10552" y="86773"/>
                      <a:pt x="8175" y="82582"/>
                      <a:pt x="8175" y="77057"/>
                    </a:cubicBezTo>
                    <a:cubicBezTo>
                      <a:pt x="8175" y="70485"/>
                      <a:pt x="11122" y="66008"/>
                      <a:pt x="15305" y="63913"/>
                    </a:cubicBezTo>
                    <a:lnTo>
                      <a:pt x="15305" y="63627"/>
                    </a:lnTo>
                    <a:cubicBezTo>
                      <a:pt x="7700" y="58960"/>
                      <a:pt x="3422" y="51340"/>
                      <a:pt x="3422" y="41624"/>
                    </a:cubicBezTo>
                    <a:cubicBezTo>
                      <a:pt x="3422" y="24765"/>
                      <a:pt x="16541" y="14192"/>
                      <a:pt x="37740" y="14192"/>
                    </a:cubicBezTo>
                    <a:cubicBezTo>
                      <a:pt x="46485" y="14192"/>
                      <a:pt x="53615" y="15907"/>
                      <a:pt x="59224" y="19145"/>
                    </a:cubicBezTo>
                    <a:lnTo>
                      <a:pt x="59414" y="18955"/>
                    </a:lnTo>
                    <a:cubicBezTo>
                      <a:pt x="57037" y="16478"/>
                      <a:pt x="55706" y="13525"/>
                      <a:pt x="55706" y="10192"/>
                    </a:cubicBezTo>
                    <a:cubicBezTo>
                      <a:pt x="55706" y="3905"/>
                      <a:pt x="61600" y="0"/>
                      <a:pt x="70821" y="0"/>
                    </a:cubicBezTo>
                    <a:cubicBezTo>
                      <a:pt x="74529" y="0"/>
                      <a:pt x="76715" y="286"/>
                      <a:pt x="78616" y="762"/>
                    </a:cubicBezTo>
                    <a:lnTo>
                      <a:pt x="78616" y="13049"/>
                    </a:lnTo>
                    <a:cubicBezTo>
                      <a:pt x="77380" y="12573"/>
                      <a:pt x="75669" y="12287"/>
                      <a:pt x="73483" y="12287"/>
                    </a:cubicBezTo>
                    <a:cubicBezTo>
                      <a:pt x="68350" y="12287"/>
                      <a:pt x="65878" y="14478"/>
                      <a:pt x="65878" y="18669"/>
                    </a:cubicBezTo>
                    <a:cubicBezTo>
                      <a:pt x="65878" y="20860"/>
                      <a:pt x="66638" y="23527"/>
                      <a:pt x="67589" y="26479"/>
                    </a:cubicBezTo>
                    <a:cubicBezTo>
                      <a:pt x="70536" y="30575"/>
                      <a:pt x="72152" y="35719"/>
                      <a:pt x="72152" y="41434"/>
                    </a:cubicBezTo>
                    <a:cubicBezTo>
                      <a:pt x="72152" y="58483"/>
                      <a:pt x="59034" y="68866"/>
                      <a:pt x="37930" y="68866"/>
                    </a:cubicBezTo>
                    <a:cubicBezTo>
                      <a:pt x="32987" y="68866"/>
                      <a:pt x="28423" y="68199"/>
                      <a:pt x="24336" y="67151"/>
                    </a:cubicBezTo>
                    <a:cubicBezTo>
                      <a:pt x="23385" y="68199"/>
                      <a:pt x="22435" y="70390"/>
                      <a:pt x="22435" y="73057"/>
                    </a:cubicBezTo>
                    <a:cubicBezTo>
                      <a:pt x="22435" y="77438"/>
                      <a:pt x="25572" y="80105"/>
                      <a:pt x="31180" y="80105"/>
                    </a:cubicBezTo>
                    <a:lnTo>
                      <a:pt x="56087" y="80105"/>
                    </a:lnTo>
                    <a:cubicBezTo>
                      <a:pt x="72627" y="80105"/>
                      <a:pt x="82134" y="87249"/>
                      <a:pt x="82134" y="99631"/>
                    </a:cubicBezTo>
                    <a:close/>
                    <a:moveTo>
                      <a:pt x="64547" y="101822"/>
                    </a:moveTo>
                    <a:cubicBezTo>
                      <a:pt x="64547" y="96679"/>
                      <a:pt x="60650" y="93821"/>
                      <a:pt x="52379" y="93821"/>
                    </a:cubicBezTo>
                    <a:lnTo>
                      <a:pt x="31466" y="93821"/>
                    </a:lnTo>
                    <a:cubicBezTo>
                      <a:pt x="22720" y="93821"/>
                      <a:pt x="17111" y="96488"/>
                      <a:pt x="17111" y="102394"/>
                    </a:cubicBezTo>
                    <a:cubicBezTo>
                      <a:pt x="17111" y="109728"/>
                      <a:pt x="26427" y="113348"/>
                      <a:pt x="41257" y="113348"/>
                    </a:cubicBezTo>
                    <a:cubicBezTo>
                      <a:pt x="57608" y="113348"/>
                      <a:pt x="64452" y="108680"/>
                      <a:pt x="64452" y="101822"/>
                    </a:cubicBezTo>
                    <a:close/>
                    <a:moveTo>
                      <a:pt x="20153" y="41624"/>
                    </a:moveTo>
                    <a:cubicBezTo>
                      <a:pt x="20153" y="50864"/>
                      <a:pt x="26902" y="56579"/>
                      <a:pt x="37740" y="56579"/>
                    </a:cubicBezTo>
                    <a:cubicBezTo>
                      <a:pt x="48577" y="56579"/>
                      <a:pt x="55326" y="50768"/>
                      <a:pt x="55326" y="41624"/>
                    </a:cubicBezTo>
                    <a:cubicBezTo>
                      <a:pt x="55326" y="32480"/>
                      <a:pt x="48672" y="26670"/>
                      <a:pt x="37740" y="26670"/>
                    </a:cubicBezTo>
                    <a:cubicBezTo>
                      <a:pt x="26808" y="26670"/>
                      <a:pt x="20153" y="32480"/>
                      <a:pt x="20153" y="41624"/>
                    </a:cubicBezTo>
                    <a:close/>
                  </a:path>
                </a:pathLst>
              </a:custGeom>
              <a:grpFill/>
              <a:ln w="9497" cap="flat">
                <a:noFill/>
                <a:prstDash val="solid"/>
                <a:miter/>
              </a:ln>
            </p:spPr>
            <p:txBody>
              <a:bodyPr rtlCol="0" anchor="ctr"/>
              <a:lstStyle/>
              <a:p>
                <a:endParaRPr lang="en-GB"/>
              </a:p>
            </p:txBody>
          </p:sp>
          <p:sp>
            <p:nvSpPr>
              <p:cNvPr id="43" name="Freeform 42">
                <a:extLst>
                  <a:ext uri="{FF2B5EF4-FFF2-40B4-BE49-F238E27FC236}">
                    <a16:creationId xmlns:a16="http://schemas.microsoft.com/office/drawing/2014/main" id="{4DBE09BF-87A3-C5DC-AFB9-244CE800E1B5}"/>
                  </a:ext>
                </a:extLst>
              </p:cNvPr>
              <p:cNvSpPr/>
              <p:nvPr/>
            </p:nvSpPr>
            <p:spPr>
              <a:xfrm>
                <a:off x="7081699"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388"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1"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GB"/>
              </a:p>
            </p:txBody>
          </p:sp>
          <p:sp>
            <p:nvSpPr>
              <p:cNvPr id="44" name="Freeform 43">
                <a:extLst>
                  <a:ext uri="{FF2B5EF4-FFF2-40B4-BE49-F238E27FC236}">
                    <a16:creationId xmlns:a16="http://schemas.microsoft.com/office/drawing/2014/main" id="{010C0541-F54D-AE4C-B14A-3D05FFE9E056}"/>
                  </a:ext>
                </a:extLst>
              </p:cNvPr>
              <p:cNvSpPr/>
              <p:nvPr/>
            </p:nvSpPr>
            <p:spPr>
              <a:xfrm>
                <a:off x="7220394" y="3904773"/>
                <a:ext cx="74813" cy="79533"/>
              </a:xfrm>
              <a:custGeom>
                <a:avLst/>
                <a:gdLst>
                  <a:gd name="connsiteX0" fmla="*/ 0 w 74813"/>
                  <a:gd name="connsiteY0" fmla="*/ 56198 h 79533"/>
                  <a:gd name="connsiteX1" fmla="*/ 28804 w 74813"/>
                  <a:gd name="connsiteY1" fmla="*/ 35243 h 79533"/>
                  <a:gd name="connsiteX2" fmla="*/ 57322 w 74813"/>
                  <a:gd name="connsiteY2" fmla="*/ 35243 h 79533"/>
                  <a:gd name="connsiteX3" fmla="*/ 57322 w 74813"/>
                  <a:gd name="connsiteY3" fmla="*/ 29813 h 79533"/>
                  <a:gd name="connsiteX4" fmla="*/ 37074 w 74813"/>
                  <a:gd name="connsiteY4" fmla="*/ 13145 h 79533"/>
                  <a:gd name="connsiteX5" fmla="*/ 18537 w 74813"/>
                  <a:gd name="connsiteY5" fmla="*/ 26289 h 79533"/>
                  <a:gd name="connsiteX6" fmla="*/ 18727 w 74813"/>
                  <a:gd name="connsiteY6" fmla="*/ 29242 h 79533"/>
                  <a:gd name="connsiteX7" fmla="*/ 2662 w 74813"/>
                  <a:gd name="connsiteY7" fmla="*/ 29242 h 79533"/>
                  <a:gd name="connsiteX8" fmla="*/ 2377 w 74813"/>
                  <a:gd name="connsiteY8" fmla="*/ 24670 h 79533"/>
                  <a:gd name="connsiteX9" fmla="*/ 37740 w 74813"/>
                  <a:gd name="connsiteY9" fmla="*/ 0 h 79533"/>
                  <a:gd name="connsiteX10" fmla="*/ 74814 w 74813"/>
                  <a:gd name="connsiteY10" fmla="*/ 31337 h 79533"/>
                  <a:gd name="connsiteX11" fmla="*/ 74814 w 74813"/>
                  <a:gd name="connsiteY11" fmla="*/ 78296 h 79533"/>
                  <a:gd name="connsiteX12" fmla="*/ 57322 w 74813"/>
                  <a:gd name="connsiteY12" fmla="*/ 78296 h 79533"/>
                  <a:gd name="connsiteX13" fmla="*/ 58083 w 74813"/>
                  <a:gd name="connsiteY13" fmla="*/ 61246 h 79533"/>
                  <a:gd name="connsiteX14" fmla="*/ 57893 w 74813"/>
                  <a:gd name="connsiteY14" fmla="*/ 61246 h 79533"/>
                  <a:gd name="connsiteX15" fmla="*/ 29279 w 74813"/>
                  <a:gd name="connsiteY15" fmla="*/ 79534 h 79533"/>
                  <a:gd name="connsiteX16" fmla="*/ 0 w 74813"/>
                  <a:gd name="connsiteY16" fmla="*/ 56102 h 79533"/>
                  <a:gd name="connsiteX17" fmla="*/ 57322 w 74813"/>
                  <a:gd name="connsiteY17" fmla="*/ 47339 h 79533"/>
                  <a:gd name="connsiteX18" fmla="*/ 57322 w 74813"/>
                  <a:gd name="connsiteY18" fmla="*/ 45910 h 79533"/>
                  <a:gd name="connsiteX19" fmla="*/ 30420 w 74813"/>
                  <a:gd name="connsiteY19" fmla="*/ 45910 h 79533"/>
                  <a:gd name="connsiteX20" fmla="*/ 16066 w 74813"/>
                  <a:gd name="connsiteY20" fmla="*/ 55435 h 79533"/>
                  <a:gd name="connsiteX21" fmla="*/ 32891 w 74813"/>
                  <a:gd name="connsiteY21" fmla="*/ 66485 h 79533"/>
                  <a:gd name="connsiteX22" fmla="*/ 57322 w 74813"/>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813" h="79533">
                    <a:moveTo>
                      <a:pt x="0" y="56198"/>
                    </a:moveTo>
                    <a:cubicBezTo>
                      <a:pt x="0" y="44482"/>
                      <a:pt x="8270" y="35243"/>
                      <a:pt x="28804" y="35243"/>
                    </a:cubicBezTo>
                    <a:lnTo>
                      <a:pt x="57322" y="35243"/>
                    </a:lnTo>
                    <a:lnTo>
                      <a:pt x="57322" y="29813"/>
                    </a:lnTo>
                    <a:cubicBezTo>
                      <a:pt x="57322" y="18288"/>
                      <a:pt x="50668" y="13145"/>
                      <a:pt x="37074" y="13145"/>
                    </a:cubicBezTo>
                    <a:cubicBezTo>
                      <a:pt x="25287" y="13145"/>
                      <a:pt x="18537" y="17717"/>
                      <a:pt x="18537" y="26289"/>
                    </a:cubicBezTo>
                    <a:cubicBezTo>
                      <a:pt x="18537" y="26765"/>
                      <a:pt x="18537" y="28004"/>
                      <a:pt x="18727" y="29242"/>
                    </a:cubicBezTo>
                    <a:lnTo>
                      <a:pt x="2662" y="29242"/>
                    </a:lnTo>
                    <a:cubicBezTo>
                      <a:pt x="2472" y="28099"/>
                      <a:pt x="2377" y="26099"/>
                      <a:pt x="2377" y="24670"/>
                    </a:cubicBezTo>
                    <a:cubicBezTo>
                      <a:pt x="2377" y="9239"/>
                      <a:pt x="15780" y="0"/>
                      <a:pt x="37740" y="0"/>
                    </a:cubicBezTo>
                    <a:cubicBezTo>
                      <a:pt x="61125" y="0"/>
                      <a:pt x="74814" y="11049"/>
                      <a:pt x="74814" y="31337"/>
                    </a:cubicBezTo>
                    <a:lnTo>
                      <a:pt x="74814" y="78296"/>
                    </a:lnTo>
                    <a:lnTo>
                      <a:pt x="57322" y="78296"/>
                    </a:lnTo>
                    <a:cubicBezTo>
                      <a:pt x="57608" y="74581"/>
                      <a:pt x="58083" y="67532"/>
                      <a:pt x="58083" y="61246"/>
                    </a:cubicBezTo>
                    <a:lnTo>
                      <a:pt x="57893" y="61246"/>
                    </a:lnTo>
                    <a:cubicBezTo>
                      <a:pt x="55421" y="72676"/>
                      <a:pt x="46200" y="79534"/>
                      <a:pt x="29279" y="79534"/>
                    </a:cubicBezTo>
                    <a:cubicBezTo>
                      <a:pt x="12358" y="79534"/>
                      <a:pt x="0" y="71152"/>
                      <a:pt x="0" y="56102"/>
                    </a:cubicBezTo>
                    <a:close/>
                    <a:moveTo>
                      <a:pt x="57322" y="47339"/>
                    </a:moveTo>
                    <a:lnTo>
                      <a:pt x="57322" y="45910"/>
                    </a:lnTo>
                    <a:lnTo>
                      <a:pt x="30420" y="45910"/>
                    </a:lnTo>
                    <a:cubicBezTo>
                      <a:pt x="20438" y="45910"/>
                      <a:pt x="16066" y="49340"/>
                      <a:pt x="16066" y="55435"/>
                    </a:cubicBezTo>
                    <a:cubicBezTo>
                      <a:pt x="16066" y="62484"/>
                      <a:pt x="22340" y="66485"/>
                      <a:pt x="32891" y="66485"/>
                    </a:cubicBezTo>
                    <a:cubicBezTo>
                      <a:pt x="48006" y="66485"/>
                      <a:pt x="57322" y="59150"/>
                      <a:pt x="57322" y="47244"/>
                    </a:cubicBezTo>
                    <a:close/>
                  </a:path>
                </a:pathLst>
              </a:custGeom>
              <a:grpFill/>
              <a:ln w="9497" cap="flat">
                <a:noFill/>
                <a:prstDash val="solid"/>
                <a:miter/>
              </a:ln>
            </p:spPr>
            <p:txBody>
              <a:bodyPr rtlCol="0" anchor="ctr"/>
              <a:lstStyle/>
              <a:p>
                <a:endParaRPr lang="en-GB"/>
              </a:p>
            </p:txBody>
          </p:sp>
          <p:sp>
            <p:nvSpPr>
              <p:cNvPr id="45" name="Freeform 44">
                <a:extLst>
                  <a:ext uri="{FF2B5EF4-FFF2-40B4-BE49-F238E27FC236}">
                    <a16:creationId xmlns:a16="http://schemas.microsoft.com/office/drawing/2014/main" id="{0E76778D-4F77-CD33-9E6B-C82EF5B03585}"/>
                  </a:ext>
                </a:extLst>
              </p:cNvPr>
              <p:cNvSpPr/>
              <p:nvPr/>
            </p:nvSpPr>
            <p:spPr>
              <a:xfrm>
                <a:off x="7311844" y="3904773"/>
                <a:ext cx="70251" cy="78295"/>
              </a:xfrm>
              <a:custGeom>
                <a:avLst/>
                <a:gdLst>
                  <a:gd name="connsiteX0" fmla="*/ 0 w 70251"/>
                  <a:gd name="connsiteY0" fmla="*/ 1238 h 78295"/>
                  <a:gd name="connsiteX1" fmla="*/ 17491 w 70251"/>
                  <a:gd name="connsiteY1" fmla="*/ 1238 h 78295"/>
                  <a:gd name="connsiteX2" fmla="*/ 16826 w 70251"/>
                  <a:gd name="connsiteY2" fmla="*/ 23432 h 78295"/>
                  <a:gd name="connsiteX3" fmla="*/ 17016 w 70251"/>
                  <a:gd name="connsiteY3" fmla="*/ 23432 h 78295"/>
                  <a:gd name="connsiteX4" fmla="*/ 44394 w 70251"/>
                  <a:gd name="connsiteY4" fmla="*/ 0 h 78295"/>
                  <a:gd name="connsiteX5" fmla="*/ 70251 w 70251"/>
                  <a:gd name="connsiteY5" fmla="*/ 30099 h 78295"/>
                  <a:gd name="connsiteX6" fmla="*/ 69490 w 70251"/>
                  <a:gd name="connsiteY6" fmla="*/ 44482 h 78295"/>
                  <a:gd name="connsiteX7" fmla="*/ 53615 w 70251"/>
                  <a:gd name="connsiteY7" fmla="*/ 44482 h 78295"/>
                  <a:gd name="connsiteX8" fmla="*/ 54280 w 70251"/>
                  <a:gd name="connsiteY8" fmla="*/ 34004 h 78295"/>
                  <a:gd name="connsiteX9" fmla="*/ 39071 w 70251"/>
                  <a:gd name="connsiteY9" fmla="*/ 14954 h 78295"/>
                  <a:gd name="connsiteX10" fmla="*/ 17587 w 70251"/>
                  <a:gd name="connsiteY10" fmla="*/ 44577 h 78295"/>
                  <a:gd name="connsiteX11" fmla="*/ 17587 w 70251"/>
                  <a:gd name="connsiteY11" fmla="*/ 78296 h 78295"/>
                  <a:gd name="connsiteX12" fmla="*/ 95 w 70251"/>
                  <a:gd name="connsiteY12" fmla="*/ 78296 h 78295"/>
                  <a:gd name="connsiteX13" fmla="*/ 95 w 70251"/>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1" h="78295">
                    <a:moveTo>
                      <a:pt x="0" y="1238"/>
                    </a:moveTo>
                    <a:lnTo>
                      <a:pt x="17491" y="1238"/>
                    </a:lnTo>
                    <a:lnTo>
                      <a:pt x="16826" y="23432"/>
                    </a:lnTo>
                    <a:lnTo>
                      <a:pt x="17016" y="23432"/>
                    </a:lnTo>
                    <a:cubicBezTo>
                      <a:pt x="20629"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9071" y="14954"/>
                    </a:cubicBezTo>
                    <a:cubicBezTo>
                      <a:pt x="25857" y="14954"/>
                      <a:pt x="17587" y="26194"/>
                      <a:pt x="17587" y="44577"/>
                    </a:cubicBezTo>
                    <a:lnTo>
                      <a:pt x="17587" y="78296"/>
                    </a:lnTo>
                    <a:lnTo>
                      <a:pt x="95" y="78296"/>
                    </a:lnTo>
                    <a:lnTo>
                      <a:pt x="95" y="1238"/>
                    </a:lnTo>
                    <a:close/>
                  </a:path>
                </a:pathLst>
              </a:custGeom>
              <a:grpFill/>
              <a:ln w="9497" cap="flat">
                <a:noFill/>
                <a:prstDash val="solid"/>
                <a:miter/>
              </a:ln>
            </p:spPr>
            <p:txBody>
              <a:bodyPr rtlCol="0" anchor="ctr"/>
              <a:lstStyle/>
              <a:p>
                <a:endParaRPr lang="en-GB"/>
              </a:p>
            </p:txBody>
          </p:sp>
          <p:sp>
            <p:nvSpPr>
              <p:cNvPr id="46" name="Freeform 45">
                <a:extLst>
                  <a:ext uri="{FF2B5EF4-FFF2-40B4-BE49-F238E27FC236}">
                    <a16:creationId xmlns:a16="http://schemas.microsoft.com/office/drawing/2014/main" id="{B132FE3C-6126-9368-DA5D-1BB1D286FEA4}"/>
                  </a:ext>
                </a:extLst>
              </p:cNvPr>
              <p:cNvSpPr/>
              <p:nvPr/>
            </p:nvSpPr>
            <p:spPr>
              <a:xfrm>
                <a:off x="7397495" y="3874865"/>
                <a:ext cx="83749" cy="108204"/>
              </a:xfrm>
              <a:custGeom>
                <a:avLst/>
                <a:gdLst>
                  <a:gd name="connsiteX0" fmla="*/ 0 w 83749"/>
                  <a:gd name="connsiteY0" fmla="*/ 95 h 108204"/>
                  <a:gd name="connsiteX1" fmla="*/ 17491 w 83749"/>
                  <a:gd name="connsiteY1" fmla="*/ 95 h 108204"/>
                  <a:gd name="connsiteX2" fmla="*/ 17491 w 83749"/>
                  <a:gd name="connsiteY2" fmla="*/ 71533 h 108204"/>
                  <a:gd name="connsiteX3" fmla="*/ 17681 w 83749"/>
                  <a:gd name="connsiteY3" fmla="*/ 71533 h 108204"/>
                  <a:gd name="connsiteX4" fmla="*/ 59129 w 83749"/>
                  <a:gd name="connsiteY4" fmla="*/ 31147 h 108204"/>
                  <a:gd name="connsiteX5" fmla="*/ 81753 w 83749"/>
                  <a:gd name="connsiteY5" fmla="*/ 31147 h 108204"/>
                  <a:gd name="connsiteX6" fmla="*/ 45725 w 83749"/>
                  <a:gd name="connsiteY6" fmla="*/ 64675 h 108204"/>
                  <a:gd name="connsiteX7" fmla="*/ 83750 w 83749"/>
                  <a:gd name="connsiteY7" fmla="*/ 108204 h 108204"/>
                  <a:gd name="connsiteX8" fmla="*/ 60079 w 83749"/>
                  <a:gd name="connsiteY8" fmla="*/ 108204 h 108204"/>
                  <a:gd name="connsiteX9" fmla="*/ 32987 w 83749"/>
                  <a:gd name="connsiteY9" fmla="*/ 75724 h 108204"/>
                  <a:gd name="connsiteX10" fmla="*/ 17587 w 83749"/>
                  <a:gd name="connsiteY10" fmla="*/ 89916 h 108204"/>
                  <a:gd name="connsiteX11" fmla="*/ 17587 w 83749"/>
                  <a:gd name="connsiteY11" fmla="*/ 108204 h 108204"/>
                  <a:gd name="connsiteX12" fmla="*/ 95 w 83749"/>
                  <a:gd name="connsiteY12" fmla="*/ 108204 h 108204"/>
                  <a:gd name="connsiteX13" fmla="*/ 95 w 83749"/>
                  <a:gd name="connsiteY13" fmla="*/ 0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49" h="108204">
                    <a:moveTo>
                      <a:pt x="0" y="95"/>
                    </a:moveTo>
                    <a:lnTo>
                      <a:pt x="17491" y="95"/>
                    </a:lnTo>
                    <a:lnTo>
                      <a:pt x="17491" y="71533"/>
                    </a:lnTo>
                    <a:lnTo>
                      <a:pt x="17681" y="71533"/>
                    </a:lnTo>
                    <a:lnTo>
                      <a:pt x="59129" y="31147"/>
                    </a:lnTo>
                    <a:lnTo>
                      <a:pt x="81753" y="31147"/>
                    </a:lnTo>
                    <a:lnTo>
                      <a:pt x="45725" y="64675"/>
                    </a:lnTo>
                    <a:lnTo>
                      <a:pt x="83750" y="108204"/>
                    </a:lnTo>
                    <a:lnTo>
                      <a:pt x="60079" y="108204"/>
                    </a:lnTo>
                    <a:lnTo>
                      <a:pt x="32987" y="75724"/>
                    </a:lnTo>
                    <a:lnTo>
                      <a:pt x="17587" y="89916"/>
                    </a:lnTo>
                    <a:lnTo>
                      <a:pt x="17587" y="108204"/>
                    </a:lnTo>
                    <a:lnTo>
                      <a:pt x="95" y="108204"/>
                    </a:lnTo>
                    <a:lnTo>
                      <a:pt x="95" y="0"/>
                    </a:lnTo>
                    <a:close/>
                  </a:path>
                </a:pathLst>
              </a:custGeom>
              <a:grpFill/>
              <a:ln w="9497" cap="flat">
                <a:noFill/>
                <a:prstDash val="solid"/>
                <a:miter/>
              </a:ln>
            </p:spPr>
            <p:txBody>
              <a:bodyPr rtlCol="0" anchor="ctr"/>
              <a:lstStyle/>
              <a:p>
                <a:endParaRPr lang="en-GB"/>
              </a:p>
            </p:txBody>
          </p:sp>
          <p:sp>
            <p:nvSpPr>
              <p:cNvPr id="47" name="Freeform 46">
                <a:extLst>
                  <a:ext uri="{FF2B5EF4-FFF2-40B4-BE49-F238E27FC236}">
                    <a16:creationId xmlns:a16="http://schemas.microsoft.com/office/drawing/2014/main" id="{2C0B5C92-16E9-B775-81DA-091B46B8917E}"/>
                  </a:ext>
                </a:extLst>
              </p:cNvPr>
              <p:cNvSpPr/>
              <p:nvPr/>
            </p:nvSpPr>
            <p:spPr>
              <a:xfrm>
                <a:off x="7484762" y="3904868"/>
                <a:ext cx="75194" cy="79533"/>
              </a:xfrm>
              <a:custGeom>
                <a:avLst/>
                <a:gdLst>
                  <a:gd name="connsiteX0" fmla="*/ 75099 w 75194"/>
                  <a:gd name="connsiteY0" fmla="*/ 43148 h 79533"/>
                  <a:gd name="connsiteX1" fmla="*/ 17491 w 75194"/>
                  <a:gd name="connsiteY1" fmla="*/ 43148 h 79533"/>
                  <a:gd name="connsiteX2" fmla="*/ 39736 w 75194"/>
                  <a:gd name="connsiteY2" fmla="*/ 65913 h 79533"/>
                  <a:gd name="connsiteX3" fmla="*/ 59414 w 75194"/>
                  <a:gd name="connsiteY3" fmla="*/ 51911 h 79533"/>
                  <a:gd name="connsiteX4" fmla="*/ 75194 w 75194"/>
                  <a:gd name="connsiteY4" fmla="*/ 51911 h 79533"/>
                  <a:gd name="connsiteX5" fmla="*/ 39546 w 75194"/>
                  <a:gd name="connsiteY5" fmla="*/ 79534 h 79533"/>
                  <a:gd name="connsiteX6" fmla="*/ 0 w 75194"/>
                  <a:gd name="connsiteY6" fmla="*/ 40386 h 79533"/>
                  <a:gd name="connsiteX7" fmla="*/ 39546 w 75194"/>
                  <a:gd name="connsiteY7" fmla="*/ 0 h 79533"/>
                  <a:gd name="connsiteX8" fmla="*/ 75194 w 75194"/>
                  <a:gd name="connsiteY8" fmla="*/ 36957 h 79533"/>
                  <a:gd name="connsiteX9" fmla="*/ 75194 w 75194"/>
                  <a:gd name="connsiteY9" fmla="*/ 43244 h 79533"/>
                  <a:gd name="connsiteX10" fmla="*/ 59319 w 75194"/>
                  <a:gd name="connsiteY10" fmla="*/ 31433 h 79533"/>
                  <a:gd name="connsiteX11" fmla="*/ 39546 w 75194"/>
                  <a:gd name="connsiteY11" fmla="*/ 13525 h 79533"/>
                  <a:gd name="connsiteX12" fmla="*/ 17872 w 75194"/>
                  <a:gd name="connsiteY12" fmla="*/ 32575 h 79533"/>
                  <a:gd name="connsiteX13" fmla="*/ 59319 w 75194"/>
                  <a:gd name="connsiteY13" fmla="*/ 32575 h 79533"/>
                  <a:gd name="connsiteX14" fmla="*/ 59319 w 75194"/>
                  <a:gd name="connsiteY14" fmla="*/ 31528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194" h="79533">
                    <a:moveTo>
                      <a:pt x="75099" y="43148"/>
                    </a:moveTo>
                    <a:lnTo>
                      <a:pt x="17491" y="43148"/>
                    </a:lnTo>
                    <a:cubicBezTo>
                      <a:pt x="18442" y="58007"/>
                      <a:pt x="26712" y="65913"/>
                      <a:pt x="39736" y="65913"/>
                    </a:cubicBezTo>
                    <a:cubicBezTo>
                      <a:pt x="50953" y="65913"/>
                      <a:pt x="58558" y="60960"/>
                      <a:pt x="59414" y="51911"/>
                    </a:cubicBezTo>
                    <a:lnTo>
                      <a:pt x="75194" y="51911"/>
                    </a:lnTo>
                    <a:cubicBezTo>
                      <a:pt x="74529" y="69056"/>
                      <a:pt x="60555" y="79534"/>
                      <a:pt x="39546" y="79534"/>
                    </a:cubicBezTo>
                    <a:cubicBezTo>
                      <a:pt x="15210" y="79534"/>
                      <a:pt x="0" y="64579"/>
                      <a:pt x="0" y="40386"/>
                    </a:cubicBezTo>
                    <a:cubicBezTo>
                      <a:pt x="0" y="16193"/>
                      <a:pt x="15305" y="0"/>
                      <a:pt x="39546" y="0"/>
                    </a:cubicBezTo>
                    <a:cubicBezTo>
                      <a:pt x="61315" y="0"/>
                      <a:pt x="75194" y="12954"/>
                      <a:pt x="75194" y="36957"/>
                    </a:cubicBezTo>
                    <a:lnTo>
                      <a:pt x="75194" y="43244"/>
                    </a:lnTo>
                    <a:close/>
                    <a:moveTo>
                      <a:pt x="59319" y="31433"/>
                    </a:moveTo>
                    <a:cubicBezTo>
                      <a:pt x="59319" y="19907"/>
                      <a:pt x="52189" y="13525"/>
                      <a:pt x="39546" y="13525"/>
                    </a:cubicBezTo>
                    <a:cubicBezTo>
                      <a:pt x="26903" y="13525"/>
                      <a:pt x="19963" y="19812"/>
                      <a:pt x="17872" y="32575"/>
                    </a:cubicBezTo>
                    <a:lnTo>
                      <a:pt x="59319" y="32575"/>
                    </a:lnTo>
                    <a:lnTo>
                      <a:pt x="59319" y="31528"/>
                    </a:lnTo>
                    <a:close/>
                  </a:path>
                </a:pathLst>
              </a:custGeom>
              <a:grpFill/>
              <a:ln w="9497" cap="flat">
                <a:noFill/>
                <a:prstDash val="solid"/>
                <a:miter/>
              </a:ln>
            </p:spPr>
            <p:txBody>
              <a:bodyPr rtlCol="0" anchor="ctr"/>
              <a:lstStyle/>
              <a:p>
                <a:endParaRPr lang="en-GB"/>
              </a:p>
            </p:txBody>
          </p:sp>
          <p:sp>
            <p:nvSpPr>
              <p:cNvPr id="48" name="Freeform 47">
                <a:extLst>
                  <a:ext uri="{FF2B5EF4-FFF2-40B4-BE49-F238E27FC236}">
                    <a16:creationId xmlns:a16="http://schemas.microsoft.com/office/drawing/2014/main" id="{836A7DFA-3099-DBCD-9C0F-8BCFF969D273}"/>
                  </a:ext>
                </a:extLst>
              </p:cNvPr>
              <p:cNvSpPr/>
              <p:nvPr/>
            </p:nvSpPr>
            <p:spPr>
              <a:xfrm>
                <a:off x="7567751"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1"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GB"/>
              </a:p>
            </p:txBody>
          </p:sp>
          <p:sp>
            <p:nvSpPr>
              <p:cNvPr id="49" name="Freeform 48">
                <a:extLst>
                  <a:ext uri="{FF2B5EF4-FFF2-40B4-BE49-F238E27FC236}">
                    <a16:creationId xmlns:a16="http://schemas.microsoft.com/office/drawing/2014/main" id="{302979C7-3D04-579F-F501-7A5B02C926B9}"/>
                  </a:ext>
                </a:extLst>
              </p:cNvPr>
              <p:cNvSpPr/>
              <p:nvPr/>
            </p:nvSpPr>
            <p:spPr>
              <a:xfrm>
                <a:off x="763334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3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2"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0"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3" y="79629"/>
                    </a:cubicBezTo>
                    <a:cubicBezTo>
                      <a:pt x="9601" y="79629"/>
                      <a:pt x="95" y="67723"/>
                      <a:pt x="95" y="52673"/>
                    </a:cubicBezTo>
                    <a:close/>
                  </a:path>
                </a:pathLst>
              </a:custGeom>
              <a:grpFill/>
              <a:ln w="9497" cap="flat">
                <a:noFill/>
                <a:prstDash val="solid"/>
                <a:miter/>
              </a:ln>
            </p:spPr>
            <p:txBody>
              <a:bodyPr rtlCol="0" anchor="ctr"/>
              <a:lstStyle/>
              <a:p>
                <a:endParaRPr lang="en-GB"/>
              </a:p>
            </p:txBody>
          </p:sp>
        </p:grpSp>
      </p:grpSp>
      <p:sp>
        <p:nvSpPr>
          <p:cNvPr id="8" name="Graphic 8">
            <a:extLst>
              <a:ext uri="{FF2B5EF4-FFF2-40B4-BE49-F238E27FC236}">
                <a16:creationId xmlns:a16="http://schemas.microsoft.com/office/drawing/2014/main" id="{A36D3B19-7533-C1F6-01CA-25CC48B61A1C}"/>
              </a:ext>
            </a:extLst>
          </p:cNvPr>
          <p:cNvSpPr>
            <a:spLocks noChangeAspect="1"/>
          </p:cNvSpPr>
          <p:nvPr userDrawn="1"/>
        </p:nvSpPr>
        <p:spPr>
          <a:xfrm>
            <a:off x="6895086"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GB"/>
          </a:p>
        </p:txBody>
      </p:sp>
    </p:spTree>
    <p:extLst>
      <p:ext uri="{BB962C8B-B14F-4D97-AF65-F5344CB8AC3E}">
        <p14:creationId xmlns:p14="http://schemas.microsoft.com/office/powerpoint/2010/main" val="251518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iterate type="lt">
                                    <p:tmPct val="10000"/>
                                  </p:iterate>
                                  <p:childTnLst>
                                    <p:set>
                                      <p:cBhvr>
                                        <p:cTn id="6" dur="1" fill="hold">
                                          <p:stCondLst>
                                            <p:cond delay="0"/>
                                          </p:stCondLst>
                                        </p:cTn>
                                        <p:tgtEl>
                                          <p:spTgt spid="15">
                                            <p:txEl>
                                              <p:pRg st="0" end="0"/>
                                            </p:txEl>
                                          </p:spTgt>
                                        </p:tgtEl>
                                        <p:attrNameLst>
                                          <p:attrName>style.visibility</p:attrName>
                                        </p:attrNameLst>
                                      </p:cBhvr>
                                      <p:to>
                                        <p:strVal val="visible"/>
                                      </p:to>
                                    </p:set>
                                    <p:anim calcmode="lin" valueType="num">
                                      <p:cBhvr>
                                        <p:cTn id="7" dur="400" fill="hold"/>
                                        <p:tgtEl>
                                          <p:spTgt spid="15">
                                            <p:txEl>
                                              <p:pRg st="0" end="0"/>
                                            </p:txEl>
                                          </p:spTgt>
                                        </p:tgtEl>
                                        <p:attrNameLst>
                                          <p:attrName>ppt_w</p:attrName>
                                        </p:attrNameLst>
                                      </p:cBhvr>
                                      <p:tavLst>
                                        <p:tav tm="0">
                                          <p:val>
                                            <p:strVal val="#ppt_w*0.70"/>
                                          </p:val>
                                        </p:tav>
                                        <p:tav tm="100000">
                                          <p:val>
                                            <p:strVal val="#ppt_w"/>
                                          </p:val>
                                        </p:tav>
                                      </p:tavLst>
                                    </p:anim>
                                    <p:anim calcmode="lin" valueType="num">
                                      <p:cBhvr>
                                        <p:cTn id="8" dur="400" fill="hold"/>
                                        <p:tgtEl>
                                          <p:spTgt spid="15">
                                            <p:txEl>
                                              <p:pRg st="0" end="0"/>
                                            </p:txEl>
                                          </p:spTgt>
                                        </p:tgtEl>
                                        <p:attrNameLst>
                                          <p:attrName>ppt_h</p:attrName>
                                        </p:attrNameLst>
                                      </p:cBhvr>
                                      <p:tavLst>
                                        <p:tav tm="0">
                                          <p:val>
                                            <p:strVal val="#ppt_h"/>
                                          </p:val>
                                        </p:tav>
                                        <p:tav tm="100000">
                                          <p:val>
                                            <p:strVal val="#ppt_h"/>
                                          </p:val>
                                        </p:tav>
                                      </p:tavLst>
                                    </p:anim>
                                    <p:animEffect transition="in" filter="fade">
                                      <p:cBhvr>
                                        <p:cTn id="9" dur="400"/>
                                        <p:tgtEl>
                                          <p:spTgt spid="15">
                                            <p:txEl>
                                              <p:pRg st="0" end="0"/>
                                            </p:txEl>
                                          </p:spTgt>
                                        </p:tgtEl>
                                      </p:cBhvr>
                                    </p:animEffect>
                                  </p:childTnLst>
                                </p:cTn>
                              </p:par>
                              <p:par>
                                <p:cTn id="10" presetID="10" presetClass="entr" presetSubtype="0" fill="hold" grpId="0" nodeType="withEffect">
                                  <p:stCondLst>
                                    <p:cond delay="1250"/>
                                  </p:stCondLst>
                                  <p:childTnLst>
                                    <p:set>
                                      <p:cBhvr>
                                        <p:cTn id="11" dur="1" fill="hold">
                                          <p:stCondLst>
                                            <p:cond delay="0"/>
                                          </p:stCondLst>
                                        </p:cTn>
                                        <p:tgtEl>
                                          <p:spTgt spid="16">
                                            <p:txEl>
                                              <p:pRg st="0" end="0"/>
                                            </p:txEl>
                                          </p:spTgt>
                                        </p:tgtEl>
                                        <p:attrNameLst>
                                          <p:attrName>style.visibility</p:attrName>
                                        </p:attrNameLst>
                                      </p:cBhvr>
                                      <p:to>
                                        <p:strVal val="visible"/>
                                      </p:to>
                                    </p:set>
                                    <p:animEffect transition="in" filter="fade">
                                      <p:cBhvr>
                                        <p:cTn id="12" dur="750"/>
                                        <p:tgtEl>
                                          <p:spTgt spid="16">
                                            <p:txEl>
                                              <p:pRg st="0" end="0"/>
                                            </p:txEl>
                                          </p:spTgt>
                                        </p:tgtEl>
                                      </p:cBhvr>
                                    </p:animEffect>
                                  </p:childTnLst>
                                </p:cTn>
                              </p:par>
                              <p:par>
                                <p:cTn id="13" presetID="2" presetClass="entr" presetSubtype="4" decel="100000" fill="hold" nodeType="withEffect">
                                  <p:stCondLst>
                                    <p:cond delay="15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ppt_x"/>
                                          </p:val>
                                        </p:tav>
                                        <p:tav tm="100000">
                                          <p:val>
                                            <p:strVal val="#ppt_x"/>
                                          </p:val>
                                        </p:tav>
                                      </p:tavLst>
                                    </p:anim>
                                    <p:anim calcmode="lin" valueType="num">
                                      <p:cBhvr additive="base">
                                        <p:cTn id="16" dur="1000" fill="hold"/>
                                        <p:tgtEl>
                                          <p:spTgt spid="3"/>
                                        </p:tgtEl>
                                        <p:attrNameLst>
                                          <p:attrName>ppt_y</p:attrName>
                                        </p:attrNameLst>
                                      </p:cBhvr>
                                      <p:tavLst>
                                        <p:tav tm="0">
                                          <p:val>
                                            <p:strVal val="1+#ppt_h/2"/>
                                          </p:val>
                                        </p:tav>
                                        <p:tav tm="100000">
                                          <p:val>
                                            <p:strVal val="#ppt_y"/>
                                          </p:val>
                                        </p:tav>
                                      </p:tavLst>
                                    </p:anim>
                                  </p:childTnLst>
                                </p:cTn>
                              </p:par>
                              <p:par>
                                <p:cTn id="17" presetID="22" presetClass="entr" presetSubtype="1" fill="hold" grpId="0" nodeType="withEffect">
                                  <p:stCondLst>
                                    <p:cond delay="1500"/>
                                  </p:stCondLst>
                                  <p:childTnLst>
                                    <p:set>
                                      <p:cBhvr>
                                        <p:cTn id="18" dur="1" fill="hold">
                                          <p:stCondLst>
                                            <p:cond delay="0"/>
                                          </p:stCondLst>
                                        </p:cTn>
                                        <p:tgtEl>
                                          <p:spTgt spid="8"/>
                                        </p:tgtEl>
                                        <p:attrNameLst>
                                          <p:attrName>style.visibility</p:attrName>
                                        </p:attrNameLst>
                                      </p:cBhvr>
                                      <p:to>
                                        <p:strVal val="visible"/>
                                      </p:to>
                                    </p:set>
                                    <p:animEffect transition="in" filter="wipe(up)">
                                      <p:cBhvr>
                                        <p:cTn id="19" dur="1000"/>
                                        <p:tgtEl>
                                          <p:spTgt spid="8"/>
                                        </p:tgtEl>
                                      </p:cBhvr>
                                    </p:animEffect>
                                  </p:childTnLst>
                                </p:cTn>
                              </p:par>
                              <p:par>
                                <p:cTn id="20" presetID="10" presetClass="entr" presetSubtype="0" fill="hold" grpId="0" nodeType="withEffect">
                                  <p:stCondLst>
                                    <p:cond delay="22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tmplLst>
          <p:tmpl lvl="1">
            <p:tnLst>
              <p:par>
                <p:cTn presetID="55" presetClass="entr" presetSubtype="0" fill="hold" nodeType="withEffect">
                  <p:stCondLst>
                    <p:cond delay="0"/>
                  </p:stCondLst>
                  <p:iterate type="lt">
                    <p:tmPct val="10000"/>
                  </p:iterate>
                  <p:childTnLst>
                    <p:set>
                      <p:cBhvr>
                        <p:cTn dur="1" fill="hold">
                          <p:stCondLst>
                            <p:cond delay="0"/>
                          </p:stCondLst>
                        </p:cTn>
                        <p:tgtEl>
                          <p:spTgt spid="15"/>
                        </p:tgtEl>
                        <p:attrNameLst>
                          <p:attrName>style.visibility</p:attrName>
                        </p:attrNameLst>
                      </p:cBhvr>
                      <p:to>
                        <p:strVal val="visible"/>
                      </p:to>
                    </p:set>
                    <p:anim calcmode="lin" valueType="num">
                      <p:cBhvr>
                        <p:cTn dur="400" fill="hold"/>
                        <p:tgtEl>
                          <p:spTgt spid="15"/>
                        </p:tgtEl>
                        <p:attrNameLst>
                          <p:attrName>ppt_w</p:attrName>
                        </p:attrNameLst>
                      </p:cBhvr>
                      <p:tavLst>
                        <p:tav tm="0">
                          <p:val>
                            <p:strVal val="#ppt_w*0.70"/>
                          </p:val>
                        </p:tav>
                        <p:tav tm="100000">
                          <p:val>
                            <p:strVal val="#ppt_w"/>
                          </p:val>
                        </p:tav>
                      </p:tavLst>
                    </p:anim>
                    <p:anim calcmode="lin" valueType="num">
                      <p:cBhvr>
                        <p:cTn dur="400" fill="hold"/>
                        <p:tgtEl>
                          <p:spTgt spid="15"/>
                        </p:tgtEl>
                        <p:attrNameLst>
                          <p:attrName>ppt_h</p:attrName>
                        </p:attrNameLst>
                      </p:cBhvr>
                      <p:tavLst>
                        <p:tav tm="0">
                          <p:val>
                            <p:strVal val="#ppt_h"/>
                          </p:val>
                        </p:tav>
                        <p:tav tm="100000">
                          <p:val>
                            <p:strVal val="#ppt_h"/>
                          </p:val>
                        </p:tav>
                      </p:tavLst>
                    </p:anim>
                    <p:animEffect transition="in" filter="fade">
                      <p:cBhvr>
                        <p:cTn dur="400"/>
                        <p:tgtEl>
                          <p:spTgt spid="15"/>
                        </p:tgtEl>
                      </p:cBhvr>
                    </p:animEffect>
                  </p:childTnLst>
                </p:cTn>
              </p:par>
            </p:tnLst>
          </p:tmpl>
        </p:tmplLst>
      </p:bldP>
      <p:bldP spid="16" grpId="0" build="p">
        <p:tmplLst>
          <p:tmpl lvl="1">
            <p:tnLst>
              <p:par>
                <p:cTn presetID="10" presetClass="entr" presetSubtype="0" fill="hold" nodeType="withEffect">
                  <p:stCondLst>
                    <p:cond delay="1250"/>
                  </p:stCondLst>
                  <p:childTnLst>
                    <p:set>
                      <p:cBhvr>
                        <p:cTn dur="1" fill="hold">
                          <p:stCondLst>
                            <p:cond delay="0"/>
                          </p:stCondLst>
                        </p:cTn>
                        <p:tgtEl>
                          <p:spTgt spid="16"/>
                        </p:tgtEl>
                        <p:attrNameLst>
                          <p:attrName>style.visibility</p:attrName>
                        </p:attrNameLst>
                      </p:cBhvr>
                      <p:to>
                        <p:strVal val="visible"/>
                      </p:to>
                    </p:set>
                    <p:animEffect transition="in" filter="fade">
                      <p:cBhvr>
                        <p:cTn dur="750"/>
                        <p:tgtEl>
                          <p:spTgt spid="16"/>
                        </p:tgtEl>
                      </p:cBhvr>
                    </p:animEffect>
                  </p:childTnLst>
                </p:cTn>
              </p:par>
            </p:tnLst>
          </p:tmpl>
        </p:tmplLst>
      </p:bldP>
      <p:bldP spid="7" grpId="0"/>
      <p:bldP spid="8" grpId="0" animBg="1"/>
    </p:bldLst>
  </p:timing>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Slide (without image)">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ACE6FAF9-7846-146C-6D08-D1DF65DF7E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Text Placeholder 11">
            <a:extLst>
              <a:ext uri="{FF2B5EF4-FFF2-40B4-BE49-F238E27FC236}">
                <a16:creationId xmlns:a16="http://schemas.microsoft.com/office/drawing/2014/main" id="{140D1306-286B-D86B-C6B5-BC2A0E54B29C}"/>
              </a:ext>
            </a:extLst>
          </p:cNvPr>
          <p:cNvSpPr>
            <a:spLocks noGrp="1"/>
          </p:cNvSpPr>
          <p:nvPr>
            <p:ph type="body" sz="quarter" idx="16" hasCustomPrompt="1"/>
          </p:nvPr>
        </p:nvSpPr>
        <p:spPr>
          <a:xfrm>
            <a:off x="658812" y="1166813"/>
            <a:ext cx="10874375" cy="1868632"/>
          </a:xfrm>
        </p:spPr>
        <p:txBody>
          <a:bodyPr anchor="b">
            <a:normAutofit/>
          </a:bodyPr>
          <a:lstStyle>
            <a:lvl1pPr marL="0" indent="0">
              <a:lnSpc>
                <a:spcPct val="90000"/>
              </a:lnSpc>
              <a:spcBef>
                <a:spcPts val="0"/>
              </a:spcBef>
              <a:spcAft>
                <a:spcPts val="0"/>
              </a:spcAft>
              <a:buNone/>
              <a:defRPr sz="6500" b="1">
                <a:solidFill>
                  <a:srgbClr val="FFFFFF"/>
                </a:solidFill>
                <a:latin typeface="+mj-lt"/>
              </a:defRPr>
            </a:lvl1pPr>
          </a:lstStyle>
          <a:p>
            <a:pPr lvl="0"/>
            <a:r>
              <a:rPr lang="en-GB"/>
              <a:t>Presentation title goes in this space here</a:t>
            </a:r>
          </a:p>
        </p:txBody>
      </p:sp>
      <p:sp>
        <p:nvSpPr>
          <p:cNvPr id="16" name="Text Placeholder 11">
            <a:extLst>
              <a:ext uri="{FF2B5EF4-FFF2-40B4-BE49-F238E27FC236}">
                <a16:creationId xmlns:a16="http://schemas.microsoft.com/office/drawing/2014/main" id="{74A8F2DB-B148-88A1-2854-99FF5E6E5E58}"/>
              </a:ext>
            </a:extLst>
          </p:cNvPr>
          <p:cNvSpPr>
            <a:spLocks noGrp="1"/>
          </p:cNvSpPr>
          <p:nvPr>
            <p:ph type="body" sz="quarter" idx="17" hasCustomPrompt="1"/>
          </p:nvPr>
        </p:nvSpPr>
        <p:spPr>
          <a:xfrm>
            <a:off x="658813" y="3263962"/>
            <a:ext cx="5113337" cy="626878"/>
          </a:xfrm>
        </p:spPr>
        <p:txBody>
          <a:bodyPr>
            <a:normAutofit/>
          </a:bodyPr>
          <a:lstStyle>
            <a:lvl1pPr marL="0" indent="0">
              <a:buNone/>
              <a:defRPr sz="2800" b="0">
                <a:solidFill>
                  <a:srgbClr val="47D985"/>
                </a:solidFill>
              </a:defRPr>
            </a:lvl1pPr>
          </a:lstStyle>
          <a:p>
            <a:pPr lvl="0"/>
            <a:r>
              <a:rPr lang="en-GB"/>
              <a:t>25.08.2022</a:t>
            </a:r>
          </a:p>
        </p:txBody>
      </p:sp>
      <p:grpSp>
        <p:nvGrpSpPr>
          <p:cNvPr id="7" name="Graphic 77">
            <a:extLst>
              <a:ext uri="{FF2B5EF4-FFF2-40B4-BE49-F238E27FC236}">
                <a16:creationId xmlns:a16="http://schemas.microsoft.com/office/drawing/2014/main" id="{C014E542-CDFB-7E1A-E7C4-08753D29D426}"/>
              </a:ext>
            </a:extLst>
          </p:cNvPr>
          <p:cNvGrpSpPr>
            <a:grpSpLocks noChangeAspect="1"/>
          </p:cNvGrpSpPr>
          <p:nvPr userDrawn="1"/>
        </p:nvGrpSpPr>
        <p:grpSpPr>
          <a:xfrm>
            <a:off x="658812" y="4884015"/>
            <a:ext cx="2549217" cy="933156"/>
            <a:chOff x="4489439" y="2838428"/>
            <a:chExt cx="3217768" cy="1177883"/>
          </a:xfrm>
          <a:solidFill>
            <a:schemeClr val="bg1"/>
          </a:solidFill>
        </p:grpSpPr>
        <p:sp>
          <p:nvSpPr>
            <p:cNvPr id="28" name="Freeform 5">
              <a:extLst>
                <a:ext uri="{FF2B5EF4-FFF2-40B4-BE49-F238E27FC236}">
                  <a16:creationId xmlns:a16="http://schemas.microsoft.com/office/drawing/2014/main" id="{FD128CD8-58A7-1CDD-7EA4-3325A1AAC7E1}"/>
                </a:ext>
              </a:extLst>
            </p:cNvPr>
            <p:cNvSpPr/>
            <p:nvPr/>
          </p:nvSpPr>
          <p:spPr>
            <a:xfrm>
              <a:off x="4489439" y="2838428"/>
              <a:ext cx="3217388" cy="1177883"/>
            </a:xfrm>
            <a:custGeom>
              <a:avLst/>
              <a:gdLst>
                <a:gd name="connsiteX0" fmla="*/ 1527089 w 3217388"/>
                <a:gd name="connsiteY0" fmla="*/ 295107 h 1177883"/>
                <a:gd name="connsiteX1" fmla="*/ 1705520 w 3217388"/>
                <a:gd name="connsiteY1" fmla="*/ 295107 h 1177883"/>
                <a:gd name="connsiteX2" fmla="*/ 1705520 w 3217388"/>
                <a:gd name="connsiteY2" fmla="*/ 947283 h 1177883"/>
                <a:gd name="connsiteX3" fmla="*/ 1527089 w 3217388"/>
                <a:gd name="connsiteY3" fmla="*/ 947283 h 1177883"/>
                <a:gd name="connsiteX4" fmla="*/ 1527089 w 3217388"/>
                <a:gd name="connsiteY4" fmla="*/ 295107 h 1177883"/>
                <a:gd name="connsiteX5" fmla="*/ 2318481 w 3217388"/>
                <a:gd name="connsiteY5" fmla="*/ 4403 h 1177883"/>
                <a:gd name="connsiteX6" fmla="*/ 2318481 w 3217388"/>
                <a:gd name="connsiteY6" fmla="*/ 386070 h 1177883"/>
                <a:gd name="connsiteX7" fmla="*/ 2100884 w 3217388"/>
                <a:gd name="connsiteY7" fmla="*/ 274533 h 1177883"/>
                <a:gd name="connsiteX8" fmla="*/ 1939848 w 3217388"/>
                <a:gd name="connsiteY8" fmla="*/ 318919 h 1177883"/>
                <a:gd name="connsiteX9" fmla="*/ 1819785 w 3217388"/>
                <a:gd name="connsiteY9" fmla="*/ 441792 h 1177883"/>
                <a:gd name="connsiteX10" fmla="*/ 1776817 w 3217388"/>
                <a:gd name="connsiteY10" fmla="*/ 620576 h 1177883"/>
                <a:gd name="connsiteX11" fmla="*/ 1819785 w 3217388"/>
                <a:gd name="connsiteY11" fmla="*/ 800027 h 1177883"/>
                <a:gd name="connsiteX12" fmla="*/ 1940419 w 3217388"/>
                <a:gd name="connsiteY12" fmla="*/ 922899 h 1177883"/>
                <a:gd name="connsiteX13" fmla="*/ 2111816 w 3217388"/>
                <a:gd name="connsiteY13" fmla="*/ 966619 h 1177883"/>
                <a:gd name="connsiteX14" fmla="*/ 2318481 w 3217388"/>
                <a:gd name="connsiteY14" fmla="*/ 864606 h 1177883"/>
                <a:gd name="connsiteX15" fmla="*/ 2318481 w 3217388"/>
                <a:gd name="connsiteY15" fmla="*/ 947283 h 1177883"/>
                <a:gd name="connsiteX16" fmla="*/ 2496913 w 3217388"/>
                <a:gd name="connsiteY16" fmla="*/ 947283 h 1177883"/>
                <a:gd name="connsiteX17" fmla="*/ 2496913 w 3217388"/>
                <a:gd name="connsiteY17" fmla="*/ 4403 h 1177883"/>
                <a:gd name="connsiteX18" fmla="*/ 2318481 w 3217388"/>
                <a:gd name="connsiteY18" fmla="*/ 4403 h 1177883"/>
                <a:gd name="connsiteX19" fmla="*/ 2146323 w 3217388"/>
                <a:gd name="connsiteY19" fmla="*/ 813648 h 1177883"/>
                <a:gd name="connsiteX20" fmla="*/ 1957815 w 3217388"/>
                <a:gd name="connsiteY20" fmla="*/ 620576 h 1177883"/>
                <a:gd name="connsiteX21" fmla="*/ 2146323 w 3217388"/>
                <a:gd name="connsiteY21" fmla="*/ 427504 h 1177883"/>
                <a:gd name="connsiteX22" fmla="*/ 2334832 w 3217388"/>
                <a:gd name="connsiteY22" fmla="*/ 620576 h 1177883"/>
                <a:gd name="connsiteX23" fmla="*/ 2146323 w 3217388"/>
                <a:gd name="connsiteY23" fmla="*/ 813648 h 1177883"/>
                <a:gd name="connsiteX24" fmla="*/ 3186113 w 3217388"/>
                <a:gd name="connsiteY24" fmla="*/ 403787 h 1177883"/>
                <a:gd name="connsiteX25" fmla="*/ 3097515 w 3217388"/>
                <a:gd name="connsiteY25" fmla="*/ 307298 h 1177883"/>
                <a:gd name="connsiteX26" fmla="*/ 2959485 w 3217388"/>
                <a:gd name="connsiteY26" fmla="*/ 274533 h 1177883"/>
                <a:gd name="connsiteX27" fmla="*/ 2759189 w 3217388"/>
                <a:gd name="connsiteY27" fmla="*/ 385975 h 1177883"/>
                <a:gd name="connsiteX28" fmla="*/ 2759189 w 3217388"/>
                <a:gd name="connsiteY28" fmla="*/ 4403 h 1177883"/>
                <a:gd name="connsiteX29" fmla="*/ 2580567 w 3217388"/>
                <a:gd name="connsiteY29" fmla="*/ 4403 h 1177883"/>
                <a:gd name="connsiteX30" fmla="*/ 2580567 w 3217388"/>
                <a:gd name="connsiteY30" fmla="*/ 947283 h 1177883"/>
                <a:gd name="connsiteX31" fmla="*/ 2759094 w 3217388"/>
                <a:gd name="connsiteY31" fmla="*/ 947283 h 1177883"/>
                <a:gd name="connsiteX32" fmla="*/ 2759094 w 3217388"/>
                <a:gd name="connsiteY32" fmla="*/ 598097 h 1177883"/>
                <a:gd name="connsiteX33" fmla="*/ 2902162 w 3217388"/>
                <a:gd name="connsiteY33" fmla="*/ 429219 h 1177883"/>
                <a:gd name="connsiteX34" fmla="*/ 3038957 w 3217388"/>
                <a:gd name="connsiteY34" fmla="*/ 598097 h 1177883"/>
                <a:gd name="connsiteX35" fmla="*/ 3038957 w 3217388"/>
                <a:gd name="connsiteY35" fmla="*/ 947283 h 1177883"/>
                <a:gd name="connsiteX36" fmla="*/ 3217388 w 3217388"/>
                <a:gd name="connsiteY36" fmla="*/ 947283 h 1177883"/>
                <a:gd name="connsiteX37" fmla="*/ 3217388 w 3217388"/>
                <a:gd name="connsiteY37" fmla="*/ 560092 h 1177883"/>
                <a:gd name="connsiteX38" fmla="*/ 3185923 w 3217388"/>
                <a:gd name="connsiteY38" fmla="*/ 403787 h 1177883"/>
                <a:gd name="connsiteX39" fmla="*/ 1731282 w 3217388"/>
                <a:gd name="connsiteY39" fmla="*/ 100701 h 1177883"/>
                <a:gd name="connsiteX40" fmla="*/ 1615972 w 3217388"/>
                <a:gd name="connsiteY40" fmla="*/ 216906 h 1177883"/>
                <a:gd name="connsiteX41" fmla="*/ 1507221 w 3217388"/>
                <a:gd name="connsiteY41" fmla="*/ 156803 h 1177883"/>
                <a:gd name="connsiteX42" fmla="*/ 1560836 w 3217388"/>
                <a:gd name="connsiteY42" fmla="*/ 8499 h 1177883"/>
                <a:gd name="connsiteX43" fmla="*/ 1731187 w 3217388"/>
                <a:gd name="connsiteY43" fmla="*/ 100606 h 1177883"/>
                <a:gd name="connsiteX44" fmla="*/ 1731187 w 3217388"/>
                <a:gd name="connsiteY44" fmla="*/ 100606 h 1177883"/>
                <a:gd name="connsiteX45" fmla="*/ 243274 w 3217388"/>
                <a:gd name="connsiteY45" fmla="*/ 1020912 h 1177883"/>
                <a:gd name="connsiteX46" fmla="*/ 250974 w 3217388"/>
                <a:gd name="connsiteY46" fmla="*/ 1046439 h 1177883"/>
                <a:gd name="connsiteX47" fmla="*/ 217798 w 3217388"/>
                <a:gd name="connsiteY47" fmla="*/ 1047010 h 1177883"/>
                <a:gd name="connsiteX48" fmla="*/ 198975 w 3217388"/>
                <a:gd name="connsiteY48" fmla="*/ 1012625 h 1177883"/>
                <a:gd name="connsiteX49" fmla="*/ 243274 w 3217388"/>
                <a:gd name="connsiteY49" fmla="*/ 1020912 h 1177883"/>
                <a:gd name="connsiteX50" fmla="*/ 848820 w 3217388"/>
                <a:gd name="connsiteY50" fmla="*/ 564283 h 1177883"/>
                <a:gd name="connsiteX51" fmla="*/ 826290 w 3217388"/>
                <a:gd name="connsiteY51" fmla="*/ 650103 h 1177883"/>
                <a:gd name="connsiteX52" fmla="*/ 712121 w 3217388"/>
                <a:gd name="connsiteY52" fmla="*/ 716302 h 1177883"/>
                <a:gd name="connsiteX53" fmla="*/ 683507 w 3217388"/>
                <a:gd name="connsiteY53" fmla="*/ 719255 h 1177883"/>
                <a:gd name="connsiteX54" fmla="*/ 564489 w 3217388"/>
                <a:gd name="connsiteY54" fmla="*/ 646103 h 1177883"/>
                <a:gd name="connsiteX55" fmla="*/ 631223 w 3217388"/>
                <a:gd name="connsiteY55" fmla="*/ 446173 h 1177883"/>
                <a:gd name="connsiteX56" fmla="*/ 765451 w 3217388"/>
                <a:gd name="connsiteY56" fmla="*/ 454841 h 1177883"/>
                <a:gd name="connsiteX57" fmla="*/ 848915 w 3217388"/>
                <a:gd name="connsiteY57" fmla="*/ 563997 h 1177883"/>
                <a:gd name="connsiteX58" fmla="*/ 848915 w 3217388"/>
                <a:gd name="connsiteY58" fmla="*/ 564188 h 1177883"/>
                <a:gd name="connsiteX59" fmla="*/ 808039 w 3217388"/>
                <a:gd name="connsiteY59" fmla="*/ 570760 h 1177883"/>
                <a:gd name="connsiteX60" fmla="*/ 718680 w 3217388"/>
                <a:gd name="connsiteY60" fmla="*/ 484749 h 1177883"/>
                <a:gd name="connsiteX61" fmla="*/ 692158 w 3217388"/>
                <a:gd name="connsiteY61" fmla="*/ 481511 h 1177883"/>
                <a:gd name="connsiteX62" fmla="*/ 624759 w 3217388"/>
                <a:gd name="connsiteY62" fmla="*/ 514182 h 1177883"/>
                <a:gd name="connsiteX63" fmla="*/ 612211 w 3217388"/>
                <a:gd name="connsiteY63" fmla="*/ 626291 h 1177883"/>
                <a:gd name="connsiteX64" fmla="*/ 684933 w 3217388"/>
                <a:gd name="connsiteY64" fmla="*/ 671058 h 1177883"/>
                <a:gd name="connsiteX65" fmla="*/ 788076 w 3217388"/>
                <a:gd name="connsiteY65" fmla="*/ 630006 h 1177883"/>
                <a:gd name="connsiteX66" fmla="*/ 807943 w 3217388"/>
                <a:gd name="connsiteY66" fmla="*/ 570665 h 1177883"/>
                <a:gd name="connsiteX67" fmla="*/ 893024 w 3217388"/>
                <a:gd name="connsiteY67" fmla="*/ 502656 h 1177883"/>
                <a:gd name="connsiteX68" fmla="*/ 838173 w 3217388"/>
                <a:gd name="connsiteY68" fmla="*/ 782977 h 1177883"/>
                <a:gd name="connsiteX69" fmla="*/ 677043 w 3217388"/>
                <a:gd name="connsiteY69" fmla="*/ 846414 h 1177883"/>
                <a:gd name="connsiteX70" fmla="*/ 622097 w 3217388"/>
                <a:gd name="connsiteY70" fmla="*/ 840508 h 1177883"/>
                <a:gd name="connsiteX71" fmla="*/ 418569 w 3217388"/>
                <a:gd name="connsiteY71" fmla="*/ 675059 h 1177883"/>
                <a:gd name="connsiteX72" fmla="*/ 419710 w 3217388"/>
                <a:gd name="connsiteY72" fmla="*/ 475224 h 1177883"/>
                <a:gd name="connsiteX73" fmla="*/ 569147 w 3217388"/>
                <a:gd name="connsiteY73" fmla="*/ 334254 h 1177883"/>
                <a:gd name="connsiteX74" fmla="*/ 753663 w 3217388"/>
                <a:gd name="connsiteY74" fmla="*/ 342922 h 1177883"/>
                <a:gd name="connsiteX75" fmla="*/ 893024 w 3217388"/>
                <a:gd name="connsiteY75" fmla="*/ 502561 h 1177883"/>
                <a:gd name="connsiteX76" fmla="*/ 880381 w 3217388"/>
                <a:gd name="connsiteY76" fmla="*/ 507323 h 1177883"/>
                <a:gd name="connsiteX77" fmla="*/ 880381 w 3217388"/>
                <a:gd name="connsiteY77" fmla="*/ 507323 h 1177883"/>
                <a:gd name="connsiteX78" fmla="*/ 670198 w 3217388"/>
                <a:gd name="connsiteY78" fmla="*/ 370449 h 1177883"/>
                <a:gd name="connsiteX79" fmla="*/ 669153 w 3217388"/>
                <a:gd name="connsiteY79" fmla="*/ 370449 h 1177883"/>
                <a:gd name="connsiteX80" fmla="*/ 485588 w 3217388"/>
                <a:gd name="connsiteY80" fmla="*/ 460746 h 1177883"/>
                <a:gd name="connsiteX81" fmla="*/ 448704 w 3217388"/>
                <a:gd name="connsiteY81" fmla="*/ 664391 h 1177883"/>
                <a:gd name="connsiteX82" fmla="*/ 557170 w 3217388"/>
                <a:gd name="connsiteY82" fmla="*/ 793264 h 1177883"/>
                <a:gd name="connsiteX83" fmla="*/ 734270 w 3217388"/>
                <a:gd name="connsiteY83" fmla="*/ 794121 h 1177883"/>
                <a:gd name="connsiteX84" fmla="*/ 880381 w 3217388"/>
                <a:gd name="connsiteY84" fmla="*/ 507419 h 1177883"/>
                <a:gd name="connsiteX85" fmla="*/ 634645 w 3217388"/>
                <a:gd name="connsiteY85" fmla="*/ 996051 h 1177883"/>
                <a:gd name="connsiteX86" fmla="*/ 488535 w 3217388"/>
                <a:gd name="connsiteY86" fmla="*/ 966524 h 1177883"/>
                <a:gd name="connsiteX87" fmla="*/ 255062 w 3217388"/>
                <a:gd name="connsiteY87" fmla="*/ 426742 h 1177883"/>
                <a:gd name="connsiteX88" fmla="*/ 580460 w 3217388"/>
                <a:gd name="connsiteY88" fmla="*/ 157280 h 1177883"/>
                <a:gd name="connsiteX89" fmla="*/ 969359 w 3217388"/>
                <a:gd name="connsiteY89" fmla="*/ 317490 h 1177883"/>
                <a:gd name="connsiteX90" fmla="*/ 1014704 w 3217388"/>
                <a:gd name="connsiteY90" fmla="*/ 721255 h 1177883"/>
                <a:gd name="connsiteX91" fmla="*/ 785129 w 3217388"/>
                <a:gd name="connsiteY91" fmla="*/ 964714 h 1177883"/>
                <a:gd name="connsiteX92" fmla="*/ 634645 w 3217388"/>
                <a:gd name="connsiteY92" fmla="*/ 996051 h 1177883"/>
                <a:gd name="connsiteX93" fmla="*/ 1002631 w 3217388"/>
                <a:gd name="connsiteY93" fmla="*/ 716493 h 1177883"/>
                <a:gd name="connsiteX94" fmla="*/ 945593 w 3217388"/>
                <a:gd name="connsiteY94" fmla="*/ 359496 h 1177883"/>
                <a:gd name="connsiteX95" fmla="*/ 637212 w 3217388"/>
                <a:gd name="connsiteY95" fmla="*/ 204333 h 1177883"/>
                <a:gd name="connsiteX96" fmla="*/ 590156 w 3217388"/>
                <a:gd name="connsiteY96" fmla="*/ 207191 h 1177883"/>
                <a:gd name="connsiteX97" fmla="*/ 284151 w 3217388"/>
                <a:gd name="connsiteY97" fmla="*/ 438077 h 1177883"/>
                <a:gd name="connsiteX98" fmla="*/ 376456 w 3217388"/>
                <a:gd name="connsiteY98" fmla="*/ 851748 h 1177883"/>
                <a:gd name="connsiteX99" fmla="*/ 744632 w 3217388"/>
                <a:gd name="connsiteY99" fmla="*/ 937568 h 1177883"/>
                <a:gd name="connsiteX100" fmla="*/ 1002536 w 3217388"/>
                <a:gd name="connsiteY100" fmla="*/ 716493 h 1177883"/>
                <a:gd name="connsiteX101" fmla="*/ 1002536 w 3217388"/>
                <a:gd name="connsiteY101" fmla="*/ 716493 h 1177883"/>
                <a:gd name="connsiteX102" fmla="*/ 43834 w 3217388"/>
                <a:gd name="connsiteY102" fmla="*/ 569617 h 1177883"/>
                <a:gd name="connsiteX103" fmla="*/ 240328 w 3217388"/>
                <a:gd name="connsiteY103" fmla="*/ 192998 h 1177883"/>
                <a:gd name="connsiteX104" fmla="*/ 636451 w 3217388"/>
                <a:gd name="connsiteY104" fmla="*/ 44408 h 1177883"/>
                <a:gd name="connsiteX105" fmla="*/ 1012897 w 3217388"/>
                <a:gd name="connsiteY105" fmla="*/ 220240 h 1177883"/>
                <a:gd name="connsiteX106" fmla="*/ 1019742 w 3217388"/>
                <a:gd name="connsiteY106" fmla="*/ 223955 h 1177883"/>
                <a:gd name="connsiteX107" fmla="*/ 1027537 w 3217388"/>
                <a:gd name="connsiteY107" fmla="*/ 221288 h 1177883"/>
                <a:gd name="connsiteX108" fmla="*/ 1030674 w 3217388"/>
                <a:gd name="connsiteY108" fmla="*/ 213668 h 1177883"/>
                <a:gd name="connsiteX109" fmla="*/ 1027822 w 3217388"/>
                <a:gd name="connsiteY109" fmla="*/ 206905 h 1177883"/>
                <a:gd name="connsiteX110" fmla="*/ 565345 w 3217388"/>
                <a:gd name="connsiteY110" fmla="*/ 212 h 1177883"/>
                <a:gd name="connsiteX111" fmla="*/ 119504 w 3217388"/>
                <a:gd name="connsiteY111" fmla="*/ 229765 h 1177883"/>
                <a:gd name="connsiteX112" fmla="*/ 148402 w 3217388"/>
                <a:gd name="connsiteY112" fmla="*/ 978049 h 1177883"/>
                <a:gd name="connsiteX113" fmla="*/ 152775 w 3217388"/>
                <a:gd name="connsiteY113" fmla="*/ 982907 h 1177883"/>
                <a:gd name="connsiteX114" fmla="*/ 155057 w 3217388"/>
                <a:gd name="connsiteY114" fmla="*/ 985383 h 1177883"/>
                <a:gd name="connsiteX115" fmla="*/ 156198 w 3217388"/>
                <a:gd name="connsiteY115" fmla="*/ 986050 h 1177883"/>
                <a:gd name="connsiteX116" fmla="*/ 162852 w 3217388"/>
                <a:gd name="connsiteY116" fmla="*/ 987860 h 1177883"/>
                <a:gd name="connsiteX117" fmla="*/ 166464 w 3217388"/>
                <a:gd name="connsiteY117" fmla="*/ 987384 h 1177883"/>
                <a:gd name="connsiteX118" fmla="*/ 173974 w 3217388"/>
                <a:gd name="connsiteY118" fmla="*/ 981383 h 1177883"/>
                <a:gd name="connsiteX119" fmla="*/ 172168 w 3217388"/>
                <a:gd name="connsiteY119" fmla="*/ 967191 h 1177883"/>
                <a:gd name="connsiteX120" fmla="*/ 43929 w 3217388"/>
                <a:gd name="connsiteY120" fmla="*/ 569712 h 1177883"/>
                <a:gd name="connsiteX121" fmla="*/ 1172032 w 3217388"/>
                <a:gd name="connsiteY121" fmla="*/ 561997 h 1177883"/>
                <a:gd name="connsiteX122" fmla="*/ 1171651 w 3217388"/>
                <a:gd name="connsiteY122" fmla="*/ 559902 h 1177883"/>
                <a:gd name="connsiteX123" fmla="*/ 1159578 w 3217388"/>
                <a:gd name="connsiteY123" fmla="*/ 550853 h 1177883"/>
                <a:gd name="connsiteX124" fmla="*/ 1150738 w 3217388"/>
                <a:gd name="connsiteY124" fmla="*/ 555520 h 1177883"/>
                <a:gd name="connsiteX125" fmla="*/ 1148076 w 3217388"/>
                <a:gd name="connsiteY125" fmla="*/ 565521 h 1177883"/>
                <a:gd name="connsiteX126" fmla="*/ 1074403 w 3217388"/>
                <a:gd name="connsiteY126" fmla="*/ 861939 h 1177883"/>
                <a:gd name="connsiteX127" fmla="*/ 621241 w 3217388"/>
                <a:gd name="connsiteY127" fmla="*/ 1150642 h 1177883"/>
                <a:gd name="connsiteX128" fmla="*/ 609169 w 3217388"/>
                <a:gd name="connsiteY128" fmla="*/ 1165692 h 1177883"/>
                <a:gd name="connsiteX129" fmla="*/ 620481 w 3217388"/>
                <a:gd name="connsiteY129" fmla="*/ 1177693 h 1177883"/>
                <a:gd name="connsiteX130" fmla="*/ 621432 w 3217388"/>
                <a:gd name="connsiteY130" fmla="*/ 1177884 h 1177883"/>
                <a:gd name="connsiteX131" fmla="*/ 622382 w 3217388"/>
                <a:gd name="connsiteY131" fmla="*/ 1177884 h 1177883"/>
                <a:gd name="connsiteX132" fmla="*/ 664685 w 3217388"/>
                <a:gd name="connsiteY132" fmla="*/ 1174264 h 1177883"/>
                <a:gd name="connsiteX133" fmla="*/ 1045599 w 3217388"/>
                <a:gd name="connsiteY133" fmla="*/ 963285 h 1177883"/>
                <a:gd name="connsiteX134" fmla="*/ 1172032 w 3217388"/>
                <a:gd name="connsiteY134" fmla="*/ 561997 h 1177883"/>
                <a:gd name="connsiteX135" fmla="*/ 1170130 w 3217388"/>
                <a:gd name="connsiteY135" fmla="*/ 489226 h 1177883"/>
                <a:gd name="connsiteX136" fmla="*/ 1142657 w 3217388"/>
                <a:gd name="connsiteY136" fmla="*/ 363591 h 1177883"/>
                <a:gd name="connsiteX137" fmla="*/ 1115565 w 3217388"/>
                <a:gd name="connsiteY137" fmla="*/ 352923 h 1177883"/>
                <a:gd name="connsiteX138" fmla="*/ 1114804 w 3217388"/>
                <a:gd name="connsiteY138" fmla="*/ 389975 h 1177883"/>
                <a:gd name="connsiteX139" fmla="*/ 1145414 w 3217388"/>
                <a:gd name="connsiteY139" fmla="*/ 486559 h 1177883"/>
                <a:gd name="connsiteX140" fmla="*/ 1158913 w 3217388"/>
                <a:gd name="connsiteY140" fmla="*/ 501418 h 1177883"/>
                <a:gd name="connsiteX141" fmla="*/ 1170130 w 3217388"/>
                <a:gd name="connsiteY141" fmla="*/ 489321 h 117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217388" h="1177883">
                  <a:moveTo>
                    <a:pt x="1527089" y="295107"/>
                  </a:moveTo>
                  <a:lnTo>
                    <a:pt x="1705520" y="295107"/>
                  </a:lnTo>
                  <a:lnTo>
                    <a:pt x="1705520" y="947283"/>
                  </a:lnTo>
                  <a:lnTo>
                    <a:pt x="1527089" y="947283"/>
                  </a:lnTo>
                  <a:lnTo>
                    <a:pt x="1527089" y="295107"/>
                  </a:lnTo>
                  <a:close/>
                  <a:moveTo>
                    <a:pt x="2318481" y="4403"/>
                  </a:moveTo>
                  <a:lnTo>
                    <a:pt x="2318481" y="386070"/>
                  </a:lnTo>
                  <a:cubicBezTo>
                    <a:pt x="2295095" y="345779"/>
                    <a:pt x="2216669" y="274533"/>
                    <a:pt x="2100884" y="274533"/>
                  </a:cubicBezTo>
                  <a:cubicBezTo>
                    <a:pt x="2046888" y="274533"/>
                    <a:pt x="1991182" y="289296"/>
                    <a:pt x="1939848" y="318919"/>
                  </a:cubicBezTo>
                  <a:cubicBezTo>
                    <a:pt x="1888515" y="348542"/>
                    <a:pt x="1848494" y="389499"/>
                    <a:pt x="1819785" y="441792"/>
                  </a:cubicBezTo>
                  <a:cubicBezTo>
                    <a:pt x="1791076" y="494084"/>
                    <a:pt x="1776817" y="553710"/>
                    <a:pt x="1776817" y="620576"/>
                  </a:cubicBezTo>
                  <a:cubicBezTo>
                    <a:pt x="1776817" y="687441"/>
                    <a:pt x="1791171" y="747258"/>
                    <a:pt x="1819785" y="800027"/>
                  </a:cubicBezTo>
                  <a:cubicBezTo>
                    <a:pt x="1848399" y="852795"/>
                    <a:pt x="1888705" y="893753"/>
                    <a:pt x="1940419" y="922899"/>
                  </a:cubicBezTo>
                  <a:cubicBezTo>
                    <a:pt x="1992228" y="952046"/>
                    <a:pt x="2048409" y="966619"/>
                    <a:pt x="2111816" y="966619"/>
                  </a:cubicBezTo>
                  <a:cubicBezTo>
                    <a:pt x="2223704" y="966619"/>
                    <a:pt x="2302605" y="899182"/>
                    <a:pt x="2318481" y="864606"/>
                  </a:cubicBezTo>
                  <a:lnTo>
                    <a:pt x="2318481" y="947283"/>
                  </a:lnTo>
                  <a:cubicBezTo>
                    <a:pt x="2318481" y="947283"/>
                    <a:pt x="2496913" y="947283"/>
                    <a:pt x="2496913" y="947283"/>
                  </a:cubicBezTo>
                  <a:lnTo>
                    <a:pt x="2496913" y="4403"/>
                  </a:lnTo>
                  <a:lnTo>
                    <a:pt x="2318481" y="4403"/>
                  </a:lnTo>
                  <a:close/>
                  <a:moveTo>
                    <a:pt x="2146323" y="813648"/>
                  </a:moveTo>
                  <a:cubicBezTo>
                    <a:pt x="2030633" y="813648"/>
                    <a:pt x="1957815" y="728304"/>
                    <a:pt x="1957815" y="620576"/>
                  </a:cubicBezTo>
                  <a:cubicBezTo>
                    <a:pt x="1957815" y="512848"/>
                    <a:pt x="2030252" y="427504"/>
                    <a:pt x="2146323" y="427504"/>
                  </a:cubicBezTo>
                  <a:cubicBezTo>
                    <a:pt x="2262394" y="427504"/>
                    <a:pt x="2334832" y="512848"/>
                    <a:pt x="2334832" y="620576"/>
                  </a:cubicBezTo>
                  <a:cubicBezTo>
                    <a:pt x="2334832" y="728304"/>
                    <a:pt x="2260398" y="813648"/>
                    <a:pt x="2146323" y="813648"/>
                  </a:cubicBezTo>
                  <a:close/>
                  <a:moveTo>
                    <a:pt x="3186113" y="403787"/>
                  </a:moveTo>
                  <a:cubicBezTo>
                    <a:pt x="3165104" y="361305"/>
                    <a:pt x="3135635" y="329206"/>
                    <a:pt x="3097515" y="307298"/>
                  </a:cubicBezTo>
                  <a:cubicBezTo>
                    <a:pt x="3059395" y="285391"/>
                    <a:pt x="3013480" y="274533"/>
                    <a:pt x="2959485" y="274533"/>
                  </a:cubicBezTo>
                  <a:cubicBezTo>
                    <a:pt x="2848832" y="274533"/>
                    <a:pt x="2777441" y="350351"/>
                    <a:pt x="2759189" y="385975"/>
                  </a:cubicBezTo>
                  <a:lnTo>
                    <a:pt x="2759189" y="4403"/>
                  </a:lnTo>
                  <a:lnTo>
                    <a:pt x="2580567" y="4403"/>
                  </a:lnTo>
                  <a:lnTo>
                    <a:pt x="2580567" y="947283"/>
                  </a:lnTo>
                  <a:lnTo>
                    <a:pt x="2759094" y="947283"/>
                  </a:lnTo>
                  <a:lnTo>
                    <a:pt x="2759094" y="598097"/>
                  </a:lnTo>
                  <a:cubicBezTo>
                    <a:pt x="2759094" y="495227"/>
                    <a:pt x="2816987" y="429219"/>
                    <a:pt x="2902162" y="429219"/>
                  </a:cubicBezTo>
                  <a:cubicBezTo>
                    <a:pt x="2947792" y="429219"/>
                    <a:pt x="3038957" y="462175"/>
                    <a:pt x="3038957" y="598097"/>
                  </a:cubicBezTo>
                  <a:lnTo>
                    <a:pt x="3038957" y="947283"/>
                  </a:lnTo>
                  <a:lnTo>
                    <a:pt x="3217388" y="947283"/>
                  </a:lnTo>
                  <a:lnTo>
                    <a:pt x="3217388" y="560092"/>
                  </a:lnTo>
                  <a:cubicBezTo>
                    <a:pt x="3217388" y="498370"/>
                    <a:pt x="3206932" y="446268"/>
                    <a:pt x="3185923" y="403787"/>
                  </a:cubicBezTo>
                  <a:close/>
                  <a:moveTo>
                    <a:pt x="1731282" y="100701"/>
                  </a:moveTo>
                  <a:cubicBezTo>
                    <a:pt x="1740503" y="166900"/>
                    <a:pt x="1673104" y="211667"/>
                    <a:pt x="1615972" y="216906"/>
                  </a:cubicBezTo>
                  <a:cubicBezTo>
                    <a:pt x="1570342" y="223193"/>
                    <a:pt x="1522621" y="204333"/>
                    <a:pt x="1507221" y="156803"/>
                  </a:cubicBezTo>
                  <a:cubicBezTo>
                    <a:pt x="1489539" y="102987"/>
                    <a:pt x="1506555" y="32978"/>
                    <a:pt x="1560836" y="8499"/>
                  </a:cubicBezTo>
                  <a:cubicBezTo>
                    <a:pt x="1627474" y="-20266"/>
                    <a:pt x="1718163" y="27359"/>
                    <a:pt x="1731187" y="100606"/>
                  </a:cubicBezTo>
                  <a:lnTo>
                    <a:pt x="1731187" y="100606"/>
                  </a:lnTo>
                  <a:close/>
                  <a:moveTo>
                    <a:pt x="243274" y="1020912"/>
                  </a:moveTo>
                  <a:cubicBezTo>
                    <a:pt x="251735" y="1025864"/>
                    <a:pt x="257819" y="1034437"/>
                    <a:pt x="250974" y="1046439"/>
                  </a:cubicBezTo>
                  <a:cubicBezTo>
                    <a:pt x="244130" y="1058440"/>
                    <a:pt x="225213" y="1053297"/>
                    <a:pt x="217798" y="1047010"/>
                  </a:cubicBezTo>
                  <a:cubicBezTo>
                    <a:pt x="206961" y="1037771"/>
                    <a:pt x="194793" y="1016816"/>
                    <a:pt x="198975" y="1012625"/>
                  </a:cubicBezTo>
                  <a:cubicBezTo>
                    <a:pt x="203158" y="1008434"/>
                    <a:pt x="234814" y="1015959"/>
                    <a:pt x="243274" y="1020912"/>
                  </a:cubicBezTo>
                  <a:close/>
                  <a:moveTo>
                    <a:pt x="848820" y="564283"/>
                  </a:moveTo>
                  <a:cubicBezTo>
                    <a:pt x="853383" y="594382"/>
                    <a:pt x="845588" y="624100"/>
                    <a:pt x="826290" y="650103"/>
                  </a:cubicBezTo>
                  <a:cubicBezTo>
                    <a:pt x="800814" y="684489"/>
                    <a:pt x="757085" y="709825"/>
                    <a:pt x="712121" y="716302"/>
                  </a:cubicBezTo>
                  <a:cubicBezTo>
                    <a:pt x="702900" y="718302"/>
                    <a:pt x="693299" y="719255"/>
                    <a:pt x="683507" y="719255"/>
                  </a:cubicBezTo>
                  <a:cubicBezTo>
                    <a:pt x="635406" y="719255"/>
                    <a:pt x="583692" y="695157"/>
                    <a:pt x="564489" y="646103"/>
                  </a:cubicBezTo>
                  <a:cubicBezTo>
                    <a:pt x="536161" y="577332"/>
                    <a:pt x="556219" y="480558"/>
                    <a:pt x="631223" y="446173"/>
                  </a:cubicBezTo>
                  <a:cubicBezTo>
                    <a:pt x="672955" y="428361"/>
                    <a:pt x="721912" y="431504"/>
                    <a:pt x="765451" y="454841"/>
                  </a:cubicBezTo>
                  <a:cubicBezTo>
                    <a:pt x="809750" y="478558"/>
                    <a:pt x="840170" y="518372"/>
                    <a:pt x="848915" y="563997"/>
                  </a:cubicBezTo>
                  <a:lnTo>
                    <a:pt x="848915" y="564188"/>
                  </a:lnTo>
                  <a:close/>
                  <a:moveTo>
                    <a:pt x="808039" y="570760"/>
                  </a:moveTo>
                  <a:cubicBezTo>
                    <a:pt x="801004" y="531041"/>
                    <a:pt x="764215" y="495703"/>
                    <a:pt x="718680" y="484749"/>
                  </a:cubicBezTo>
                  <a:cubicBezTo>
                    <a:pt x="709554" y="482559"/>
                    <a:pt x="700713" y="481511"/>
                    <a:pt x="692158" y="481511"/>
                  </a:cubicBezTo>
                  <a:cubicBezTo>
                    <a:pt x="664590" y="481511"/>
                    <a:pt x="640824" y="492846"/>
                    <a:pt x="624759" y="514182"/>
                  </a:cubicBezTo>
                  <a:cubicBezTo>
                    <a:pt x="603180" y="543423"/>
                    <a:pt x="598046" y="589620"/>
                    <a:pt x="612211" y="626291"/>
                  </a:cubicBezTo>
                  <a:cubicBezTo>
                    <a:pt x="622477" y="652961"/>
                    <a:pt x="650996" y="670487"/>
                    <a:pt x="684933" y="671058"/>
                  </a:cubicBezTo>
                  <a:cubicBezTo>
                    <a:pt x="723243" y="672201"/>
                    <a:pt x="764785" y="655628"/>
                    <a:pt x="788076" y="630006"/>
                  </a:cubicBezTo>
                  <a:cubicBezTo>
                    <a:pt x="803666" y="612956"/>
                    <a:pt x="810510" y="592382"/>
                    <a:pt x="807943" y="570665"/>
                  </a:cubicBezTo>
                  <a:close/>
                  <a:moveTo>
                    <a:pt x="893024" y="502656"/>
                  </a:moveTo>
                  <a:cubicBezTo>
                    <a:pt x="924014" y="587715"/>
                    <a:pt x="919166" y="707444"/>
                    <a:pt x="838173" y="782977"/>
                  </a:cubicBezTo>
                  <a:cubicBezTo>
                    <a:pt x="794730" y="824411"/>
                    <a:pt x="737883" y="846414"/>
                    <a:pt x="677043" y="846414"/>
                  </a:cubicBezTo>
                  <a:cubicBezTo>
                    <a:pt x="658981" y="846414"/>
                    <a:pt x="640634" y="844509"/>
                    <a:pt x="622097" y="840508"/>
                  </a:cubicBezTo>
                  <a:cubicBezTo>
                    <a:pt x="530742" y="821172"/>
                    <a:pt x="452791" y="757736"/>
                    <a:pt x="418569" y="675059"/>
                  </a:cubicBezTo>
                  <a:cubicBezTo>
                    <a:pt x="391096" y="613241"/>
                    <a:pt x="391476" y="540375"/>
                    <a:pt x="419710" y="475224"/>
                  </a:cubicBezTo>
                  <a:cubicBezTo>
                    <a:pt x="448609" y="408454"/>
                    <a:pt x="503079" y="357019"/>
                    <a:pt x="569147" y="334254"/>
                  </a:cubicBezTo>
                  <a:cubicBezTo>
                    <a:pt x="631413" y="311966"/>
                    <a:pt x="695200" y="315014"/>
                    <a:pt x="753663" y="342922"/>
                  </a:cubicBezTo>
                  <a:cubicBezTo>
                    <a:pt x="817165" y="373307"/>
                    <a:pt x="867928" y="431409"/>
                    <a:pt x="893024" y="502561"/>
                  </a:cubicBezTo>
                  <a:close/>
                  <a:moveTo>
                    <a:pt x="880381" y="507323"/>
                  </a:moveTo>
                  <a:lnTo>
                    <a:pt x="880381" y="507323"/>
                  </a:lnTo>
                  <a:cubicBezTo>
                    <a:pt x="851957" y="425885"/>
                    <a:pt x="765356" y="369497"/>
                    <a:pt x="670198" y="370449"/>
                  </a:cubicBezTo>
                  <a:cubicBezTo>
                    <a:pt x="669818" y="370449"/>
                    <a:pt x="669533" y="370449"/>
                    <a:pt x="669153" y="370449"/>
                  </a:cubicBezTo>
                  <a:cubicBezTo>
                    <a:pt x="595765" y="370449"/>
                    <a:pt x="528936" y="403311"/>
                    <a:pt x="485588" y="460746"/>
                  </a:cubicBezTo>
                  <a:cubicBezTo>
                    <a:pt x="441859" y="518658"/>
                    <a:pt x="428360" y="592858"/>
                    <a:pt x="448704" y="664391"/>
                  </a:cubicBezTo>
                  <a:cubicBezTo>
                    <a:pt x="465720" y="722493"/>
                    <a:pt x="504220" y="768309"/>
                    <a:pt x="557170" y="793264"/>
                  </a:cubicBezTo>
                  <a:cubicBezTo>
                    <a:pt x="611735" y="818982"/>
                    <a:pt x="676378" y="819267"/>
                    <a:pt x="734270" y="794121"/>
                  </a:cubicBezTo>
                  <a:cubicBezTo>
                    <a:pt x="839029" y="752307"/>
                    <a:pt x="924680" y="624291"/>
                    <a:pt x="880381" y="507419"/>
                  </a:cubicBezTo>
                  <a:close/>
                  <a:moveTo>
                    <a:pt x="634645" y="996051"/>
                  </a:moveTo>
                  <a:cubicBezTo>
                    <a:pt x="585118" y="996051"/>
                    <a:pt x="535686" y="986241"/>
                    <a:pt x="488535" y="966524"/>
                  </a:cubicBezTo>
                  <a:cubicBezTo>
                    <a:pt x="287383" y="883371"/>
                    <a:pt x="180438" y="636197"/>
                    <a:pt x="255062" y="426742"/>
                  </a:cubicBezTo>
                  <a:cubicBezTo>
                    <a:pt x="305065" y="281391"/>
                    <a:pt x="426744" y="180616"/>
                    <a:pt x="580460" y="157280"/>
                  </a:cubicBezTo>
                  <a:cubicBezTo>
                    <a:pt x="733605" y="134039"/>
                    <a:pt x="878955" y="193856"/>
                    <a:pt x="969359" y="317490"/>
                  </a:cubicBezTo>
                  <a:cubicBezTo>
                    <a:pt x="1049972" y="427790"/>
                    <a:pt x="1067748" y="586286"/>
                    <a:pt x="1014704" y="721255"/>
                  </a:cubicBezTo>
                  <a:cubicBezTo>
                    <a:pt x="972876" y="831078"/>
                    <a:pt x="889127" y="919851"/>
                    <a:pt x="785129" y="964714"/>
                  </a:cubicBezTo>
                  <a:cubicBezTo>
                    <a:pt x="736647" y="985574"/>
                    <a:pt x="685599" y="996051"/>
                    <a:pt x="634645" y="996051"/>
                  </a:cubicBezTo>
                  <a:close/>
                  <a:moveTo>
                    <a:pt x="1002631" y="716493"/>
                  </a:moveTo>
                  <a:cubicBezTo>
                    <a:pt x="1047975" y="601907"/>
                    <a:pt x="1025541" y="461794"/>
                    <a:pt x="945593" y="359496"/>
                  </a:cubicBezTo>
                  <a:cubicBezTo>
                    <a:pt x="870019" y="260340"/>
                    <a:pt x="757180" y="204333"/>
                    <a:pt x="637212" y="204333"/>
                  </a:cubicBezTo>
                  <a:cubicBezTo>
                    <a:pt x="621622" y="204333"/>
                    <a:pt x="605937" y="205286"/>
                    <a:pt x="590156" y="207191"/>
                  </a:cubicBezTo>
                  <a:cubicBezTo>
                    <a:pt x="454407" y="223669"/>
                    <a:pt x="339953" y="309966"/>
                    <a:pt x="284151" y="438077"/>
                  </a:cubicBezTo>
                  <a:cubicBezTo>
                    <a:pt x="221410" y="578952"/>
                    <a:pt x="260196" y="752878"/>
                    <a:pt x="376456" y="851748"/>
                  </a:cubicBezTo>
                  <a:cubicBezTo>
                    <a:pt x="472089" y="937187"/>
                    <a:pt x="613066" y="970048"/>
                    <a:pt x="744632" y="937568"/>
                  </a:cubicBezTo>
                  <a:cubicBezTo>
                    <a:pt x="866882" y="907469"/>
                    <a:pt x="960898" y="826887"/>
                    <a:pt x="1002536" y="716493"/>
                  </a:cubicBezTo>
                  <a:lnTo>
                    <a:pt x="1002536" y="716493"/>
                  </a:lnTo>
                  <a:close/>
                  <a:moveTo>
                    <a:pt x="43834" y="569617"/>
                  </a:moveTo>
                  <a:cubicBezTo>
                    <a:pt x="57713" y="426551"/>
                    <a:pt x="127584" y="292725"/>
                    <a:pt x="240328" y="192998"/>
                  </a:cubicBezTo>
                  <a:cubicBezTo>
                    <a:pt x="352881" y="93462"/>
                    <a:pt x="493478" y="40598"/>
                    <a:pt x="636451" y="44408"/>
                  </a:cubicBezTo>
                  <a:cubicBezTo>
                    <a:pt x="781516" y="48218"/>
                    <a:pt x="915174" y="110607"/>
                    <a:pt x="1012897" y="220240"/>
                  </a:cubicBezTo>
                  <a:cubicBezTo>
                    <a:pt x="1014609" y="222335"/>
                    <a:pt x="1017080" y="223669"/>
                    <a:pt x="1019742" y="223955"/>
                  </a:cubicBezTo>
                  <a:cubicBezTo>
                    <a:pt x="1022594" y="224241"/>
                    <a:pt x="1025541" y="223288"/>
                    <a:pt x="1027537" y="221288"/>
                  </a:cubicBezTo>
                  <a:cubicBezTo>
                    <a:pt x="1029628" y="219383"/>
                    <a:pt x="1030769" y="216525"/>
                    <a:pt x="1030674" y="213668"/>
                  </a:cubicBezTo>
                  <a:cubicBezTo>
                    <a:pt x="1030674" y="211096"/>
                    <a:pt x="1029533" y="208715"/>
                    <a:pt x="1027822" y="206905"/>
                  </a:cubicBezTo>
                  <a:cubicBezTo>
                    <a:pt x="912512" y="70888"/>
                    <a:pt x="743967" y="-4264"/>
                    <a:pt x="565345" y="212"/>
                  </a:cubicBezTo>
                  <a:cubicBezTo>
                    <a:pt x="389765" y="4784"/>
                    <a:pt x="227304" y="88414"/>
                    <a:pt x="119504" y="229765"/>
                  </a:cubicBezTo>
                  <a:cubicBezTo>
                    <a:pt x="-50277" y="450459"/>
                    <a:pt x="-37824" y="772214"/>
                    <a:pt x="148402" y="978049"/>
                  </a:cubicBezTo>
                  <a:cubicBezTo>
                    <a:pt x="149828" y="979668"/>
                    <a:pt x="151349" y="981287"/>
                    <a:pt x="152775" y="982907"/>
                  </a:cubicBezTo>
                  <a:lnTo>
                    <a:pt x="155057" y="985383"/>
                  </a:lnTo>
                  <a:lnTo>
                    <a:pt x="156198" y="986050"/>
                  </a:lnTo>
                  <a:cubicBezTo>
                    <a:pt x="158194" y="987193"/>
                    <a:pt x="160570" y="987860"/>
                    <a:pt x="162852" y="987860"/>
                  </a:cubicBezTo>
                  <a:cubicBezTo>
                    <a:pt x="164088" y="987860"/>
                    <a:pt x="165228" y="987669"/>
                    <a:pt x="166464" y="987384"/>
                  </a:cubicBezTo>
                  <a:cubicBezTo>
                    <a:pt x="169696" y="986431"/>
                    <a:pt x="172453" y="984240"/>
                    <a:pt x="173974" y="981383"/>
                  </a:cubicBezTo>
                  <a:cubicBezTo>
                    <a:pt x="176351" y="976906"/>
                    <a:pt x="175685" y="971477"/>
                    <a:pt x="172168" y="967191"/>
                  </a:cubicBezTo>
                  <a:cubicBezTo>
                    <a:pt x="75300" y="856129"/>
                    <a:pt x="29765" y="714968"/>
                    <a:pt x="43929" y="569712"/>
                  </a:cubicBezTo>
                  <a:close/>
                  <a:moveTo>
                    <a:pt x="1172032" y="561997"/>
                  </a:moveTo>
                  <a:lnTo>
                    <a:pt x="1171651" y="559902"/>
                  </a:lnTo>
                  <a:cubicBezTo>
                    <a:pt x="1169940" y="554377"/>
                    <a:pt x="1164997" y="550567"/>
                    <a:pt x="1159578" y="550853"/>
                  </a:cubicBezTo>
                  <a:cubicBezTo>
                    <a:pt x="1156156" y="550948"/>
                    <a:pt x="1152924" y="552663"/>
                    <a:pt x="1150738" y="555520"/>
                  </a:cubicBezTo>
                  <a:cubicBezTo>
                    <a:pt x="1148551" y="558378"/>
                    <a:pt x="1147601" y="561902"/>
                    <a:pt x="1148076" y="565521"/>
                  </a:cubicBezTo>
                  <a:cubicBezTo>
                    <a:pt x="1151118" y="670677"/>
                    <a:pt x="1125641" y="773166"/>
                    <a:pt x="1074403" y="861939"/>
                  </a:cubicBezTo>
                  <a:cubicBezTo>
                    <a:pt x="980957" y="1028532"/>
                    <a:pt x="811746" y="1136450"/>
                    <a:pt x="621241" y="1150642"/>
                  </a:cubicBezTo>
                  <a:cubicBezTo>
                    <a:pt x="613827" y="1151595"/>
                    <a:pt x="608408" y="1158357"/>
                    <a:pt x="609169" y="1165692"/>
                  </a:cubicBezTo>
                  <a:cubicBezTo>
                    <a:pt x="609834" y="1171692"/>
                    <a:pt x="614397" y="1176550"/>
                    <a:pt x="620481" y="1177693"/>
                  </a:cubicBezTo>
                  <a:lnTo>
                    <a:pt x="621432" y="1177884"/>
                  </a:lnTo>
                  <a:lnTo>
                    <a:pt x="622382" y="1177884"/>
                  </a:lnTo>
                  <a:cubicBezTo>
                    <a:pt x="636642" y="1177217"/>
                    <a:pt x="650901" y="1175979"/>
                    <a:pt x="664685" y="1174264"/>
                  </a:cubicBezTo>
                  <a:cubicBezTo>
                    <a:pt x="816689" y="1155976"/>
                    <a:pt x="951963" y="1081014"/>
                    <a:pt x="1045599" y="963285"/>
                  </a:cubicBezTo>
                  <a:cubicBezTo>
                    <a:pt x="1135813" y="849843"/>
                    <a:pt x="1180682" y="707349"/>
                    <a:pt x="1172032" y="561997"/>
                  </a:cubicBezTo>
                  <a:close/>
                  <a:moveTo>
                    <a:pt x="1170130" y="489226"/>
                  </a:moveTo>
                  <a:cubicBezTo>
                    <a:pt x="1175073" y="468938"/>
                    <a:pt x="1167849" y="393595"/>
                    <a:pt x="1142657" y="363591"/>
                  </a:cubicBezTo>
                  <a:cubicBezTo>
                    <a:pt x="1134957" y="354352"/>
                    <a:pt x="1125831" y="346732"/>
                    <a:pt x="1115565" y="352923"/>
                  </a:cubicBezTo>
                  <a:cubicBezTo>
                    <a:pt x="1101876" y="361115"/>
                    <a:pt x="1104728" y="376069"/>
                    <a:pt x="1114804" y="389975"/>
                  </a:cubicBezTo>
                  <a:cubicBezTo>
                    <a:pt x="1131725" y="413407"/>
                    <a:pt x="1144559" y="466271"/>
                    <a:pt x="1145414" y="486559"/>
                  </a:cubicBezTo>
                  <a:cubicBezTo>
                    <a:pt x="1145794" y="495322"/>
                    <a:pt x="1151783" y="501227"/>
                    <a:pt x="1158913" y="501418"/>
                  </a:cubicBezTo>
                  <a:cubicBezTo>
                    <a:pt x="1166043" y="501513"/>
                    <a:pt x="1168039" y="497894"/>
                    <a:pt x="1170130" y="489321"/>
                  </a:cubicBezTo>
                  <a:close/>
                </a:path>
              </a:pathLst>
            </a:custGeom>
            <a:grpFill/>
            <a:ln w="9497" cap="flat">
              <a:noFill/>
              <a:prstDash val="solid"/>
              <a:miter/>
            </a:ln>
          </p:spPr>
          <p:txBody>
            <a:bodyPr rtlCol="0" anchor="ctr"/>
            <a:lstStyle/>
            <a:p>
              <a:endParaRPr lang="en-GB"/>
            </a:p>
          </p:txBody>
        </p:sp>
        <p:grpSp>
          <p:nvGrpSpPr>
            <p:cNvPr id="29" name="Graphic 77">
              <a:extLst>
                <a:ext uri="{FF2B5EF4-FFF2-40B4-BE49-F238E27FC236}">
                  <a16:creationId xmlns:a16="http://schemas.microsoft.com/office/drawing/2014/main" id="{2F7C6FFA-2C76-FD6B-4AB6-E31AFDDBE3F3}"/>
                </a:ext>
              </a:extLst>
            </p:cNvPr>
            <p:cNvGrpSpPr/>
            <p:nvPr/>
          </p:nvGrpSpPr>
          <p:grpSpPr>
            <a:xfrm>
              <a:off x="6016337" y="3871817"/>
              <a:ext cx="1690870" cy="144494"/>
              <a:chOff x="6016337" y="3871817"/>
              <a:chExt cx="1690870" cy="144494"/>
            </a:xfrm>
            <a:grpFill/>
          </p:grpSpPr>
          <p:sp>
            <p:nvSpPr>
              <p:cNvPr id="30" name="Freeform 30">
                <a:extLst>
                  <a:ext uri="{FF2B5EF4-FFF2-40B4-BE49-F238E27FC236}">
                    <a16:creationId xmlns:a16="http://schemas.microsoft.com/office/drawing/2014/main" id="{7857866D-F907-DBEA-8F38-F0D89D6AFF13}"/>
                  </a:ext>
                </a:extLst>
              </p:cNvPr>
              <p:cNvSpPr/>
              <p:nvPr/>
            </p:nvSpPr>
            <p:spPr>
              <a:xfrm>
                <a:off x="6016337"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2"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GB"/>
              </a:p>
            </p:txBody>
          </p:sp>
          <p:sp>
            <p:nvSpPr>
              <p:cNvPr id="31" name="Freeform 31">
                <a:extLst>
                  <a:ext uri="{FF2B5EF4-FFF2-40B4-BE49-F238E27FC236}">
                    <a16:creationId xmlns:a16="http://schemas.microsoft.com/office/drawing/2014/main" id="{AE662592-38C7-87B5-471D-73B03945BDFF}"/>
                  </a:ext>
                </a:extLst>
              </p:cNvPr>
              <p:cNvSpPr/>
              <p:nvPr/>
            </p:nvSpPr>
            <p:spPr>
              <a:xfrm>
                <a:off x="6086303" y="3904773"/>
                <a:ext cx="70250" cy="78295"/>
              </a:xfrm>
              <a:custGeom>
                <a:avLst/>
                <a:gdLst>
                  <a:gd name="connsiteX0" fmla="*/ 0 w 70250"/>
                  <a:gd name="connsiteY0" fmla="*/ 1238 h 78295"/>
                  <a:gd name="connsiteX1" fmla="*/ 17492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1 w 70250"/>
                  <a:gd name="connsiteY8" fmla="*/ 34004 h 78295"/>
                  <a:gd name="connsiteX9" fmla="*/ 38976 w 70250"/>
                  <a:gd name="connsiteY9" fmla="*/ 14954 h 78295"/>
                  <a:gd name="connsiteX10" fmla="*/ 17492 w 70250"/>
                  <a:gd name="connsiteY10" fmla="*/ 44577 h 78295"/>
                  <a:gd name="connsiteX11" fmla="*/ 17492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2"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1" y="37624"/>
                      <a:pt x="54281" y="34004"/>
                    </a:cubicBezTo>
                    <a:cubicBezTo>
                      <a:pt x="54281" y="21050"/>
                      <a:pt x="49337" y="14954"/>
                      <a:pt x="38976" y="14954"/>
                    </a:cubicBezTo>
                    <a:cubicBezTo>
                      <a:pt x="25762" y="14954"/>
                      <a:pt x="17492" y="26194"/>
                      <a:pt x="17492" y="44577"/>
                    </a:cubicBezTo>
                    <a:lnTo>
                      <a:pt x="17492" y="78296"/>
                    </a:lnTo>
                    <a:lnTo>
                      <a:pt x="0" y="78296"/>
                    </a:lnTo>
                    <a:lnTo>
                      <a:pt x="0" y="1238"/>
                    </a:lnTo>
                    <a:close/>
                  </a:path>
                </a:pathLst>
              </a:custGeom>
              <a:grpFill/>
              <a:ln w="9497" cap="flat">
                <a:noFill/>
                <a:prstDash val="solid"/>
                <a:miter/>
              </a:ln>
            </p:spPr>
            <p:txBody>
              <a:bodyPr rtlCol="0" anchor="ctr"/>
              <a:lstStyle/>
              <a:p>
                <a:endParaRPr lang="en-GB"/>
              </a:p>
            </p:txBody>
          </p:sp>
          <p:sp>
            <p:nvSpPr>
              <p:cNvPr id="32" name="Freeform 32">
                <a:extLst>
                  <a:ext uri="{FF2B5EF4-FFF2-40B4-BE49-F238E27FC236}">
                    <a16:creationId xmlns:a16="http://schemas.microsoft.com/office/drawing/2014/main" id="{A4EC5FDE-BB89-C005-58EC-A8EC690C2402}"/>
                  </a:ext>
                </a:extLst>
              </p:cNvPr>
              <p:cNvSpPr/>
              <p:nvPr/>
            </p:nvSpPr>
            <p:spPr>
              <a:xfrm>
                <a:off x="6169197" y="3904773"/>
                <a:ext cx="74909" cy="79533"/>
              </a:xfrm>
              <a:custGeom>
                <a:avLst/>
                <a:gdLst>
                  <a:gd name="connsiteX0" fmla="*/ 95 w 74909"/>
                  <a:gd name="connsiteY0" fmla="*/ 56198 h 79533"/>
                  <a:gd name="connsiteX1" fmla="*/ 28899 w 74909"/>
                  <a:gd name="connsiteY1" fmla="*/ 35243 h 79533"/>
                  <a:gd name="connsiteX2" fmla="*/ 57418 w 74909"/>
                  <a:gd name="connsiteY2" fmla="*/ 35243 h 79533"/>
                  <a:gd name="connsiteX3" fmla="*/ 57418 w 74909"/>
                  <a:gd name="connsiteY3" fmla="*/ 29813 h 79533"/>
                  <a:gd name="connsiteX4" fmla="*/ 37169 w 74909"/>
                  <a:gd name="connsiteY4" fmla="*/ 13145 h 79533"/>
                  <a:gd name="connsiteX5" fmla="*/ 18632 w 74909"/>
                  <a:gd name="connsiteY5" fmla="*/ 26289 h 79533"/>
                  <a:gd name="connsiteX6" fmla="*/ 18822 w 74909"/>
                  <a:gd name="connsiteY6" fmla="*/ 29242 h 79533"/>
                  <a:gd name="connsiteX7" fmla="*/ 2757 w 74909"/>
                  <a:gd name="connsiteY7" fmla="*/ 29242 h 79533"/>
                  <a:gd name="connsiteX8" fmla="*/ 2472 w 74909"/>
                  <a:gd name="connsiteY8" fmla="*/ 24670 h 79533"/>
                  <a:gd name="connsiteX9" fmla="*/ 37835 w 74909"/>
                  <a:gd name="connsiteY9" fmla="*/ 0 h 79533"/>
                  <a:gd name="connsiteX10" fmla="*/ 74909 w 74909"/>
                  <a:gd name="connsiteY10" fmla="*/ 31337 h 79533"/>
                  <a:gd name="connsiteX11" fmla="*/ 74909 w 74909"/>
                  <a:gd name="connsiteY11" fmla="*/ 78296 h 79533"/>
                  <a:gd name="connsiteX12" fmla="*/ 57418 w 74909"/>
                  <a:gd name="connsiteY12" fmla="*/ 78296 h 79533"/>
                  <a:gd name="connsiteX13" fmla="*/ 58178 w 74909"/>
                  <a:gd name="connsiteY13" fmla="*/ 61246 h 79533"/>
                  <a:gd name="connsiteX14" fmla="*/ 57988 w 74909"/>
                  <a:gd name="connsiteY14" fmla="*/ 61246 h 79533"/>
                  <a:gd name="connsiteX15" fmla="*/ 29279 w 74909"/>
                  <a:gd name="connsiteY15" fmla="*/ 79534 h 79533"/>
                  <a:gd name="connsiteX16" fmla="*/ 0 w 74909"/>
                  <a:gd name="connsiteY16" fmla="*/ 56102 h 79533"/>
                  <a:gd name="connsiteX17" fmla="*/ 57418 w 74909"/>
                  <a:gd name="connsiteY17" fmla="*/ 47339 h 79533"/>
                  <a:gd name="connsiteX18" fmla="*/ 57418 w 74909"/>
                  <a:gd name="connsiteY18" fmla="*/ 45910 h 79533"/>
                  <a:gd name="connsiteX19" fmla="*/ 30515 w 74909"/>
                  <a:gd name="connsiteY19" fmla="*/ 45910 h 79533"/>
                  <a:gd name="connsiteX20" fmla="*/ 16161 w 74909"/>
                  <a:gd name="connsiteY20" fmla="*/ 55435 h 79533"/>
                  <a:gd name="connsiteX21" fmla="*/ 32987 w 74909"/>
                  <a:gd name="connsiteY21" fmla="*/ 66485 h 79533"/>
                  <a:gd name="connsiteX22" fmla="*/ 57418 w 74909"/>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09" h="79533">
                    <a:moveTo>
                      <a:pt x="95" y="56198"/>
                    </a:moveTo>
                    <a:cubicBezTo>
                      <a:pt x="95" y="44482"/>
                      <a:pt x="8366" y="35243"/>
                      <a:pt x="28899" y="35243"/>
                    </a:cubicBezTo>
                    <a:lnTo>
                      <a:pt x="57418" y="35243"/>
                    </a:lnTo>
                    <a:lnTo>
                      <a:pt x="57418" y="29813"/>
                    </a:lnTo>
                    <a:cubicBezTo>
                      <a:pt x="57418" y="18288"/>
                      <a:pt x="50763" y="13145"/>
                      <a:pt x="37169" y="13145"/>
                    </a:cubicBezTo>
                    <a:cubicBezTo>
                      <a:pt x="25287" y="13145"/>
                      <a:pt x="18632" y="17717"/>
                      <a:pt x="18632" y="26289"/>
                    </a:cubicBezTo>
                    <a:cubicBezTo>
                      <a:pt x="18632" y="26765"/>
                      <a:pt x="18632" y="28004"/>
                      <a:pt x="18822" y="29242"/>
                    </a:cubicBezTo>
                    <a:lnTo>
                      <a:pt x="2757" y="29242"/>
                    </a:lnTo>
                    <a:cubicBezTo>
                      <a:pt x="2567" y="28099"/>
                      <a:pt x="2472" y="26099"/>
                      <a:pt x="2472" y="24670"/>
                    </a:cubicBezTo>
                    <a:cubicBezTo>
                      <a:pt x="2472" y="9239"/>
                      <a:pt x="15875" y="0"/>
                      <a:pt x="37835" y="0"/>
                    </a:cubicBezTo>
                    <a:cubicBezTo>
                      <a:pt x="61220" y="0"/>
                      <a:pt x="74909" y="11049"/>
                      <a:pt x="74909" y="31337"/>
                    </a:cubicBezTo>
                    <a:lnTo>
                      <a:pt x="74909" y="78296"/>
                    </a:lnTo>
                    <a:lnTo>
                      <a:pt x="57418" y="78296"/>
                    </a:lnTo>
                    <a:cubicBezTo>
                      <a:pt x="57703" y="74581"/>
                      <a:pt x="58178" y="67532"/>
                      <a:pt x="58178" y="61246"/>
                    </a:cubicBezTo>
                    <a:lnTo>
                      <a:pt x="57988" y="61246"/>
                    </a:lnTo>
                    <a:cubicBezTo>
                      <a:pt x="55516" y="72676"/>
                      <a:pt x="46295" y="79534"/>
                      <a:pt x="29279" y="79534"/>
                    </a:cubicBezTo>
                    <a:cubicBezTo>
                      <a:pt x="12263" y="79534"/>
                      <a:pt x="0" y="71152"/>
                      <a:pt x="0" y="56102"/>
                    </a:cubicBezTo>
                    <a:close/>
                    <a:moveTo>
                      <a:pt x="57418" y="47339"/>
                    </a:moveTo>
                    <a:lnTo>
                      <a:pt x="57418" y="45910"/>
                    </a:lnTo>
                    <a:lnTo>
                      <a:pt x="30515" y="45910"/>
                    </a:lnTo>
                    <a:cubicBezTo>
                      <a:pt x="20533" y="45910"/>
                      <a:pt x="16161" y="49340"/>
                      <a:pt x="16161" y="55435"/>
                    </a:cubicBezTo>
                    <a:cubicBezTo>
                      <a:pt x="16161" y="62484"/>
                      <a:pt x="22435" y="66485"/>
                      <a:pt x="32987" y="66485"/>
                    </a:cubicBezTo>
                    <a:cubicBezTo>
                      <a:pt x="48101" y="66485"/>
                      <a:pt x="57418" y="59150"/>
                      <a:pt x="57418" y="47244"/>
                    </a:cubicBezTo>
                    <a:close/>
                  </a:path>
                </a:pathLst>
              </a:custGeom>
              <a:grpFill/>
              <a:ln w="9497" cap="flat">
                <a:noFill/>
                <a:prstDash val="solid"/>
                <a:miter/>
              </a:ln>
            </p:spPr>
            <p:txBody>
              <a:bodyPr rtlCol="0" anchor="ctr"/>
              <a:lstStyle/>
              <a:p>
                <a:endParaRPr lang="en-GB"/>
              </a:p>
            </p:txBody>
          </p:sp>
          <p:sp>
            <p:nvSpPr>
              <p:cNvPr id="33" name="Freeform 33">
                <a:extLst>
                  <a:ext uri="{FF2B5EF4-FFF2-40B4-BE49-F238E27FC236}">
                    <a16:creationId xmlns:a16="http://schemas.microsoft.com/office/drawing/2014/main" id="{5EE04E07-3782-291B-CE34-C1C9A3983C78}"/>
                  </a:ext>
                </a:extLst>
              </p:cNvPr>
              <p:cNvSpPr/>
              <p:nvPr/>
            </p:nvSpPr>
            <p:spPr>
              <a:xfrm>
                <a:off x="6260742" y="3904773"/>
                <a:ext cx="80612" cy="78390"/>
              </a:xfrm>
              <a:custGeom>
                <a:avLst/>
                <a:gdLst>
                  <a:gd name="connsiteX0" fmla="*/ 0 w 80612"/>
                  <a:gd name="connsiteY0" fmla="*/ 1238 h 78390"/>
                  <a:gd name="connsiteX1" fmla="*/ 17491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1 w 80612"/>
                  <a:gd name="connsiteY10" fmla="*/ 41053 h 78390"/>
                  <a:gd name="connsiteX11" fmla="*/ 17491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1"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1" y="24194"/>
                      <a:pt x="17491" y="41053"/>
                    </a:cubicBezTo>
                    <a:lnTo>
                      <a:pt x="17491" y="78391"/>
                    </a:lnTo>
                    <a:lnTo>
                      <a:pt x="0" y="78391"/>
                    </a:lnTo>
                    <a:lnTo>
                      <a:pt x="0" y="1333"/>
                    </a:lnTo>
                    <a:close/>
                  </a:path>
                </a:pathLst>
              </a:custGeom>
              <a:grpFill/>
              <a:ln w="9497" cap="flat">
                <a:noFill/>
                <a:prstDash val="solid"/>
                <a:miter/>
              </a:ln>
            </p:spPr>
            <p:txBody>
              <a:bodyPr rtlCol="0" anchor="ctr"/>
              <a:lstStyle/>
              <a:p>
                <a:endParaRPr lang="en-GB"/>
              </a:p>
            </p:txBody>
          </p:sp>
          <p:sp>
            <p:nvSpPr>
              <p:cNvPr id="34" name="Freeform 34">
                <a:extLst>
                  <a:ext uri="{FF2B5EF4-FFF2-40B4-BE49-F238E27FC236}">
                    <a16:creationId xmlns:a16="http://schemas.microsoft.com/office/drawing/2014/main" id="{48B7544C-B1F7-6797-1CBD-BAF7031E5167}"/>
                  </a:ext>
                </a:extLst>
              </p:cNvPr>
              <p:cNvSpPr/>
              <p:nvPr/>
            </p:nvSpPr>
            <p:spPr>
              <a:xfrm>
                <a:off x="635561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4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3"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1"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4" y="79629"/>
                    </a:cubicBezTo>
                    <a:cubicBezTo>
                      <a:pt x="9601" y="79629"/>
                      <a:pt x="95" y="67723"/>
                      <a:pt x="95" y="52673"/>
                    </a:cubicBezTo>
                    <a:close/>
                  </a:path>
                </a:pathLst>
              </a:custGeom>
              <a:grpFill/>
              <a:ln w="9497" cap="flat">
                <a:noFill/>
                <a:prstDash val="solid"/>
                <a:miter/>
              </a:ln>
            </p:spPr>
            <p:txBody>
              <a:bodyPr rtlCol="0" anchor="ctr"/>
              <a:lstStyle/>
              <a:p>
                <a:endParaRPr lang="en-GB"/>
              </a:p>
            </p:txBody>
          </p:sp>
          <p:sp>
            <p:nvSpPr>
              <p:cNvPr id="35" name="Freeform 35">
                <a:extLst>
                  <a:ext uri="{FF2B5EF4-FFF2-40B4-BE49-F238E27FC236}">
                    <a16:creationId xmlns:a16="http://schemas.microsoft.com/office/drawing/2014/main" id="{214FB701-B08A-6992-D371-D6E5E77F904B}"/>
                  </a:ext>
                </a:extLst>
              </p:cNvPr>
              <p:cNvSpPr/>
              <p:nvPr/>
            </p:nvSpPr>
            <p:spPr>
              <a:xfrm>
                <a:off x="6436797" y="3871817"/>
                <a:ext cx="56466" cy="111252"/>
              </a:xfrm>
              <a:custGeom>
                <a:avLst/>
                <a:gdLst>
                  <a:gd name="connsiteX0" fmla="*/ 12263 w 56466"/>
                  <a:gd name="connsiteY0" fmla="*/ 48387 h 111252"/>
                  <a:gd name="connsiteX1" fmla="*/ 0 w 56466"/>
                  <a:gd name="connsiteY1" fmla="*/ 48387 h 111252"/>
                  <a:gd name="connsiteX2" fmla="*/ 0 w 56466"/>
                  <a:gd name="connsiteY2" fmla="*/ 34195 h 111252"/>
                  <a:gd name="connsiteX3" fmla="*/ 12263 w 56466"/>
                  <a:gd name="connsiteY3" fmla="*/ 34195 h 111252"/>
                  <a:gd name="connsiteX4" fmla="*/ 12263 w 56466"/>
                  <a:gd name="connsiteY4" fmla="*/ 26575 h 111252"/>
                  <a:gd name="connsiteX5" fmla="*/ 40306 w 56466"/>
                  <a:gd name="connsiteY5" fmla="*/ 0 h 111252"/>
                  <a:gd name="connsiteX6" fmla="*/ 55231 w 56466"/>
                  <a:gd name="connsiteY6" fmla="*/ 2191 h 111252"/>
                  <a:gd name="connsiteX7" fmla="*/ 55231 w 56466"/>
                  <a:gd name="connsiteY7" fmla="*/ 16097 h 111252"/>
                  <a:gd name="connsiteX8" fmla="*/ 43348 w 56466"/>
                  <a:gd name="connsiteY8" fmla="*/ 14192 h 111252"/>
                  <a:gd name="connsiteX9" fmla="*/ 29659 w 56466"/>
                  <a:gd name="connsiteY9" fmla="*/ 27337 h 111252"/>
                  <a:gd name="connsiteX10" fmla="*/ 29659 w 56466"/>
                  <a:gd name="connsiteY10" fmla="*/ 34195 h 111252"/>
                  <a:gd name="connsiteX11" fmla="*/ 56467 w 56466"/>
                  <a:gd name="connsiteY11" fmla="*/ 34195 h 111252"/>
                  <a:gd name="connsiteX12" fmla="*/ 56467 w 56466"/>
                  <a:gd name="connsiteY12" fmla="*/ 48387 h 111252"/>
                  <a:gd name="connsiteX13" fmla="*/ 29659 w 56466"/>
                  <a:gd name="connsiteY13" fmla="*/ 48387 h 111252"/>
                  <a:gd name="connsiteX14" fmla="*/ 29659 w 56466"/>
                  <a:gd name="connsiteY14" fmla="*/ 111252 h 111252"/>
                  <a:gd name="connsiteX15" fmla="*/ 12168 w 56466"/>
                  <a:gd name="connsiteY15" fmla="*/ 111252 h 111252"/>
                  <a:gd name="connsiteX16" fmla="*/ 12168 w 56466"/>
                  <a:gd name="connsiteY16" fmla="*/ 48387 h 11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466" h="111252">
                    <a:moveTo>
                      <a:pt x="12263" y="48387"/>
                    </a:moveTo>
                    <a:lnTo>
                      <a:pt x="0" y="48387"/>
                    </a:lnTo>
                    <a:lnTo>
                      <a:pt x="0" y="34195"/>
                    </a:lnTo>
                    <a:lnTo>
                      <a:pt x="12263" y="34195"/>
                    </a:lnTo>
                    <a:lnTo>
                      <a:pt x="12263" y="26575"/>
                    </a:lnTo>
                    <a:cubicBezTo>
                      <a:pt x="12263" y="9430"/>
                      <a:pt x="23670" y="0"/>
                      <a:pt x="40306" y="0"/>
                    </a:cubicBezTo>
                    <a:cubicBezTo>
                      <a:pt x="47151" y="0"/>
                      <a:pt x="52759" y="1238"/>
                      <a:pt x="55231" y="2191"/>
                    </a:cubicBezTo>
                    <a:lnTo>
                      <a:pt x="55231" y="16097"/>
                    </a:lnTo>
                    <a:cubicBezTo>
                      <a:pt x="52759" y="15335"/>
                      <a:pt x="48672" y="14192"/>
                      <a:pt x="43348" y="14192"/>
                    </a:cubicBezTo>
                    <a:cubicBezTo>
                      <a:pt x="34507" y="14192"/>
                      <a:pt x="29659" y="18860"/>
                      <a:pt x="29659" y="27337"/>
                    </a:cubicBezTo>
                    <a:lnTo>
                      <a:pt x="29659" y="34195"/>
                    </a:lnTo>
                    <a:lnTo>
                      <a:pt x="56467" y="34195"/>
                    </a:lnTo>
                    <a:lnTo>
                      <a:pt x="56467" y="48387"/>
                    </a:lnTo>
                    <a:lnTo>
                      <a:pt x="29659" y="48387"/>
                    </a:lnTo>
                    <a:lnTo>
                      <a:pt x="29659" y="111252"/>
                    </a:lnTo>
                    <a:lnTo>
                      <a:pt x="12168" y="111252"/>
                    </a:lnTo>
                    <a:lnTo>
                      <a:pt x="12168" y="48387"/>
                    </a:lnTo>
                    <a:close/>
                  </a:path>
                </a:pathLst>
              </a:custGeom>
              <a:grpFill/>
              <a:ln w="9497" cap="flat">
                <a:noFill/>
                <a:prstDash val="solid"/>
                <a:miter/>
              </a:ln>
            </p:spPr>
            <p:txBody>
              <a:bodyPr rtlCol="0" anchor="ctr"/>
              <a:lstStyle/>
              <a:p>
                <a:endParaRPr lang="en-GB"/>
              </a:p>
            </p:txBody>
          </p:sp>
          <p:sp>
            <p:nvSpPr>
              <p:cNvPr id="36" name="Freeform 36">
                <a:extLst>
                  <a:ext uri="{FF2B5EF4-FFF2-40B4-BE49-F238E27FC236}">
                    <a16:creationId xmlns:a16="http://schemas.microsoft.com/office/drawing/2014/main" id="{79438928-D0F1-DEF0-D5C6-776EEF2A7C0B}"/>
                  </a:ext>
                </a:extLst>
              </p:cNvPr>
              <p:cNvSpPr/>
              <p:nvPr/>
            </p:nvSpPr>
            <p:spPr>
              <a:xfrm>
                <a:off x="6497732" y="3904773"/>
                <a:ext cx="80517" cy="79533"/>
              </a:xfrm>
              <a:custGeom>
                <a:avLst/>
                <a:gdLst>
                  <a:gd name="connsiteX0" fmla="*/ 0 w 80517"/>
                  <a:gd name="connsiteY0" fmla="*/ 39910 h 79533"/>
                  <a:gd name="connsiteX1" fmla="*/ 40211 w 80517"/>
                  <a:gd name="connsiteY1" fmla="*/ 0 h 79533"/>
                  <a:gd name="connsiteX2" fmla="*/ 80518 w 80517"/>
                  <a:gd name="connsiteY2" fmla="*/ 39910 h 79533"/>
                  <a:gd name="connsiteX3" fmla="*/ 40211 w 80517"/>
                  <a:gd name="connsiteY3" fmla="*/ 79534 h 79533"/>
                  <a:gd name="connsiteX4" fmla="*/ 0 w 80517"/>
                  <a:gd name="connsiteY4" fmla="*/ 39910 h 79533"/>
                  <a:gd name="connsiteX5" fmla="*/ 63121 w 80517"/>
                  <a:gd name="connsiteY5" fmla="*/ 39910 h 79533"/>
                  <a:gd name="connsiteX6" fmla="*/ 40211 w 80517"/>
                  <a:gd name="connsiteY6" fmla="*/ 14288 h 79533"/>
                  <a:gd name="connsiteX7" fmla="*/ 17492 w 80517"/>
                  <a:gd name="connsiteY7" fmla="*/ 39910 h 79533"/>
                  <a:gd name="connsiteX8" fmla="*/ 40211 w 80517"/>
                  <a:gd name="connsiteY8" fmla="*/ 65151 h 79533"/>
                  <a:gd name="connsiteX9" fmla="*/ 63121 w 80517"/>
                  <a:gd name="connsiteY9" fmla="*/ 39910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17" h="79533">
                    <a:moveTo>
                      <a:pt x="0" y="39910"/>
                    </a:moveTo>
                    <a:cubicBezTo>
                      <a:pt x="0" y="15240"/>
                      <a:pt x="15780" y="0"/>
                      <a:pt x="40211" y="0"/>
                    </a:cubicBezTo>
                    <a:cubicBezTo>
                      <a:pt x="64642" y="0"/>
                      <a:pt x="80518" y="15335"/>
                      <a:pt x="80518" y="39910"/>
                    </a:cubicBezTo>
                    <a:cubicBezTo>
                      <a:pt x="80518" y="64484"/>
                      <a:pt x="64737" y="79534"/>
                      <a:pt x="40211" y="79534"/>
                    </a:cubicBezTo>
                    <a:cubicBezTo>
                      <a:pt x="15685" y="79534"/>
                      <a:pt x="0" y="64389"/>
                      <a:pt x="0" y="39910"/>
                    </a:cubicBezTo>
                    <a:close/>
                    <a:moveTo>
                      <a:pt x="63121" y="39910"/>
                    </a:moveTo>
                    <a:cubicBezTo>
                      <a:pt x="63121" y="24098"/>
                      <a:pt x="54376" y="14288"/>
                      <a:pt x="40211" y="14288"/>
                    </a:cubicBezTo>
                    <a:cubicBezTo>
                      <a:pt x="26047" y="14288"/>
                      <a:pt x="17492" y="24098"/>
                      <a:pt x="17492" y="39910"/>
                    </a:cubicBezTo>
                    <a:cubicBezTo>
                      <a:pt x="17492" y="55721"/>
                      <a:pt x="26047" y="65151"/>
                      <a:pt x="40211" y="65151"/>
                    </a:cubicBezTo>
                    <a:cubicBezTo>
                      <a:pt x="54376" y="65151"/>
                      <a:pt x="63121" y="55435"/>
                      <a:pt x="63121" y="39910"/>
                    </a:cubicBezTo>
                    <a:close/>
                  </a:path>
                </a:pathLst>
              </a:custGeom>
              <a:grpFill/>
              <a:ln w="9497" cap="flat">
                <a:noFill/>
                <a:prstDash val="solid"/>
                <a:miter/>
              </a:ln>
            </p:spPr>
            <p:txBody>
              <a:bodyPr rtlCol="0" anchor="ctr"/>
              <a:lstStyle/>
              <a:p>
                <a:endParaRPr lang="en-GB"/>
              </a:p>
            </p:txBody>
          </p:sp>
          <p:sp>
            <p:nvSpPr>
              <p:cNvPr id="37" name="Freeform 37">
                <a:extLst>
                  <a:ext uri="{FF2B5EF4-FFF2-40B4-BE49-F238E27FC236}">
                    <a16:creationId xmlns:a16="http://schemas.microsoft.com/office/drawing/2014/main" id="{A37F2F3B-B6C6-6013-7133-C133D7A44A05}"/>
                  </a:ext>
                </a:extLst>
              </p:cNvPr>
              <p:cNvSpPr/>
              <p:nvPr/>
            </p:nvSpPr>
            <p:spPr>
              <a:xfrm>
                <a:off x="6593174" y="3904773"/>
                <a:ext cx="70250" cy="78295"/>
              </a:xfrm>
              <a:custGeom>
                <a:avLst/>
                <a:gdLst>
                  <a:gd name="connsiteX0" fmla="*/ 0 w 70250"/>
                  <a:gd name="connsiteY0" fmla="*/ 1238 h 78295"/>
                  <a:gd name="connsiteX1" fmla="*/ 17491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0 w 70250"/>
                  <a:gd name="connsiteY8" fmla="*/ 34004 h 78295"/>
                  <a:gd name="connsiteX9" fmla="*/ 38975 w 70250"/>
                  <a:gd name="connsiteY9" fmla="*/ 14954 h 78295"/>
                  <a:gd name="connsiteX10" fmla="*/ 17491 w 70250"/>
                  <a:gd name="connsiteY10" fmla="*/ 44577 h 78295"/>
                  <a:gd name="connsiteX11" fmla="*/ 17491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1"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8975" y="14954"/>
                    </a:cubicBezTo>
                    <a:cubicBezTo>
                      <a:pt x="25762" y="14954"/>
                      <a:pt x="17491" y="26194"/>
                      <a:pt x="17491" y="44577"/>
                    </a:cubicBezTo>
                    <a:lnTo>
                      <a:pt x="17491" y="78296"/>
                    </a:lnTo>
                    <a:lnTo>
                      <a:pt x="0" y="78296"/>
                    </a:lnTo>
                    <a:lnTo>
                      <a:pt x="0" y="1238"/>
                    </a:lnTo>
                    <a:close/>
                  </a:path>
                </a:pathLst>
              </a:custGeom>
              <a:grpFill/>
              <a:ln w="9497" cap="flat">
                <a:noFill/>
                <a:prstDash val="solid"/>
                <a:miter/>
              </a:ln>
            </p:spPr>
            <p:txBody>
              <a:bodyPr rtlCol="0" anchor="ctr"/>
              <a:lstStyle/>
              <a:p>
                <a:endParaRPr lang="en-GB"/>
              </a:p>
            </p:txBody>
          </p:sp>
          <p:sp>
            <p:nvSpPr>
              <p:cNvPr id="38" name="Freeform 38">
                <a:extLst>
                  <a:ext uri="{FF2B5EF4-FFF2-40B4-BE49-F238E27FC236}">
                    <a16:creationId xmlns:a16="http://schemas.microsoft.com/office/drawing/2014/main" id="{3971A5F6-9397-7BF4-C49F-39D9D111E81B}"/>
                  </a:ext>
                </a:extLst>
              </p:cNvPr>
              <p:cNvSpPr/>
              <p:nvPr/>
            </p:nvSpPr>
            <p:spPr>
              <a:xfrm>
                <a:off x="6678445"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293"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2"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GB"/>
              </a:p>
            </p:txBody>
          </p:sp>
          <p:sp>
            <p:nvSpPr>
              <p:cNvPr id="39" name="Freeform 39">
                <a:extLst>
                  <a:ext uri="{FF2B5EF4-FFF2-40B4-BE49-F238E27FC236}">
                    <a16:creationId xmlns:a16="http://schemas.microsoft.com/office/drawing/2014/main" id="{BCB379F9-4F1C-2D5E-B01B-E88654350561}"/>
                  </a:ext>
                </a:extLst>
              </p:cNvPr>
              <p:cNvSpPr/>
              <p:nvPr/>
            </p:nvSpPr>
            <p:spPr>
              <a:xfrm>
                <a:off x="6819708" y="3879818"/>
                <a:ext cx="17871" cy="103250"/>
              </a:xfrm>
              <a:custGeom>
                <a:avLst/>
                <a:gdLst>
                  <a:gd name="connsiteX0" fmla="*/ 0 w 17871"/>
                  <a:gd name="connsiteY0" fmla="*/ 0 h 103250"/>
                  <a:gd name="connsiteX1" fmla="*/ 17872 w 17871"/>
                  <a:gd name="connsiteY1" fmla="*/ 0 h 103250"/>
                  <a:gd name="connsiteX2" fmla="*/ 17872 w 17871"/>
                  <a:gd name="connsiteY2" fmla="*/ 17145 h 103250"/>
                  <a:gd name="connsiteX3" fmla="*/ 0 w 17871"/>
                  <a:gd name="connsiteY3" fmla="*/ 17145 h 103250"/>
                  <a:gd name="connsiteX4" fmla="*/ 0 w 17871"/>
                  <a:gd name="connsiteY4" fmla="*/ 0 h 103250"/>
                  <a:gd name="connsiteX5" fmla="*/ 190 w 17871"/>
                  <a:gd name="connsiteY5" fmla="*/ 26194 h 103250"/>
                  <a:gd name="connsiteX6" fmla="*/ 17682 w 17871"/>
                  <a:gd name="connsiteY6" fmla="*/ 26194 h 103250"/>
                  <a:gd name="connsiteX7" fmla="*/ 17682 w 17871"/>
                  <a:gd name="connsiteY7" fmla="*/ 103251 h 103250"/>
                  <a:gd name="connsiteX8" fmla="*/ 190 w 17871"/>
                  <a:gd name="connsiteY8" fmla="*/ 103251 h 103250"/>
                  <a:gd name="connsiteX9" fmla="*/ 190 w 17871"/>
                  <a:gd name="connsiteY9" fmla="*/ 26194 h 10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71" h="103250">
                    <a:moveTo>
                      <a:pt x="0" y="0"/>
                    </a:moveTo>
                    <a:lnTo>
                      <a:pt x="17872" y="0"/>
                    </a:lnTo>
                    <a:lnTo>
                      <a:pt x="17872" y="17145"/>
                    </a:lnTo>
                    <a:lnTo>
                      <a:pt x="0" y="17145"/>
                    </a:lnTo>
                    <a:lnTo>
                      <a:pt x="0" y="0"/>
                    </a:lnTo>
                    <a:close/>
                    <a:moveTo>
                      <a:pt x="190" y="26194"/>
                    </a:moveTo>
                    <a:lnTo>
                      <a:pt x="17682" y="26194"/>
                    </a:lnTo>
                    <a:lnTo>
                      <a:pt x="17682" y="103251"/>
                    </a:lnTo>
                    <a:lnTo>
                      <a:pt x="190" y="103251"/>
                    </a:lnTo>
                    <a:lnTo>
                      <a:pt x="190" y="26194"/>
                    </a:lnTo>
                    <a:close/>
                  </a:path>
                </a:pathLst>
              </a:custGeom>
              <a:grpFill/>
              <a:ln w="9497" cap="flat">
                <a:noFill/>
                <a:prstDash val="solid"/>
                <a:miter/>
              </a:ln>
            </p:spPr>
            <p:txBody>
              <a:bodyPr rtlCol="0" anchor="ctr"/>
              <a:lstStyle/>
              <a:p>
                <a:endParaRPr lang="en-GB"/>
              </a:p>
            </p:txBody>
          </p:sp>
          <p:sp>
            <p:nvSpPr>
              <p:cNvPr id="40" name="Freeform 40">
                <a:extLst>
                  <a:ext uri="{FF2B5EF4-FFF2-40B4-BE49-F238E27FC236}">
                    <a16:creationId xmlns:a16="http://schemas.microsoft.com/office/drawing/2014/main" id="{AD7E26AB-0D70-DBF0-838B-CC34D06E20F5}"/>
                  </a:ext>
                </a:extLst>
              </p:cNvPr>
              <p:cNvSpPr/>
              <p:nvPr/>
            </p:nvSpPr>
            <p:spPr>
              <a:xfrm>
                <a:off x="6855546" y="3904773"/>
                <a:ext cx="80612" cy="78390"/>
              </a:xfrm>
              <a:custGeom>
                <a:avLst/>
                <a:gdLst>
                  <a:gd name="connsiteX0" fmla="*/ 0 w 80612"/>
                  <a:gd name="connsiteY0" fmla="*/ 1238 h 78390"/>
                  <a:gd name="connsiteX1" fmla="*/ 17492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2 w 80612"/>
                  <a:gd name="connsiteY10" fmla="*/ 41053 h 78390"/>
                  <a:gd name="connsiteX11" fmla="*/ 17492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2"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2" y="24194"/>
                      <a:pt x="17492" y="41053"/>
                    </a:cubicBezTo>
                    <a:lnTo>
                      <a:pt x="17492" y="78391"/>
                    </a:lnTo>
                    <a:lnTo>
                      <a:pt x="0" y="78391"/>
                    </a:lnTo>
                    <a:lnTo>
                      <a:pt x="0" y="1333"/>
                    </a:lnTo>
                    <a:close/>
                  </a:path>
                </a:pathLst>
              </a:custGeom>
              <a:grpFill/>
              <a:ln w="9497" cap="flat">
                <a:noFill/>
                <a:prstDash val="solid"/>
                <a:miter/>
              </a:ln>
            </p:spPr>
            <p:txBody>
              <a:bodyPr rtlCol="0" anchor="ctr"/>
              <a:lstStyle/>
              <a:p>
                <a:endParaRPr lang="en-GB"/>
              </a:p>
            </p:txBody>
          </p:sp>
          <p:sp>
            <p:nvSpPr>
              <p:cNvPr id="41" name="Freeform 41">
                <a:extLst>
                  <a:ext uri="{FF2B5EF4-FFF2-40B4-BE49-F238E27FC236}">
                    <a16:creationId xmlns:a16="http://schemas.microsoft.com/office/drawing/2014/main" id="{3F84DA9E-E7D5-1416-73C2-79836D609BEF}"/>
                  </a:ext>
                </a:extLst>
              </p:cNvPr>
              <p:cNvSpPr/>
              <p:nvPr/>
            </p:nvSpPr>
            <p:spPr>
              <a:xfrm>
                <a:off x="6950133" y="3890581"/>
                <a:ext cx="82133" cy="125730"/>
              </a:xfrm>
              <a:custGeom>
                <a:avLst/>
                <a:gdLst>
                  <a:gd name="connsiteX0" fmla="*/ 82039 w 82133"/>
                  <a:gd name="connsiteY0" fmla="*/ 99822 h 125730"/>
                  <a:gd name="connsiteX1" fmla="*/ 41542 w 82133"/>
                  <a:gd name="connsiteY1" fmla="*/ 125730 h 125730"/>
                  <a:gd name="connsiteX2" fmla="*/ 0 w 82133"/>
                  <a:gd name="connsiteY2" fmla="*/ 103918 h 125730"/>
                  <a:gd name="connsiteX3" fmla="*/ 14925 w 82133"/>
                  <a:gd name="connsiteY3" fmla="*/ 89916 h 125730"/>
                  <a:gd name="connsiteX4" fmla="*/ 14925 w 82133"/>
                  <a:gd name="connsiteY4" fmla="*/ 89725 h 125730"/>
                  <a:gd name="connsiteX5" fmla="*/ 8175 w 82133"/>
                  <a:gd name="connsiteY5" fmla="*/ 77057 h 125730"/>
                  <a:gd name="connsiteX6" fmla="*/ 15305 w 82133"/>
                  <a:gd name="connsiteY6" fmla="*/ 63913 h 125730"/>
                  <a:gd name="connsiteX7" fmla="*/ 15305 w 82133"/>
                  <a:gd name="connsiteY7" fmla="*/ 63627 h 125730"/>
                  <a:gd name="connsiteX8" fmla="*/ 3422 w 82133"/>
                  <a:gd name="connsiteY8" fmla="*/ 41624 h 125730"/>
                  <a:gd name="connsiteX9" fmla="*/ 37740 w 82133"/>
                  <a:gd name="connsiteY9" fmla="*/ 14192 h 125730"/>
                  <a:gd name="connsiteX10" fmla="*/ 59224 w 82133"/>
                  <a:gd name="connsiteY10" fmla="*/ 19145 h 125730"/>
                  <a:gd name="connsiteX11" fmla="*/ 59414 w 82133"/>
                  <a:gd name="connsiteY11" fmla="*/ 18955 h 125730"/>
                  <a:gd name="connsiteX12" fmla="*/ 55706 w 82133"/>
                  <a:gd name="connsiteY12" fmla="*/ 10192 h 125730"/>
                  <a:gd name="connsiteX13" fmla="*/ 70821 w 82133"/>
                  <a:gd name="connsiteY13" fmla="*/ 0 h 125730"/>
                  <a:gd name="connsiteX14" fmla="*/ 78616 w 82133"/>
                  <a:gd name="connsiteY14" fmla="*/ 762 h 125730"/>
                  <a:gd name="connsiteX15" fmla="*/ 78616 w 82133"/>
                  <a:gd name="connsiteY15" fmla="*/ 13049 h 125730"/>
                  <a:gd name="connsiteX16" fmla="*/ 73483 w 82133"/>
                  <a:gd name="connsiteY16" fmla="*/ 12287 h 125730"/>
                  <a:gd name="connsiteX17" fmla="*/ 65878 w 82133"/>
                  <a:gd name="connsiteY17" fmla="*/ 18669 h 125730"/>
                  <a:gd name="connsiteX18" fmla="*/ 67589 w 82133"/>
                  <a:gd name="connsiteY18" fmla="*/ 26479 h 125730"/>
                  <a:gd name="connsiteX19" fmla="*/ 72152 w 82133"/>
                  <a:gd name="connsiteY19" fmla="*/ 41434 h 125730"/>
                  <a:gd name="connsiteX20" fmla="*/ 37930 w 82133"/>
                  <a:gd name="connsiteY20" fmla="*/ 68866 h 125730"/>
                  <a:gd name="connsiteX21" fmla="*/ 24336 w 82133"/>
                  <a:gd name="connsiteY21" fmla="*/ 67151 h 125730"/>
                  <a:gd name="connsiteX22" fmla="*/ 22435 w 82133"/>
                  <a:gd name="connsiteY22" fmla="*/ 73057 h 125730"/>
                  <a:gd name="connsiteX23" fmla="*/ 31180 w 82133"/>
                  <a:gd name="connsiteY23" fmla="*/ 80105 h 125730"/>
                  <a:gd name="connsiteX24" fmla="*/ 56087 w 82133"/>
                  <a:gd name="connsiteY24" fmla="*/ 80105 h 125730"/>
                  <a:gd name="connsiteX25" fmla="*/ 82134 w 82133"/>
                  <a:gd name="connsiteY25" fmla="*/ 99631 h 125730"/>
                  <a:gd name="connsiteX26" fmla="*/ 64547 w 82133"/>
                  <a:gd name="connsiteY26" fmla="*/ 101822 h 125730"/>
                  <a:gd name="connsiteX27" fmla="*/ 52379 w 82133"/>
                  <a:gd name="connsiteY27" fmla="*/ 93821 h 125730"/>
                  <a:gd name="connsiteX28" fmla="*/ 31466 w 82133"/>
                  <a:gd name="connsiteY28" fmla="*/ 93821 h 125730"/>
                  <a:gd name="connsiteX29" fmla="*/ 17111 w 82133"/>
                  <a:gd name="connsiteY29" fmla="*/ 102394 h 125730"/>
                  <a:gd name="connsiteX30" fmla="*/ 41257 w 82133"/>
                  <a:gd name="connsiteY30" fmla="*/ 113348 h 125730"/>
                  <a:gd name="connsiteX31" fmla="*/ 64452 w 82133"/>
                  <a:gd name="connsiteY31" fmla="*/ 101822 h 125730"/>
                  <a:gd name="connsiteX32" fmla="*/ 20153 w 82133"/>
                  <a:gd name="connsiteY32" fmla="*/ 41624 h 125730"/>
                  <a:gd name="connsiteX33" fmla="*/ 37740 w 82133"/>
                  <a:gd name="connsiteY33" fmla="*/ 56579 h 125730"/>
                  <a:gd name="connsiteX34" fmla="*/ 55326 w 82133"/>
                  <a:gd name="connsiteY34" fmla="*/ 41624 h 125730"/>
                  <a:gd name="connsiteX35" fmla="*/ 37740 w 82133"/>
                  <a:gd name="connsiteY35" fmla="*/ 26670 h 125730"/>
                  <a:gd name="connsiteX36" fmla="*/ 20153 w 82133"/>
                  <a:gd name="connsiteY36" fmla="*/ 41624 h 12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133" h="125730">
                    <a:moveTo>
                      <a:pt x="82039" y="99822"/>
                    </a:moveTo>
                    <a:cubicBezTo>
                      <a:pt x="82039" y="116015"/>
                      <a:pt x="66924" y="125730"/>
                      <a:pt x="41542" y="125730"/>
                    </a:cubicBezTo>
                    <a:cubicBezTo>
                      <a:pt x="16160" y="125730"/>
                      <a:pt x="0" y="117729"/>
                      <a:pt x="0" y="103918"/>
                    </a:cubicBezTo>
                    <a:cubicBezTo>
                      <a:pt x="0" y="96107"/>
                      <a:pt x="5799" y="90297"/>
                      <a:pt x="14925" y="89916"/>
                    </a:cubicBezTo>
                    <a:lnTo>
                      <a:pt x="14925" y="89725"/>
                    </a:lnTo>
                    <a:cubicBezTo>
                      <a:pt x="10552" y="86773"/>
                      <a:pt x="8175" y="82582"/>
                      <a:pt x="8175" y="77057"/>
                    </a:cubicBezTo>
                    <a:cubicBezTo>
                      <a:pt x="8175" y="70485"/>
                      <a:pt x="11122" y="66008"/>
                      <a:pt x="15305" y="63913"/>
                    </a:cubicBezTo>
                    <a:lnTo>
                      <a:pt x="15305" y="63627"/>
                    </a:lnTo>
                    <a:cubicBezTo>
                      <a:pt x="7700" y="58960"/>
                      <a:pt x="3422" y="51340"/>
                      <a:pt x="3422" y="41624"/>
                    </a:cubicBezTo>
                    <a:cubicBezTo>
                      <a:pt x="3422" y="24765"/>
                      <a:pt x="16541" y="14192"/>
                      <a:pt x="37740" y="14192"/>
                    </a:cubicBezTo>
                    <a:cubicBezTo>
                      <a:pt x="46485" y="14192"/>
                      <a:pt x="53615" y="15907"/>
                      <a:pt x="59224" y="19145"/>
                    </a:cubicBezTo>
                    <a:lnTo>
                      <a:pt x="59414" y="18955"/>
                    </a:lnTo>
                    <a:cubicBezTo>
                      <a:pt x="57037" y="16478"/>
                      <a:pt x="55706" y="13525"/>
                      <a:pt x="55706" y="10192"/>
                    </a:cubicBezTo>
                    <a:cubicBezTo>
                      <a:pt x="55706" y="3905"/>
                      <a:pt x="61600" y="0"/>
                      <a:pt x="70821" y="0"/>
                    </a:cubicBezTo>
                    <a:cubicBezTo>
                      <a:pt x="74529" y="0"/>
                      <a:pt x="76715" y="286"/>
                      <a:pt x="78616" y="762"/>
                    </a:cubicBezTo>
                    <a:lnTo>
                      <a:pt x="78616" y="13049"/>
                    </a:lnTo>
                    <a:cubicBezTo>
                      <a:pt x="77380" y="12573"/>
                      <a:pt x="75669" y="12287"/>
                      <a:pt x="73483" y="12287"/>
                    </a:cubicBezTo>
                    <a:cubicBezTo>
                      <a:pt x="68350" y="12287"/>
                      <a:pt x="65878" y="14478"/>
                      <a:pt x="65878" y="18669"/>
                    </a:cubicBezTo>
                    <a:cubicBezTo>
                      <a:pt x="65878" y="20860"/>
                      <a:pt x="66638" y="23527"/>
                      <a:pt x="67589" y="26479"/>
                    </a:cubicBezTo>
                    <a:cubicBezTo>
                      <a:pt x="70536" y="30575"/>
                      <a:pt x="72152" y="35719"/>
                      <a:pt x="72152" y="41434"/>
                    </a:cubicBezTo>
                    <a:cubicBezTo>
                      <a:pt x="72152" y="58483"/>
                      <a:pt x="59034" y="68866"/>
                      <a:pt x="37930" y="68866"/>
                    </a:cubicBezTo>
                    <a:cubicBezTo>
                      <a:pt x="32987" y="68866"/>
                      <a:pt x="28423" y="68199"/>
                      <a:pt x="24336" y="67151"/>
                    </a:cubicBezTo>
                    <a:cubicBezTo>
                      <a:pt x="23385" y="68199"/>
                      <a:pt x="22435" y="70390"/>
                      <a:pt x="22435" y="73057"/>
                    </a:cubicBezTo>
                    <a:cubicBezTo>
                      <a:pt x="22435" y="77438"/>
                      <a:pt x="25572" y="80105"/>
                      <a:pt x="31180" y="80105"/>
                    </a:cubicBezTo>
                    <a:lnTo>
                      <a:pt x="56087" y="80105"/>
                    </a:lnTo>
                    <a:cubicBezTo>
                      <a:pt x="72627" y="80105"/>
                      <a:pt x="82134" y="87249"/>
                      <a:pt x="82134" y="99631"/>
                    </a:cubicBezTo>
                    <a:close/>
                    <a:moveTo>
                      <a:pt x="64547" y="101822"/>
                    </a:moveTo>
                    <a:cubicBezTo>
                      <a:pt x="64547" y="96679"/>
                      <a:pt x="60650" y="93821"/>
                      <a:pt x="52379" y="93821"/>
                    </a:cubicBezTo>
                    <a:lnTo>
                      <a:pt x="31466" y="93821"/>
                    </a:lnTo>
                    <a:cubicBezTo>
                      <a:pt x="22720" y="93821"/>
                      <a:pt x="17111" y="96488"/>
                      <a:pt x="17111" y="102394"/>
                    </a:cubicBezTo>
                    <a:cubicBezTo>
                      <a:pt x="17111" y="109728"/>
                      <a:pt x="26427" y="113348"/>
                      <a:pt x="41257" y="113348"/>
                    </a:cubicBezTo>
                    <a:cubicBezTo>
                      <a:pt x="57608" y="113348"/>
                      <a:pt x="64452" y="108680"/>
                      <a:pt x="64452" y="101822"/>
                    </a:cubicBezTo>
                    <a:close/>
                    <a:moveTo>
                      <a:pt x="20153" y="41624"/>
                    </a:moveTo>
                    <a:cubicBezTo>
                      <a:pt x="20153" y="50864"/>
                      <a:pt x="26902" y="56579"/>
                      <a:pt x="37740" y="56579"/>
                    </a:cubicBezTo>
                    <a:cubicBezTo>
                      <a:pt x="48577" y="56579"/>
                      <a:pt x="55326" y="50768"/>
                      <a:pt x="55326" y="41624"/>
                    </a:cubicBezTo>
                    <a:cubicBezTo>
                      <a:pt x="55326" y="32480"/>
                      <a:pt x="48672" y="26670"/>
                      <a:pt x="37740" y="26670"/>
                    </a:cubicBezTo>
                    <a:cubicBezTo>
                      <a:pt x="26808" y="26670"/>
                      <a:pt x="20153" y="32480"/>
                      <a:pt x="20153" y="41624"/>
                    </a:cubicBezTo>
                    <a:close/>
                  </a:path>
                </a:pathLst>
              </a:custGeom>
              <a:grpFill/>
              <a:ln w="9497" cap="flat">
                <a:noFill/>
                <a:prstDash val="solid"/>
                <a:miter/>
              </a:ln>
            </p:spPr>
            <p:txBody>
              <a:bodyPr rtlCol="0" anchor="ctr"/>
              <a:lstStyle/>
              <a:p>
                <a:endParaRPr lang="en-GB"/>
              </a:p>
            </p:txBody>
          </p:sp>
          <p:sp>
            <p:nvSpPr>
              <p:cNvPr id="42" name="Freeform 42">
                <a:extLst>
                  <a:ext uri="{FF2B5EF4-FFF2-40B4-BE49-F238E27FC236}">
                    <a16:creationId xmlns:a16="http://schemas.microsoft.com/office/drawing/2014/main" id="{BF980F22-BEF2-C107-762F-CA815A92C475}"/>
                  </a:ext>
                </a:extLst>
              </p:cNvPr>
              <p:cNvSpPr/>
              <p:nvPr/>
            </p:nvSpPr>
            <p:spPr>
              <a:xfrm>
                <a:off x="7081699"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388"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1"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GB"/>
              </a:p>
            </p:txBody>
          </p:sp>
          <p:sp>
            <p:nvSpPr>
              <p:cNvPr id="43" name="Freeform 43">
                <a:extLst>
                  <a:ext uri="{FF2B5EF4-FFF2-40B4-BE49-F238E27FC236}">
                    <a16:creationId xmlns:a16="http://schemas.microsoft.com/office/drawing/2014/main" id="{FF86A35C-1EC7-6521-A200-B8380194F4FC}"/>
                  </a:ext>
                </a:extLst>
              </p:cNvPr>
              <p:cNvSpPr/>
              <p:nvPr/>
            </p:nvSpPr>
            <p:spPr>
              <a:xfrm>
                <a:off x="7220394" y="3904773"/>
                <a:ext cx="74813" cy="79533"/>
              </a:xfrm>
              <a:custGeom>
                <a:avLst/>
                <a:gdLst>
                  <a:gd name="connsiteX0" fmla="*/ 0 w 74813"/>
                  <a:gd name="connsiteY0" fmla="*/ 56198 h 79533"/>
                  <a:gd name="connsiteX1" fmla="*/ 28804 w 74813"/>
                  <a:gd name="connsiteY1" fmla="*/ 35243 h 79533"/>
                  <a:gd name="connsiteX2" fmla="*/ 57322 w 74813"/>
                  <a:gd name="connsiteY2" fmla="*/ 35243 h 79533"/>
                  <a:gd name="connsiteX3" fmla="*/ 57322 w 74813"/>
                  <a:gd name="connsiteY3" fmla="*/ 29813 h 79533"/>
                  <a:gd name="connsiteX4" fmla="*/ 37074 w 74813"/>
                  <a:gd name="connsiteY4" fmla="*/ 13145 h 79533"/>
                  <a:gd name="connsiteX5" fmla="*/ 18537 w 74813"/>
                  <a:gd name="connsiteY5" fmla="*/ 26289 h 79533"/>
                  <a:gd name="connsiteX6" fmla="*/ 18727 w 74813"/>
                  <a:gd name="connsiteY6" fmla="*/ 29242 h 79533"/>
                  <a:gd name="connsiteX7" fmla="*/ 2662 w 74813"/>
                  <a:gd name="connsiteY7" fmla="*/ 29242 h 79533"/>
                  <a:gd name="connsiteX8" fmla="*/ 2377 w 74813"/>
                  <a:gd name="connsiteY8" fmla="*/ 24670 h 79533"/>
                  <a:gd name="connsiteX9" fmla="*/ 37740 w 74813"/>
                  <a:gd name="connsiteY9" fmla="*/ 0 h 79533"/>
                  <a:gd name="connsiteX10" fmla="*/ 74814 w 74813"/>
                  <a:gd name="connsiteY10" fmla="*/ 31337 h 79533"/>
                  <a:gd name="connsiteX11" fmla="*/ 74814 w 74813"/>
                  <a:gd name="connsiteY11" fmla="*/ 78296 h 79533"/>
                  <a:gd name="connsiteX12" fmla="*/ 57322 w 74813"/>
                  <a:gd name="connsiteY12" fmla="*/ 78296 h 79533"/>
                  <a:gd name="connsiteX13" fmla="*/ 58083 w 74813"/>
                  <a:gd name="connsiteY13" fmla="*/ 61246 h 79533"/>
                  <a:gd name="connsiteX14" fmla="*/ 57893 w 74813"/>
                  <a:gd name="connsiteY14" fmla="*/ 61246 h 79533"/>
                  <a:gd name="connsiteX15" fmla="*/ 29279 w 74813"/>
                  <a:gd name="connsiteY15" fmla="*/ 79534 h 79533"/>
                  <a:gd name="connsiteX16" fmla="*/ 0 w 74813"/>
                  <a:gd name="connsiteY16" fmla="*/ 56102 h 79533"/>
                  <a:gd name="connsiteX17" fmla="*/ 57322 w 74813"/>
                  <a:gd name="connsiteY17" fmla="*/ 47339 h 79533"/>
                  <a:gd name="connsiteX18" fmla="*/ 57322 w 74813"/>
                  <a:gd name="connsiteY18" fmla="*/ 45910 h 79533"/>
                  <a:gd name="connsiteX19" fmla="*/ 30420 w 74813"/>
                  <a:gd name="connsiteY19" fmla="*/ 45910 h 79533"/>
                  <a:gd name="connsiteX20" fmla="*/ 16066 w 74813"/>
                  <a:gd name="connsiteY20" fmla="*/ 55435 h 79533"/>
                  <a:gd name="connsiteX21" fmla="*/ 32891 w 74813"/>
                  <a:gd name="connsiteY21" fmla="*/ 66485 h 79533"/>
                  <a:gd name="connsiteX22" fmla="*/ 57322 w 74813"/>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813" h="79533">
                    <a:moveTo>
                      <a:pt x="0" y="56198"/>
                    </a:moveTo>
                    <a:cubicBezTo>
                      <a:pt x="0" y="44482"/>
                      <a:pt x="8270" y="35243"/>
                      <a:pt x="28804" y="35243"/>
                    </a:cubicBezTo>
                    <a:lnTo>
                      <a:pt x="57322" y="35243"/>
                    </a:lnTo>
                    <a:lnTo>
                      <a:pt x="57322" y="29813"/>
                    </a:lnTo>
                    <a:cubicBezTo>
                      <a:pt x="57322" y="18288"/>
                      <a:pt x="50668" y="13145"/>
                      <a:pt x="37074" y="13145"/>
                    </a:cubicBezTo>
                    <a:cubicBezTo>
                      <a:pt x="25287" y="13145"/>
                      <a:pt x="18537" y="17717"/>
                      <a:pt x="18537" y="26289"/>
                    </a:cubicBezTo>
                    <a:cubicBezTo>
                      <a:pt x="18537" y="26765"/>
                      <a:pt x="18537" y="28004"/>
                      <a:pt x="18727" y="29242"/>
                    </a:cubicBezTo>
                    <a:lnTo>
                      <a:pt x="2662" y="29242"/>
                    </a:lnTo>
                    <a:cubicBezTo>
                      <a:pt x="2472" y="28099"/>
                      <a:pt x="2377" y="26099"/>
                      <a:pt x="2377" y="24670"/>
                    </a:cubicBezTo>
                    <a:cubicBezTo>
                      <a:pt x="2377" y="9239"/>
                      <a:pt x="15780" y="0"/>
                      <a:pt x="37740" y="0"/>
                    </a:cubicBezTo>
                    <a:cubicBezTo>
                      <a:pt x="61125" y="0"/>
                      <a:pt x="74814" y="11049"/>
                      <a:pt x="74814" y="31337"/>
                    </a:cubicBezTo>
                    <a:lnTo>
                      <a:pt x="74814" y="78296"/>
                    </a:lnTo>
                    <a:lnTo>
                      <a:pt x="57322" y="78296"/>
                    </a:lnTo>
                    <a:cubicBezTo>
                      <a:pt x="57608" y="74581"/>
                      <a:pt x="58083" y="67532"/>
                      <a:pt x="58083" y="61246"/>
                    </a:cubicBezTo>
                    <a:lnTo>
                      <a:pt x="57893" y="61246"/>
                    </a:lnTo>
                    <a:cubicBezTo>
                      <a:pt x="55421" y="72676"/>
                      <a:pt x="46200" y="79534"/>
                      <a:pt x="29279" y="79534"/>
                    </a:cubicBezTo>
                    <a:cubicBezTo>
                      <a:pt x="12358" y="79534"/>
                      <a:pt x="0" y="71152"/>
                      <a:pt x="0" y="56102"/>
                    </a:cubicBezTo>
                    <a:close/>
                    <a:moveTo>
                      <a:pt x="57322" y="47339"/>
                    </a:moveTo>
                    <a:lnTo>
                      <a:pt x="57322" y="45910"/>
                    </a:lnTo>
                    <a:lnTo>
                      <a:pt x="30420" y="45910"/>
                    </a:lnTo>
                    <a:cubicBezTo>
                      <a:pt x="20438" y="45910"/>
                      <a:pt x="16066" y="49340"/>
                      <a:pt x="16066" y="55435"/>
                    </a:cubicBezTo>
                    <a:cubicBezTo>
                      <a:pt x="16066" y="62484"/>
                      <a:pt x="22340" y="66485"/>
                      <a:pt x="32891" y="66485"/>
                    </a:cubicBezTo>
                    <a:cubicBezTo>
                      <a:pt x="48006" y="66485"/>
                      <a:pt x="57322" y="59150"/>
                      <a:pt x="57322" y="47244"/>
                    </a:cubicBezTo>
                    <a:close/>
                  </a:path>
                </a:pathLst>
              </a:custGeom>
              <a:grpFill/>
              <a:ln w="9497" cap="flat">
                <a:noFill/>
                <a:prstDash val="solid"/>
                <a:miter/>
              </a:ln>
            </p:spPr>
            <p:txBody>
              <a:bodyPr rtlCol="0" anchor="ctr"/>
              <a:lstStyle/>
              <a:p>
                <a:endParaRPr lang="en-GB"/>
              </a:p>
            </p:txBody>
          </p:sp>
          <p:sp>
            <p:nvSpPr>
              <p:cNvPr id="44" name="Freeform 44">
                <a:extLst>
                  <a:ext uri="{FF2B5EF4-FFF2-40B4-BE49-F238E27FC236}">
                    <a16:creationId xmlns:a16="http://schemas.microsoft.com/office/drawing/2014/main" id="{ED713FE6-5C94-CA15-6308-8885DB331322}"/>
                  </a:ext>
                </a:extLst>
              </p:cNvPr>
              <p:cNvSpPr/>
              <p:nvPr/>
            </p:nvSpPr>
            <p:spPr>
              <a:xfrm>
                <a:off x="7311844" y="3904773"/>
                <a:ext cx="70251" cy="78295"/>
              </a:xfrm>
              <a:custGeom>
                <a:avLst/>
                <a:gdLst>
                  <a:gd name="connsiteX0" fmla="*/ 0 w 70251"/>
                  <a:gd name="connsiteY0" fmla="*/ 1238 h 78295"/>
                  <a:gd name="connsiteX1" fmla="*/ 17491 w 70251"/>
                  <a:gd name="connsiteY1" fmla="*/ 1238 h 78295"/>
                  <a:gd name="connsiteX2" fmla="*/ 16826 w 70251"/>
                  <a:gd name="connsiteY2" fmla="*/ 23432 h 78295"/>
                  <a:gd name="connsiteX3" fmla="*/ 17016 w 70251"/>
                  <a:gd name="connsiteY3" fmla="*/ 23432 h 78295"/>
                  <a:gd name="connsiteX4" fmla="*/ 44394 w 70251"/>
                  <a:gd name="connsiteY4" fmla="*/ 0 h 78295"/>
                  <a:gd name="connsiteX5" fmla="*/ 70251 w 70251"/>
                  <a:gd name="connsiteY5" fmla="*/ 30099 h 78295"/>
                  <a:gd name="connsiteX6" fmla="*/ 69490 w 70251"/>
                  <a:gd name="connsiteY6" fmla="*/ 44482 h 78295"/>
                  <a:gd name="connsiteX7" fmla="*/ 53615 w 70251"/>
                  <a:gd name="connsiteY7" fmla="*/ 44482 h 78295"/>
                  <a:gd name="connsiteX8" fmla="*/ 54280 w 70251"/>
                  <a:gd name="connsiteY8" fmla="*/ 34004 h 78295"/>
                  <a:gd name="connsiteX9" fmla="*/ 39071 w 70251"/>
                  <a:gd name="connsiteY9" fmla="*/ 14954 h 78295"/>
                  <a:gd name="connsiteX10" fmla="*/ 17587 w 70251"/>
                  <a:gd name="connsiteY10" fmla="*/ 44577 h 78295"/>
                  <a:gd name="connsiteX11" fmla="*/ 17587 w 70251"/>
                  <a:gd name="connsiteY11" fmla="*/ 78296 h 78295"/>
                  <a:gd name="connsiteX12" fmla="*/ 95 w 70251"/>
                  <a:gd name="connsiteY12" fmla="*/ 78296 h 78295"/>
                  <a:gd name="connsiteX13" fmla="*/ 95 w 70251"/>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1" h="78295">
                    <a:moveTo>
                      <a:pt x="0" y="1238"/>
                    </a:moveTo>
                    <a:lnTo>
                      <a:pt x="17491" y="1238"/>
                    </a:lnTo>
                    <a:lnTo>
                      <a:pt x="16826" y="23432"/>
                    </a:lnTo>
                    <a:lnTo>
                      <a:pt x="17016" y="23432"/>
                    </a:lnTo>
                    <a:cubicBezTo>
                      <a:pt x="20629"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9071" y="14954"/>
                    </a:cubicBezTo>
                    <a:cubicBezTo>
                      <a:pt x="25857" y="14954"/>
                      <a:pt x="17587" y="26194"/>
                      <a:pt x="17587" y="44577"/>
                    </a:cubicBezTo>
                    <a:lnTo>
                      <a:pt x="17587" y="78296"/>
                    </a:lnTo>
                    <a:lnTo>
                      <a:pt x="95" y="78296"/>
                    </a:lnTo>
                    <a:lnTo>
                      <a:pt x="95" y="1238"/>
                    </a:lnTo>
                    <a:close/>
                  </a:path>
                </a:pathLst>
              </a:custGeom>
              <a:grpFill/>
              <a:ln w="9497" cap="flat">
                <a:noFill/>
                <a:prstDash val="solid"/>
                <a:miter/>
              </a:ln>
            </p:spPr>
            <p:txBody>
              <a:bodyPr rtlCol="0" anchor="ctr"/>
              <a:lstStyle/>
              <a:p>
                <a:endParaRPr lang="en-GB"/>
              </a:p>
            </p:txBody>
          </p:sp>
          <p:sp>
            <p:nvSpPr>
              <p:cNvPr id="45" name="Freeform 45">
                <a:extLst>
                  <a:ext uri="{FF2B5EF4-FFF2-40B4-BE49-F238E27FC236}">
                    <a16:creationId xmlns:a16="http://schemas.microsoft.com/office/drawing/2014/main" id="{396D193E-6C8F-2448-7E48-88005E77CDFA}"/>
                  </a:ext>
                </a:extLst>
              </p:cNvPr>
              <p:cNvSpPr/>
              <p:nvPr/>
            </p:nvSpPr>
            <p:spPr>
              <a:xfrm>
                <a:off x="7397495" y="3874865"/>
                <a:ext cx="83749" cy="108204"/>
              </a:xfrm>
              <a:custGeom>
                <a:avLst/>
                <a:gdLst>
                  <a:gd name="connsiteX0" fmla="*/ 0 w 83749"/>
                  <a:gd name="connsiteY0" fmla="*/ 95 h 108204"/>
                  <a:gd name="connsiteX1" fmla="*/ 17491 w 83749"/>
                  <a:gd name="connsiteY1" fmla="*/ 95 h 108204"/>
                  <a:gd name="connsiteX2" fmla="*/ 17491 w 83749"/>
                  <a:gd name="connsiteY2" fmla="*/ 71533 h 108204"/>
                  <a:gd name="connsiteX3" fmla="*/ 17681 w 83749"/>
                  <a:gd name="connsiteY3" fmla="*/ 71533 h 108204"/>
                  <a:gd name="connsiteX4" fmla="*/ 59129 w 83749"/>
                  <a:gd name="connsiteY4" fmla="*/ 31147 h 108204"/>
                  <a:gd name="connsiteX5" fmla="*/ 81753 w 83749"/>
                  <a:gd name="connsiteY5" fmla="*/ 31147 h 108204"/>
                  <a:gd name="connsiteX6" fmla="*/ 45725 w 83749"/>
                  <a:gd name="connsiteY6" fmla="*/ 64675 h 108204"/>
                  <a:gd name="connsiteX7" fmla="*/ 83750 w 83749"/>
                  <a:gd name="connsiteY7" fmla="*/ 108204 h 108204"/>
                  <a:gd name="connsiteX8" fmla="*/ 60079 w 83749"/>
                  <a:gd name="connsiteY8" fmla="*/ 108204 h 108204"/>
                  <a:gd name="connsiteX9" fmla="*/ 32987 w 83749"/>
                  <a:gd name="connsiteY9" fmla="*/ 75724 h 108204"/>
                  <a:gd name="connsiteX10" fmla="*/ 17587 w 83749"/>
                  <a:gd name="connsiteY10" fmla="*/ 89916 h 108204"/>
                  <a:gd name="connsiteX11" fmla="*/ 17587 w 83749"/>
                  <a:gd name="connsiteY11" fmla="*/ 108204 h 108204"/>
                  <a:gd name="connsiteX12" fmla="*/ 95 w 83749"/>
                  <a:gd name="connsiteY12" fmla="*/ 108204 h 108204"/>
                  <a:gd name="connsiteX13" fmla="*/ 95 w 83749"/>
                  <a:gd name="connsiteY13" fmla="*/ 0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49" h="108204">
                    <a:moveTo>
                      <a:pt x="0" y="95"/>
                    </a:moveTo>
                    <a:lnTo>
                      <a:pt x="17491" y="95"/>
                    </a:lnTo>
                    <a:lnTo>
                      <a:pt x="17491" y="71533"/>
                    </a:lnTo>
                    <a:lnTo>
                      <a:pt x="17681" y="71533"/>
                    </a:lnTo>
                    <a:lnTo>
                      <a:pt x="59129" y="31147"/>
                    </a:lnTo>
                    <a:lnTo>
                      <a:pt x="81753" y="31147"/>
                    </a:lnTo>
                    <a:lnTo>
                      <a:pt x="45725" y="64675"/>
                    </a:lnTo>
                    <a:lnTo>
                      <a:pt x="83750" y="108204"/>
                    </a:lnTo>
                    <a:lnTo>
                      <a:pt x="60079" y="108204"/>
                    </a:lnTo>
                    <a:lnTo>
                      <a:pt x="32987" y="75724"/>
                    </a:lnTo>
                    <a:lnTo>
                      <a:pt x="17587" y="89916"/>
                    </a:lnTo>
                    <a:lnTo>
                      <a:pt x="17587" y="108204"/>
                    </a:lnTo>
                    <a:lnTo>
                      <a:pt x="95" y="108204"/>
                    </a:lnTo>
                    <a:lnTo>
                      <a:pt x="95" y="0"/>
                    </a:lnTo>
                    <a:close/>
                  </a:path>
                </a:pathLst>
              </a:custGeom>
              <a:grpFill/>
              <a:ln w="9497" cap="flat">
                <a:noFill/>
                <a:prstDash val="solid"/>
                <a:miter/>
              </a:ln>
            </p:spPr>
            <p:txBody>
              <a:bodyPr rtlCol="0" anchor="ctr"/>
              <a:lstStyle/>
              <a:p>
                <a:endParaRPr lang="en-GB"/>
              </a:p>
            </p:txBody>
          </p:sp>
          <p:sp>
            <p:nvSpPr>
              <p:cNvPr id="46" name="Freeform 46">
                <a:extLst>
                  <a:ext uri="{FF2B5EF4-FFF2-40B4-BE49-F238E27FC236}">
                    <a16:creationId xmlns:a16="http://schemas.microsoft.com/office/drawing/2014/main" id="{B1E30072-F36C-2CA2-A168-43A1B51BFCD6}"/>
                  </a:ext>
                </a:extLst>
              </p:cNvPr>
              <p:cNvSpPr/>
              <p:nvPr/>
            </p:nvSpPr>
            <p:spPr>
              <a:xfrm>
                <a:off x="7484762" y="3904868"/>
                <a:ext cx="75194" cy="79533"/>
              </a:xfrm>
              <a:custGeom>
                <a:avLst/>
                <a:gdLst>
                  <a:gd name="connsiteX0" fmla="*/ 75099 w 75194"/>
                  <a:gd name="connsiteY0" fmla="*/ 43148 h 79533"/>
                  <a:gd name="connsiteX1" fmla="*/ 17491 w 75194"/>
                  <a:gd name="connsiteY1" fmla="*/ 43148 h 79533"/>
                  <a:gd name="connsiteX2" fmla="*/ 39736 w 75194"/>
                  <a:gd name="connsiteY2" fmla="*/ 65913 h 79533"/>
                  <a:gd name="connsiteX3" fmla="*/ 59414 w 75194"/>
                  <a:gd name="connsiteY3" fmla="*/ 51911 h 79533"/>
                  <a:gd name="connsiteX4" fmla="*/ 75194 w 75194"/>
                  <a:gd name="connsiteY4" fmla="*/ 51911 h 79533"/>
                  <a:gd name="connsiteX5" fmla="*/ 39546 w 75194"/>
                  <a:gd name="connsiteY5" fmla="*/ 79534 h 79533"/>
                  <a:gd name="connsiteX6" fmla="*/ 0 w 75194"/>
                  <a:gd name="connsiteY6" fmla="*/ 40386 h 79533"/>
                  <a:gd name="connsiteX7" fmla="*/ 39546 w 75194"/>
                  <a:gd name="connsiteY7" fmla="*/ 0 h 79533"/>
                  <a:gd name="connsiteX8" fmla="*/ 75194 w 75194"/>
                  <a:gd name="connsiteY8" fmla="*/ 36957 h 79533"/>
                  <a:gd name="connsiteX9" fmla="*/ 75194 w 75194"/>
                  <a:gd name="connsiteY9" fmla="*/ 43244 h 79533"/>
                  <a:gd name="connsiteX10" fmla="*/ 59319 w 75194"/>
                  <a:gd name="connsiteY10" fmla="*/ 31433 h 79533"/>
                  <a:gd name="connsiteX11" fmla="*/ 39546 w 75194"/>
                  <a:gd name="connsiteY11" fmla="*/ 13525 h 79533"/>
                  <a:gd name="connsiteX12" fmla="*/ 17872 w 75194"/>
                  <a:gd name="connsiteY12" fmla="*/ 32575 h 79533"/>
                  <a:gd name="connsiteX13" fmla="*/ 59319 w 75194"/>
                  <a:gd name="connsiteY13" fmla="*/ 32575 h 79533"/>
                  <a:gd name="connsiteX14" fmla="*/ 59319 w 75194"/>
                  <a:gd name="connsiteY14" fmla="*/ 31528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194" h="79533">
                    <a:moveTo>
                      <a:pt x="75099" y="43148"/>
                    </a:moveTo>
                    <a:lnTo>
                      <a:pt x="17491" y="43148"/>
                    </a:lnTo>
                    <a:cubicBezTo>
                      <a:pt x="18442" y="58007"/>
                      <a:pt x="26712" y="65913"/>
                      <a:pt x="39736" y="65913"/>
                    </a:cubicBezTo>
                    <a:cubicBezTo>
                      <a:pt x="50953" y="65913"/>
                      <a:pt x="58558" y="60960"/>
                      <a:pt x="59414" y="51911"/>
                    </a:cubicBezTo>
                    <a:lnTo>
                      <a:pt x="75194" y="51911"/>
                    </a:lnTo>
                    <a:cubicBezTo>
                      <a:pt x="74529" y="69056"/>
                      <a:pt x="60555" y="79534"/>
                      <a:pt x="39546" y="79534"/>
                    </a:cubicBezTo>
                    <a:cubicBezTo>
                      <a:pt x="15210" y="79534"/>
                      <a:pt x="0" y="64579"/>
                      <a:pt x="0" y="40386"/>
                    </a:cubicBezTo>
                    <a:cubicBezTo>
                      <a:pt x="0" y="16193"/>
                      <a:pt x="15305" y="0"/>
                      <a:pt x="39546" y="0"/>
                    </a:cubicBezTo>
                    <a:cubicBezTo>
                      <a:pt x="61315" y="0"/>
                      <a:pt x="75194" y="12954"/>
                      <a:pt x="75194" y="36957"/>
                    </a:cubicBezTo>
                    <a:lnTo>
                      <a:pt x="75194" y="43244"/>
                    </a:lnTo>
                    <a:close/>
                    <a:moveTo>
                      <a:pt x="59319" y="31433"/>
                    </a:moveTo>
                    <a:cubicBezTo>
                      <a:pt x="59319" y="19907"/>
                      <a:pt x="52189" y="13525"/>
                      <a:pt x="39546" y="13525"/>
                    </a:cubicBezTo>
                    <a:cubicBezTo>
                      <a:pt x="26903" y="13525"/>
                      <a:pt x="19963" y="19812"/>
                      <a:pt x="17872" y="32575"/>
                    </a:cubicBezTo>
                    <a:lnTo>
                      <a:pt x="59319" y="32575"/>
                    </a:lnTo>
                    <a:lnTo>
                      <a:pt x="59319" y="31528"/>
                    </a:lnTo>
                    <a:close/>
                  </a:path>
                </a:pathLst>
              </a:custGeom>
              <a:grpFill/>
              <a:ln w="9497" cap="flat">
                <a:noFill/>
                <a:prstDash val="solid"/>
                <a:miter/>
              </a:ln>
            </p:spPr>
            <p:txBody>
              <a:bodyPr rtlCol="0" anchor="ctr"/>
              <a:lstStyle/>
              <a:p>
                <a:endParaRPr lang="en-GB"/>
              </a:p>
            </p:txBody>
          </p:sp>
          <p:sp>
            <p:nvSpPr>
              <p:cNvPr id="47" name="Freeform 47">
                <a:extLst>
                  <a:ext uri="{FF2B5EF4-FFF2-40B4-BE49-F238E27FC236}">
                    <a16:creationId xmlns:a16="http://schemas.microsoft.com/office/drawing/2014/main" id="{ACC99569-9FCD-1358-8102-2F2C02DE4B28}"/>
                  </a:ext>
                </a:extLst>
              </p:cNvPr>
              <p:cNvSpPr/>
              <p:nvPr/>
            </p:nvSpPr>
            <p:spPr>
              <a:xfrm>
                <a:off x="7567751"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1"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GB"/>
              </a:p>
            </p:txBody>
          </p:sp>
          <p:sp>
            <p:nvSpPr>
              <p:cNvPr id="48" name="Freeform 48">
                <a:extLst>
                  <a:ext uri="{FF2B5EF4-FFF2-40B4-BE49-F238E27FC236}">
                    <a16:creationId xmlns:a16="http://schemas.microsoft.com/office/drawing/2014/main" id="{F41BE927-9566-EFCA-3150-C1B848E20E3F}"/>
                  </a:ext>
                </a:extLst>
              </p:cNvPr>
              <p:cNvSpPr/>
              <p:nvPr/>
            </p:nvSpPr>
            <p:spPr>
              <a:xfrm>
                <a:off x="763334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3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2"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0"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3" y="79629"/>
                    </a:cubicBezTo>
                    <a:cubicBezTo>
                      <a:pt x="9601" y="79629"/>
                      <a:pt x="95" y="67723"/>
                      <a:pt x="95" y="52673"/>
                    </a:cubicBezTo>
                    <a:close/>
                  </a:path>
                </a:pathLst>
              </a:custGeom>
              <a:grpFill/>
              <a:ln w="9497" cap="flat">
                <a:noFill/>
                <a:prstDash val="solid"/>
                <a:miter/>
              </a:ln>
            </p:spPr>
            <p:txBody>
              <a:bodyPr rtlCol="0" anchor="ctr"/>
              <a:lstStyle/>
              <a:p>
                <a:endParaRPr lang="en-GB"/>
              </a:p>
            </p:txBody>
          </p:sp>
        </p:grpSp>
      </p:grpSp>
    </p:spTree>
    <p:extLst>
      <p:ext uri="{BB962C8B-B14F-4D97-AF65-F5344CB8AC3E}">
        <p14:creationId xmlns:p14="http://schemas.microsoft.com/office/powerpoint/2010/main" val="3943030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iterate type="lt">
                                    <p:tmPct val="10000"/>
                                  </p:iterate>
                                  <p:childTnLst>
                                    <p:set>
                                      <p:cBhvr>
                                        <p:cTn id="6" dur="1" fill="hold">
                                          <p:stCondLst>
                                            <p:cond delay="0"/>
                                          </p:stCondLst>
                                        </p:cTn>
                                        <p:tgtEl>
                                          <p:spTgt spid="15">
                                            <p:txEl>
                                              <p:pRg st="0" end="0"/>
                                            </p:txEl>
                                          </p:spTgt>
                                        </p:tgtEl>
                                        <p:attrNameLst>
                                          <p:attrName>style.visibility</p:attrName>
                                        </p:attrNameLst>
                                      </p:cBhvr>
                                      <p:to>
                                        <p:strVal val="visible"/>
                                      </p:to>
                                    </p:set>
                                    <p:anim calcmode="lin" valueType="num">
                                      <p:cBhvr>
                                        <p:cTn id="7" dur="400" fill="hold"/>
                                        <p:tgtEl>
                                          <p:spTgt spid="15">
                                            <p:txEl>
                                              <p:pRg st="0" end="0"/>
                                            </p:txEl>
                                          </p:spTgt>
                                        </p:tgtEl>
                                        <p:attrNameLst>
                                          <p:attrName>ppt_w</p:attrName>
                                        </p:attrNameLst>
                                      </p:cBhvr>
                                      <p:tavLst>
                                        <p:tav tm="0">
                                          <p:val>
                                            <p:strVal val="#ppt_w*0.70"/>
                                          </p:val>
                                        </p:tav>
                                        <p:tav tm="100000">
                                          <p:val>
                                            <p:strVal val="#ppt_w"/>
                                          </p:val>
                                        </p:tav>
                                      </p:tavLst>
                                    </p:anim>
                                    <p:anim calcmode="lin" valueType="num">
                                      <p:cBhvr>
                                        <p:cTn id="8" dur="400" fill="hold"/>
                                        <p:tgtEl>
                                          <p:spTgt spid="15">
                                            <p:txEl>
                                              <p:pRg st="0" end="0"/>
                                            </p:txEl>
                                          </p:spTgt>
                                        </p:tgtEl>
                                        <p:attrNameLst>
                                          <p:attrName>ppt_h</p:attrName>
                                        </p:attrNameLst>
                                      </p:cBhvr>
                                      <p:tavLst>
                                        <p:tav tm="0">
                                          <p:val>
                                            <p:strVal val="#ppt_h"/>
                                          </p:val>
                                        </p:tav>
                                        <p:tav tm="100000">
                                          <p:val>
                                            <p:strVal val="#ppt_h"/>
                                          </p:val>
                                        </p:tav>
                                      </p:tavLst>
                                    </p:anim>
                                    <p:animEffect transition="in" filter="fade">
                                      <p:cBhvr>
                                        <p:cTn id="9" dur="400"/>
                                        <p:tgtEl>
                                          <p:spTgt spid="15">
                                            <p:txEl>
                                              <p:pRg st="0" end="0"/>
                                            </p:txEl>
                                          </p:spTgt>
                                        </p:tgtEl>
                                      </p:cBhvr>
                                    </p:animEffect>
                                  </p:childTnLst>
                                </p:cTn>
                              </p:par>
                              <p:par>
                                <p:cTn id="10" presetID="10" presetClass="entr" presetSubtype="0" fill="hold" grpId="0" nodeType="withEffect">
                                  <p:stCondLst>
                                    <p:cond delay="1250"/>
                                  </p:stCondLst>
                                  <p:childTnLst>
                                    <p:set>
                                      <p:cBhvr>
                                        <p:cTn id="11" dur="1" fill="hold">
                                          <p:stCondLst>
                                            <p:cond delay="0"/>
                                          </p:stCondLst>
                                        </p:cTn>
                                        <p:tgtEl>
                                          <p:spTgt spid="16">
                                            <p:txEl>
                                              <p:pRg st="0" end="0"/>
                                            </p:txEl>
                                          </p:spTgt>
                                        </p:tgtEl>
                                        <p:attrNameLst>
                                          <p:attrName>style.visibility</p:attrName>
                                        </p:attrNameLst>
                                      </p:cBhvr>
                                      <p:to>
                                        <p:strVal val="visible"/>
                                      </p:to>
                                    </p:set>
                                    <p:animEffect transition="in" filter="fade">
                                      <p:cBhvr>
                                        <p:cTn id="12" dur="750"/>
                                        <p:tgtEl>
                                          <p:spTgt spid="16">
                                            <p:txEl>
                                              <p:pRg st="0" end="0"/>
                                            </p:txEl>
                                          </p:spTgt>
                                        </p:tgtEl>
                                      </p:cBhvr>
                                    </p:animEffect>
                                  </p:childTnLst>
                                </p:cTn>
                              </p:par>
                              <p:par>
                                <p:cTn id="13" presetID="2" presetClass="entr" presetSubtype="4" decel="100000" fill="hold" nodeType="withEffect">
                                  <p:stCondLst>
                                    <p:cond delay="15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ppt_x"/>
                                          </p:val>
                                        </p:tav>
                                        <p:tav tm="100000">
                                          <p:val>
                                            <p:strVal val="#ppt_x"/>
                                          </p:val>
                                        </p:tav>
                                      </p:tavLst>
                                    </p:anim>
                                    <p:anim calcmode="lin" valueType="num">
                                      <p:cBhvr additive="base">
                                        <p:cTn id="16"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6" grpId="0" build="p"/>
    </p:bldLst>
  </p:timing>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Main (Green)">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6F3918CB-A61A-8A43-05DE-7D51ECBE796D}"/>
              </a:ext>
            </a:extLst>
          </p:cNvPr>
          <p:cNvSpPr>
            <a:spLocks noGrp="1"/>
          </p:cNvSpPr>
          <p:nvPr>
            <p:ph type="sldNum" sz="quarter" idx="18"/>
          </p:nvPr>
        </p:nvSpPr>
        <p:spPr/>
        <p:txBody>
          <a:bodyPr/>
          <a:lstStyle/>
          <a:p>
            <a:fld id="{0994303E-A424-9540-91A8-53B791C91E8F}" type="slidenum">
              <a:rPr lang="en-GB" smtClean="0"/>
              <a:pPr/>
              <a:t>‹#›</a:t>
            </a:fld>
            <a:endParaRPr lang="en-GB"/>
          </a:p>
        </p:txBody>
      </p:sp>
      <p:sp>
        <p:nvSpPr>
          <p:cNvPr id="14" name="Title 13">
            <a:extLst>
              <a:ext uri="{FF2B5EF4-FFF2-40B4-BE49-F238E27FC236}">
                <a16:creationId xmlns:a16="http://schemas.microsoft.com/office/drawing/2014/main" id="{B2461144-37F7-1B8E-8C8F-A142D7874919}"/>
              </a:ext>
            </a:extLst>
          </p:cNvPr>
          <p:cNvSpPr>
            <a:spLocks noGrp="1"/>
          </p:cNvSpPr>
          <p:nvPr>
            <p:ph type="title" hasCustomPrompt="1"/>
          </p:nvPr>
        </p:nvSpPr>
        <p:spPr/>
        <p:txBody>
          <a:bodyPr/>
          <a:lstStyle/>
          <a:p>
            <a:r>
              <a:rPr lang="en-GB"/>
              <a:t>Regular heading goes here</a:t>
            </a:r>
          </a:p>
        </p:txBody>
      </p:sp>
      <p:sp>
        <p:nvSpPr>
          <p:cNvPr id="3" name="Text Placeholder 2">
            <a:extLst>
              <a:ext uri="{FF2B5EF4-FFF2-40B4-BE49-F238E27FC236}">
                <a16:creationId xmlns:a16="http://schemas.microsoft.com/office/drawing/2014/main" id="{39844A63-D478-63A3-32FA-965832495FE9}"/>
              </a:ext>
            </a:extLst>
          </p:cNvPr>
          <p:cNvSpPr>
            <a:spLocks noGrp="1"/>
          </p:cNvSpPr>
          <p:nvPr>
            <p:ph type="body" sz="quarter" idx="22" hasCustomPrompt="1"/>
          </p:nvPr>
        </p:nvSpPr>
        <p:spPr>
          <a:xfrm>
            <a:off x="658813" y="1833563"/>
            <a:ext cx="5113337" cy="3971925"/>
          </a:xfrm>
        </p:spPr>
        <p:txBody>
          <a:bodyPr/>
          <a:lstStyle>
            <a:lvl1pPr marL="0" indent="0">
              <a:buFont typeface="Arial" panose="020B0604020202020204" pitchFamily="34" charset="0"/>
              <a:buNone/>
              <a:tabLst/>
              <a:defRPr/>
            </a:lvl1pPr>
          </a:lstStyle>
          <a:p>
            <a:pPr lvl="0"/>
            <a:r>
              <a:rPr lang="en-GB" err="1"/>
              <a:t>Sed</a:t>
            </a:r>
            <a:r>
              <a:rPr lang="en-GB"/>
              <a:t> </a:t>
            </a:r>
            <a:r>
              <a:rPr lang="en-GB" err="1"/>
              <a:t>ut</a:t>
            </a:r>
            <a:r>
              <a:rPr lang="en-GB"/>
              <a:t> </a:t>
            </a:r>
            <a:r>
              <a:rPr lang="en-GB" err="1"/>
              <a:t>perspiciatis</a:t>
            </a:r>
            <a:r>
              <a:rPr lang="en-GB"/>
              <a:t> </a:t>
            </a:r>
            <a:r>
              <a:rPr lang="en-GB" err="1"/>
              <a:t>unde</a:t>
            </a:r>
            <a:r>
              <a:rPr lang="en-GB"/>
              <a:t> </a:t>
            </a:r>
            <a:r>
              <a:rPr lang="en-GB" err="1"/>
              <a:t>omnis</a:t>
            </a:r>
            <a:r>
              <a:rPr lang="en-GB"/>
              <a:t> </a:t>
            </a:r>
            <a:r>
              <a:rPr lang="en-GB" err="1"/>
              <a:t>iste</a:t>
            </a:r>
            <a:r>
              <a:rPr lang="en-GB"/>
              <a:t> </a:t>
            </a:r>
            <a:r>
              <a:rPr lang="en-GB" err="1"/>
              <a:t>natus</a:t>
            </a:r>
            <a:r>
              <a:rPr lang="en-GB"/>
              <a:t> error sit </a:t>
            </a:r>
            <a:r>
              <a:rPr lang="en-GB" err="1"/>
              <a:t>voluptatem</a:t>
            </a:r>
            <a:r>
              <a:rPr lang="en-GB"/>
              <a:t> </a:t>
            </a:r>
            <a:r>
              <a:rPr lang="en-GB" err="1"/>
              <a:t>accusantium</a:t>
            </a:r>
            <a:r>
              <a:rPr lang="en-GB"/>
              <a:t> </a:t>
            </a:r>
            <a:r>
              <a:rPr lang="en-GB" err="1"/>
              <a:t>doloremque</a:t>
            </a:r>
            <a:r>
              <a:rPr lang="en-GB"/>
              <a:t> </a:t>
            </a:r>
            <a:r>
              <a:rPr lang="en-GB" err="1"/>
              <a:t>laudantium</a:t>
            </a:r>
            <a:r>
              <a:rPr lang="en-GB"/>
              <a:t>, </a:t>
            </a:r>
            <a:r>
              <a:rPr lang="en-GB" err="1"/>
              <a:t>totam</a:t>
            </a:r>
            <a:r>
              <a:rPr lang="en-GB"/>
              <a:t> rem </a:t>
            </a:r>
            <a:r>
              <a:rPr lang="en-GB" err="1"/>
              <a:t>aperiam</a:t>
            </a:r>
            <a:r>
              <a:rPr lang="en-GB"/>
              <a:t>, </a:t>
            </a:r>
            <a:r>
              <a:rPr lang="en-GB" err="1"/>
              <a:t>eaque</a:t>
            </a:r>
            <a:r>
              <a:rPr lang="en-GB"/>
              <a:t> </a:t>
            </a:r>
            <a:r>
              <a:rPr lang="en-GB" err="1"/>
              <a:t>ipsa</a:t>
            </a:r>
            <a:r>
              <a:rPr lang="en-GB"/>
              <a:t> </a:t>
            </a:r>
            <a:r>
              <a:rPr lang="en-GB" err="1"/>
              <a:t>quae</a:t>
            </a:r>
            <a:r>
              <a:rPr lang="en-GB"/>
              <a:t> ab </a:t>
            </a:r>
            <a:r>
              <a:rPr lang="en-GB" err="1"/>
              <a:t>illo</a:t>
            </a:r>
            <a:r>
              <a:rPr lang="en-GB"/>
              <a:t> </a:t>
            </a:r>
            <a:r>
              <a:rPr lang="en-GB" err="1"/>
              <a:t>inventore</a:t>
            </a:r>
            <a:r>
              <a:rPr lang="en-GB"/>
              <a:t> </a:t>
            </a:r>
            <a:r>
              <a:rPr lang="en-GB" err="1"/>
              <a:t>veritatis</a:t>
            </a:r>
            <a:r>
              <a:rPr lang="en-GB"/>
              <a:t> et quasi </a:t>
            </a:r>
            <a:r>
              <a:rPr lang="en-GB" err="1"/>
              <a:t>architecto</a:t>
            </a:r>
            <a:r>
              <a:rPr lang="en-GB"/>
              <a:t> beatae vitae dicta sunt </a:t>
            </a:r>
            <a:r>
              <a:rPr lang="en-GB" err="1"/>
              <a:t>explicabo</a:t>
            </a:r>
            <a:r>
              <a:rPr lang="en-GB"/>
              <a:t>. Nemo </a:t>
            </a:r>
            <a:r>
              <a:rPr lang="en-GB" err="1"/>
              <a:t>enim</a:t>
            </a:r>
            <a:r>
              <a:rPr lang="en-GB"/>
              <a:t> </a:t>
            </a:r>
            <a:r>
              <a:rPr lang="en-GB" err="1"/>
              <a:t>ipsam</a:t>
            </a:r>
            <a:r>
              <a:rPr lang="en-GB"/>
              <a:t> </a:t>
            </a:r>
            <a:r>
              <a:rPr lang="en-GB" err="1"/>
              <a:t>voluptatem</a:t>
            </a:r>
            <a:r>
              <a:rPr lang="en-GB"/>
              <a:t> </a:t>
            </a:r>
            <a:r>
              <a:rPr lang="en-GB" err="1"/>
              <a:t>quia</a:t>
            </a:r>
            <a:r>
              <a:rPr lang="en-GB"/>
              <a:t> </a:t>
            </a:r>
            <a:r>
              <a:rPr lang="en-GB" err="1"/>
              <a:t>voluptas</a:t>
            </a:r>
            <a:r>
              <a:rPr lang="en-GB"/>
              <a:t> sit </a:t>
            </a:r>
            <a:r>
              <a:rPr lang="en-GB" err="1"/>
              <a:t>aspernatur</a:t>
            </a:r>
            <a:r>
              <a:rPr lang="en-GB"/>
              <a:t> </a:t>
            </a:r>
            <a:r>
              <a:rPr lang="en-GB" err="1"/>
              <a:t>aut</a:t>
            </a:r>
            <a:r>
              <a:rPr lang="en-GB"/>
              <a:t> </a:t>
            </a:r>
            <a:r>
              <a:rPr lang="en-GB" err="1"/>
              <a:t>odit</a:t>
            </a:r>
            <a:r>
              <a:rPr lang="en-GB"/>
              <a:t> </a:t>
            </a:r>
            <a:r>
              <a:rPr lang="en-GB" err="1"/>
              <a:t>aut</a:t>
            </a:r>
            <a:r>
              <a:rPr lang="en-GB"/>
              <a:t> fugit, </a:t>
            </a:r>
            <a:r>
              <a:rPr lang="en-GB" err="1"/>
              <a:t>sed</a:t>
            </a:r>
            <a:r>
              <a:rPr lang="en-GB"/>
              <a:t> </a:t>
            </a:r>
            <a:r>
              <a:rPr lang="en-GB" err="1"/>
              <a:t>quia</a:t>
            </a:r>
            <a:r>
              <a:rPr lang="en-GB"/>
              <a:t> </a:t>
            </a:r>
            <a:r>
              <a:rPr lang="en-GB" err="1"/>
              <a:t>consequuntur</a:t>
            </a:r>
            <a:r>
              <a:rPr lang="en-GB"/>
              <a:t> </a:t>
            </a:r>
            <a:r>
              <a:rPr lang="en-GB" err="1"/>
              <a:t>magni</a:t>
            </a:r>
            <a:r>
              <a:rPr lang="en-GB"/>
              <a:t> </a:t>
            </a:r>
            <a:r>
              <a:rPr lang="en-GB" err="1"/>
              <a:t>dolores</a:t>
            </a:r>
            <a:r>
              <a:rPr lang="en-GB"/>
              <a:t> </a:t>
            </a:r>
            <a:r>
              <a:rPr lang="en-GB" err="1"/>
              <a:t>eos</a:t>
            </a:r>
            <a:r>
              <a:rPr lang="en-GB"/>
              <a:t> qui </a:t>
            </a:r>
            <a:r>
              <a:rPr lang="en-GB" err="1"/>
              <a:t>ratione</a:t>
            </a:r>
            <a:r>
              <a:rPr lang="en-GB"/>
              <a:t> </a:t>
            </a:r>
            <a:r>
              <a:rPr lang="en-GB" err="1"/>
              <a:t>voluptatem</a:t>
            </a:r>
            <a:r>
              <a:rPr lang="en-GB"/>
              <a:t> </a:t>
            </a:r>
            <a:r>
              <a:rPr lang="en-GB" err="1"/>
              <a:t>sequi</a:t>
            </a:r>
            <a:r>
              <a:rPr lang="en-GB"/>
              <a:t> </a:t>
            </a:r>
            <a:r>
              <a:rPr lang="en-GB" err="1"/>
              <a:t>nesciunt</a:t>
            </a:r>
            <a:r>
              <a:rPr lang="en-GB"/>
              <a:t>. </a:t>
            </a:r>
            <a:r>
              <a:rPr lang="en-GB" err="1"/>
              <a:t>Neque</a:t>
            </a:r>
            <a:r>
              <a:rPr lang="en-GB"/>
              <a:t> </a:t>
            </a:r>
            <a:r>
              <a:rPr lang="en-GB" err="1"/>
              <a:t>porro</a:t>
            </a:r>
            <a:r>
              <a:rPr lang="en-GB"/>
              <a:t> </a:t>
            </a:r>
            <a:r>
              <a:rPr lang="en-GB" err="1"/>
              <a:t>quisquam</a:t>
            </a:r>
            <a:r>
              <a:rPr lang="en-GB"/>
              <a:t> </a:t>
            </a:r>
            <a:r>
              <a:rPr lang="en-GB" err="1"/>
              <a:t>est</a:t>
            </a:r>
            <a:r>
              <a:rPr lang="en-GB"/>
              <a:t>, qui </a:t>
            </a:r>
            <a:r>
              <a:rPr lang="en-GB" err="1"/>
              <a:t>dolorem</a:t>
            </a:r>
            <a:r>
              <a:rPr lang="en-GB"/>
              <a:t> ipsum </a:t>
            </a:r>
            <a:r>
              <a:rPr lang="en-GB" err="1"/>
              <a:t>quia</a:t>
            </a:r>
            <a:r>
              <a:rPr lang="en-GB"/>
              <a:t> </a:t>
            </a:r>
            <a:r>
              <a:rPr lang="en-GB" err="1"/>
              <a:t>dolor</a:t>
            </a:r>
            <a:r>
              <a:rPr lang="en-GB"/>
              <a:t> sit </a:t>
            </a:r>
            <a:r>
              <a:rPr lang="en-GB" err="1"/>
              <a:t>amet</a:t>
            </a:r>
            <a:r>
              <a:rPr lang="en-GB"/>
              <a:t>, </a:t>
            </a:r>
            <a:r>
              <a:rPr lang="en-GB" err="1"/>
              <a:t>consectetur</a:t>
            </a:r>
            <a:r>
              <a:rPr lang="en-GB"/>
              <a:t>, </a:t>
            </a:r>
            <a:r>
              <a:rPr lang="en-GB" err="1"/>
              <a:t>adipisci</a:t>
            </a:r>
            <a:r>
              <a:rPr lang="en-GB"/>
              <a:t> </a:t>
            </a:r>
            <a:r>
              <a:rPr lang="en-GB" err="1"/>
              <a:t>velit</a:t>
            </a:r>
            <a:r>
              <a:rPr lang="en-GB"/>
              <a:t>, </a:t>
            </a:r>
            <a:r>
              <a:rPr lang="en-GB" err="1"/>
              <a:t>sed</a:t>
            </a:r>
            <a:r>
              <a:rPr lang="en-GB"/>
              <a:t> </a:t>
            </a:r>
            <a:r>
              <a:rPr lang="en-GB" err="1"/>
              <a:t>quia</a:t>
            </a:r>
            <a:r>
              <a:rPr lang="en-GB"/>
              <a:t> non </a:t>
            </a:r>
            <a:r>
              <a:rPr lang="en-GB" err="1"/>
              <a:t>numquam</a:t>
            </a:r>
            <a:r>
              <a:rPr lang="en-GB"/>
              <a:t> </a:t>
            </a:r>
            <a:r>
              <a:rPr lang="en-GB" err="1"/>
              <a:t>eius</a:t>
            </a:r>
            <a:r>
              <a:rPr lang="en-GB"/>
              <a:t> </a:t>
            </a:r>
            <a:r>
              <a:rPr lang="en-GB" err="1"/>
              <a:t>modi</a:t>
            </a:r>
            <a:r>
              <a:rPr lang="en-GB"/>
              <a:t> </a:t>
            </a:r>
            <a:r>
              <a:rPr lang="en-GB" err="1"/>
              <a:t>tempora</a:t>
            </a:r>
            <a:r>
              <a:rPr lang="en-GB"/>
              <a:t> </a:t>
            </a:r>
            <a:r>
              <a:rPr lang="en-GB" err="1"/>
              <a:t>incidunt</a:t>
            </a:r>
            <a:r>
              <a:rPr lang="en-GB"/>
              <a:t> </a:t>
            </a:r>
            <a:r>
              <a:rPr lang="en-GB" err="1"/>
              <a:t>ut</a:t>
            </a:r>
            <a:r>
              <a:rPr lang="en-GB"/>
              <a:t> labore et dolore </a:t>
            </a:r>
            <a:r>
              <a:rPr lang="en-GB" err="1"/>
              <a:t>magnam</a:t>
            </a:r>
            <a:r>
              <a:rPr lang="en-GB"/>
              <a:t> </a:t>
            </a:r>
            <a:r>
              <a:rPr lang="en-GB" err="1"/>
              <a:t>aliquam</a:t>
            </a:r>
            <a:r>
              <a:rPr lang="en-GB"/>
              <a:t> </a:t>
            </a:r>
            <a:r>
              <a:rPr lang="en-GB" err="1"/>
              <a:t>quaerat</a:t>
            </a:r>
            <a:r>
              <a:rPr lang="en-GB"/>
              <a:t> </a:t>
            </a:r>
            <a:r>
              <a:rPr lang="en-GB" err="1"/>
              <a:t>voluptatem</a:t>
            </a:r>
            <a:r>
              <a:rPr lang="en-GB"/>
              <a:t>.</a:t>
            </a:r>
          </a:p>
        </p:txBody>
      </p:sp>
      <p:sp>
        <p:nvSpPr>
          <p:cNvPr id="4" name="Text Placeholder 2">
            <a:extLst>
              <a:ext uri="{FF2B5EF4-FFF2-40B4-BE49-F238E27FC236}">
                <a16:creationId xmlns:a16="http://schemas.microsoft.com/office/drawing/2014/main" id="{F5A256AF-D608-21F3-EDE3-B2B7738BFC28}"/>
              </a:ext>
            </a:extLst>
          </p:cNvPr>
          <p:cNvSpPr>
            <a:spLocks noGrp="1"/>
          </p:cNvSpPr>
          <p:nvPr>
            <p:ph type="body" sz="quarter" idx="23" hasCustomPrompt="1"/>
          </p:nvPr>
        </p:nvSpPr>
        <p:spPr>
          <a:xfrm>
            <a:off x="6420342" y="1833563"/>
            <a:ext cx="5113337" cy="3971925"/>
          </a:xfrm>
        </p:spPr>
        <p:txBody>
          <a:bodyPr/>
          <a:lstStyle>
            <a:lvl1pPr marL="0" indent="0">
              <a:buNone/>
              <a:defRPr/>
            </a:lvl1pPr>
          </a:lstStyle>
          <a:p>
            <a:pPr lvl="0"/>
            <a:r>
              <a:rPr lang="en-GB" err="1"/>
              <a:t>Sed</a:t>
            </a:r>
            <a:r>
              <a:rPr lang="en-GB"/>
              <a:t> </a:t>
            </a:r>
            <a:r>
              <a:rPr lang="en-GB" err="1"/>
              <a:t>ut</a:t>
            </a:r>
            <a:r>
              <a:rPr lang="en-GB"/>
              <a:t> </a:t>
            </a:r>
            <a:r>
              <a:rPr lang="en-GB" err="1"/>
              <a:t>perspiciatis</a:t>
            </a:r>
            <a:r>
              <a:rPr lang="en-GB"/>
              <a:t> </a:t>
            </a:r>
            <a:r>
              <a:rPr lang="en-GB" err="1"/>
              <a:t>unde</a:t>
            </a:r>
            <a:r>
              <a:rPr lang="en-GB"/>
              <a:t> </a:t>
            </a:r>
            <a:r>
              <a:rPr lang="en-GB" err="1"/>
              <a:t>omnis</a:t>
            </a:r>
            <a:r>
              <a:rPr lang="en-GB"/>
              <a:t> </a:t>
            </a:r>
            <a:r>
              <a:rPr lang="en-GB" err="1"/>
              <a:t>iste</a:t>
            </a:r>
            <a:r>
              <a:rPr lang="en-GB"/>
              <a:t> </a:t>
            </a:r>
            <a:r>
              <a:rPr lang="en-GB" err="1"/>
              <a:t>natus</a:t>
            </a:r>
            <a:r>
              <a:rPr lang="en-GB"/>
              <a:t> error sit </a:t>
            </a:r>
            <a:r>
              <a:rPr lang="en-GB" err="1"/>
              <a:t>voluptatem</a:t>
            </a:r>
            <a:r>
              <a:rPr lang="en-GB"/>
              <a:t> </a:t>
            </a:r>
            <a:r>
              <a:rPr lang="en-GB" err="1"/>
              <a:t>accusantium</a:t>
            </a:r>
            <a:r>
              <a:rPr lang="en-GB"/>
              <a:t> </a:t>
            </a:r>
            <a:r>
              <a:rPr lang="en-GB" err="1"/>
              <a:t>doloremque</a:t>
            </a:r>
            <a:r>
              <a:rPr lang="en-GB"/>
              <a:t> </a:t>
            </a:r>
            <a:r>
              <a:rPr lang="en-GB" err="1"/>
              <a:t>laudantium</a:t>
            </a:r>
            <a:r>
              <a:rPr lang="en-GB"/>
              <a:t>, </a:t>
            </a:r>
            <a:r>
              <a:rPr lang="en-GB" err="1"/>
              <a:t>totam</a:t>
            </a:r>
            <a:r>
              <a:rPr lang="en-GB"/>
              <a:t> rem </a:t>
            </a:r>
            <a:r>
              <a:rPr lang="en-GB" err="1"/>
              <a:t>aperiam</a:t>
            </a:r>
            <a:r>
              <a:rPr lang="en-GB"/>
              <a:t>, </a:t>
            </a:r>
            <a:r>
              <a:rPr lang="en-GB" err="1"/>
              <a:t>eaque</a:t>
            </a:r>
            <a:r>
              <a:rPr lang="en-GB"/>
              <a:t> </a:t>
            </a:r>
            <a:r>
              <a:rPr lang="en-GB" err="1"/>
              <a:t>ipsa</a:t>
            </a:r>
            <a:r>
              <a:rPr lang="en-GB"/>
              <a:t> </a:t>
            </a:r>
            <a:r>
              <a:rPr lang="en-GB" err="1"/>
              <a:t>quae</a:t>
            </a:r>
            <a:r>
              <a:rPr lang="en-GB"/>
              <a:t> ab </a:t>
            </a:r>
            <a:r>
              <a:rPr lang="en-GB" err="1"/>
              <a:t>illo</a:t>
            </a:r>
            <a:r>
              <a:rPr lang="en-GB"/>
              <a:t> </a:t>
            </a:r>
            <a:r>
              <a:rPr lang="en-GB" err="1"/>
              <a:t>inventore</a:t>
            </a:r>
            <a:r>
              <a:rPr lang="en-GB"/>
              <a:t> </a:t>
            </a:r>
            <a:r>
              <a:rPr lang="en-GB" err="1"/>
              <a:t>veritatis</a:t>
            </a:r>
            <a:r>
              <a:rPr lang="en-GB"/>
              <a:t> et quasi </a:t>
            </a:r>
            <a:r>
              <a:rPr lang="en-GB" err="1"/>
              <a:t>architecto</a:t>
            </a:r>
            <a:r>
              <a:rPr lang="en-GB"/>
              <a:t> beatae vitae dicta sunt </a:t>
            </a:r>
            <a:r>
              <a:rPr lang="en-GB" err="1"/>
              <a:t>explicabo</a:t>
            </a:r>
            <a:r>
              <a:rPr lang="en-GB"/>
              <a:t>. Nemo </a:t>
            </a:r>
            <a:r>
              <a:rPr lang="en-GB" err="1"/>
              <a:t>enim</a:t>
            </a:r>
            <a:r>
              <a:rPr lang="en-GB"/>
              <a:t> </a:t>
            </a:r>
            <a:r>
              <a:rPr lang="en-GB" err="1"/>
              <a:t>ipsam</a:t>
            </a:r>
            <a:r>
              <a:rPr lang="en-GB"/>
              <a:t> </a:t>
            </a:r>
            <a:r>
              <a:rPr lang="en-GB" err="1"/>
              <a:t>voluptatem</a:t>
            </a:r>
            <a:r>
              <a:rPr lang="en-GB"/>
              <a:t> </a:t>
            </a:r>
            <a:r>
              <a:rPr lang="en-GB" err="1"/>
              <a:t>quia</a:t>
            </a:r>
            <a:r>
              <a:rPr lang="en-GB"/>
              <a:t> </a:t>
            </a:r>
            <a:r>
              <a:rPr lang="en-GB" err="1"/>
              <a:t>voluptas</a:t>
            </a:r>
            <a:r>
              <a:rPr lang="en-GB"/>
              <a:t> sit </a:t>
            </a:r>
            <a:r>
              <a:rPr lang="en-GB" err="1"/>
              <a:t>aspernatur</a:t>
            </a:r>
            <a:r>
              <a:rPr lang="en-GB"/>
              <a:t> </a:t>
            </a:r>
            <a:r>
              <a:rPr lang="en-GB" err="1"/>
              <a:t>aut</a:t>
            </a:r>
            <a:r>
              <a:rPr lang="en-GB"/>
              <a:t> </a:t>
            </a:r>
            <a:r>
              <a:rPr lang="en-GB" err="1"/>
              <a:t>odit</a:t>
            </a:r>
            <a:r>
              <a:rPr lang="en-GB"/>
              <a:t> </a:t>
            </a:r>
            <a:r>
              <a:rPr lang="en-GB" err="1"/>
              <a:t>aut</a:t>
            </a:r>
            <a:r>
              <a:rPr lang="en-GB"/>
              <a:t> fugit, </a:t>
            </a:r>
            <a:r>
              <a:rPr lang="en-GB" err="1"/>
              <a:t>sed</a:t>
            </a:r>
            <a:r>
              <a:rPr lang="en-GB"/>
              <a:t> </a:t>
            </a:r>
            <a:r>
              <a:rPr lang="en-GB" err="1"/>
              <a:t>quia</a:t>
            </a:r>
            <a:r>
              <a:rPr lang="en-GB"/>
              <a:t> </a:t>
            </a:r>
            <a:r>
              <a:rPr lang="en-GB" err="1"/>
              <a:t>consequuntur</a:t>
            </a:r>
            <a:r>
              <a:rPr lang="en-GB"/>
              <a:t> </a:t>
            </a:r>
            <a:r>
              <a:rPr lang="en-GB" err="1"/>
              <a:t>magni</a:t>
            </a:r>
            <a:r>
              <a:rPr lang="en-GB"/>
              <a:t> </a:t>
            </a:r>
            <a:r>
              <a:rPr lang="en-GB" err="1"/>
              <a:t>dolores</a:t>
            </a:r>
            <a:r>
              <a:rPr lang="en-GB"/>
              <a:t> </a:t>
            </a:r>
            <a:r>
              <a:rPr lang="en-GB" err="1"/>
              <a:t>eos</a:t>
            </a:r>
            <a:r>
              <a:rPr lang="en-GB"/>
              <a:t> qui </a:t>
            </a:r>
            <a:r>
              <a:rPr lang="en-GB" err="1"/>
              <a:t>ratione</a:t>
            </a:r>
            <a:r>
              <a:rPr lang="en-GB"/>
              <a:t> </a:t>
            </a:r>
            <a:r>
              <a:rPr lang="en-GB" err="1"/>
              <a:t>voluptatem</a:t>
            </a:r>
            <a:r>
              <a:rPr lang="en-GB"/>
              <a:t> </a:t>
            </a:r>
            <a:r>
              <a:rPr lang="en-GB" err="1"/>
              <a:t>sequi</a:t>
            </a:r>
            <a:r>
              <a:rPr lang="en-GB"/>
              <a:t> </a:t>
            </a:r>
            <a:r>
              <a:rPr lang="en-GB" err="1"/>
              <a:t>nesciunt</a:t>
            </a:r>
            <a:r>
              <a:rPr lang="en-GB"/>
              <a:t>. </a:t>
            </a:r>
            <a:r>
              <a:rPr lang="en-GB" err="1"/>
              <a:t>Neque</a:t>
            </a:r>
            <a:r>
              <a:rPr lang="en-GB"/>
              <a:t> </a:t>
            </a:r>
            <a:r>
              <a:rPr lang="en-GB" err="1"/>
              <a:t>porro</a:t>
            </a:r>
            <a:r>
              <a:rPr lang="en-GB"/>
              <a:t> </a:t>
            </a:r>
            <a:r>
              <a:rPr lang="en-GB" err="1"/>
              <a:t>quisquam</a:t>
            </a:r>
            <a:r>
              <a:rPr lang="en-GB"/>
              <a:t> </a:t>
            </a:r>
            <a:r>
              <a:rPr lang="en-GB" err="1"/>
              <a:t>est</a:t>
            </a:r>
            <a:r>
              <a:rPr lang="en-GB"/>
              <a:t>, qui </a:t>
            </a:r>
            <a:r>
              <a:rPr lang="en-GB" err="1"/>
              <a:t>dolorem</a:t>
            </a:r>
            <a:r>
              <a:rPr lang="en-GB"/>
              <a:t> ipsum </a:t>
            </a:r>
            <a:r>
              <a:rPr lang="en-GB" err="1"/>
              <a:t>quia</a:t>
            </a:r>
            <a:r>
              <a:rPr lang="en-GB"/>
              <a:t> </a:t>
            </a:r>
            <a:r>
              <a:rPr lang="en-GB" err="1"/>
              <a:t>dolor</a:t>
            </a:r>
            <a:r>
              <a:rPr lang="en-GB"/>
              <a:t> sit </a:t>
            </a:r>
            <a:r>
              <a:rPr lang="en-GB" err="1"/>
              <a:t>amet</a:t>
            </a:r>
            <a:r>
              <a:rPr lang="en-GB"/>
              <a:t>, </a:t>
            </a:r>
            <a:r>
              <a:rPr lang="en-GB" err="1"/>
              <a:t>consectetur</a:t>
            </a:r>
            <a:r>
              <a:rPr lang="en-GB"/>
              <a:t>, </a:t>
            </a:r>
            <a:r>
              <a:rPr lang="en-GB" err="1"/>
              <a:t>adipisci</a:t>
            </a:r>
            <a:r>
              <a:rPr lang="en-GB"/>
              <a:t> </a:t>
            </a:r>
            <a:r>
              <a:rPr lang="en-GB" err="1"/>
              <a:t>velit</a:t>
            </a:r>
            <a:r>
              <a:rPr lang="en-GB"/>
              <a:t>, </a:t>
            </a:r>
            <a:r>
              <a:rPr lang="en-GB" err="1"/>
              <a:t>sed</a:t>
            </a:r>
            <a:r>
              <a:rPr lang="en-GB"/>
              <a:t> </a:t>
            </a:r>
            <a:r>
              <a:rPr lang="en-GB" err="1"/>
              <a:t>quia</a:t>
            </a:r>
            <a:r>
              <a:rPr lang="en-GB"/>
              <a:t> non </a:t>
            </a:r>
            <a:r>
              <a:rPr lang="en-GB" err="1"/>
              <a:t>numquam</a:t>
            </a:r>
            <a:r>
              <a:rPr lang="en-GB"/>
              <a:t> </a:t>
            </a:r>
            <a:r>
              <a:rPr lang="en-GB" err="1"/>
              <a:t>eius</a:t>
            </a:r>
            <a:r>
              <a:rPr lang="en-GB"/>
              <a:t> </a:t>
            </a:r>
            <a:r>
              <a:rPr lang="en-GB" err="1"/>
              <a:t>modi</a:t>
            </a:r>
            <a:r>
              <a:rPr lang="en-GB"/>
              <a:t> </a:t>
            </a:r>
            <a:r>
              <a:rPr lang="en-GB" err="1"/>
              <a:t>tempora</a:t>
            </a:r>
            <a:r>
              <a:rPr lang="en-GB"/>
              <a:t> </a:t>
            </a:r>
            <a:r>
              <a:rPr lang="en-GB" err="1"/>
              <a:t>incidunt</a:t>
            </a:r>
            <a:r>
              <a:rPr lang="en-GB"/>
              <a:t> </a:t>
            </a:r>
            <a:r>
              <a:rPr lang="en-GB" err="1"/>
              <a:t>ut</a:t>
            </a:r>
            <a:r>
              <a:rPr lang="en-GB"/>
              <a:t> labore et dolore </a:t>
            </a:r>
            <a:r>
              <a:rPr lang="en-GB" err="1"/>
              <a:t>magnam</a:t>
            </a:r>
            <a:r>
              <a:rPr lang="en-GB"/>
              <a:t> </a:t>
            </a:r>
            <a:r>
              <a:rPr lang="en-GB" err="1"/>
              <a:t>aliquam</a:t>
            </a:r>
            <a:r>
              <a:rPr lang="en-GB"/>
              <a:t> </a:t>
            </a:r>
            <a:r>
              <a:rPr lang="en-GB" err="1"/>
              <a:t>quaerat</a:t>
            </a:r>
            <a:r>
              <a:rPr lang="en-GB"/>
              <a:t> </a:t>
            </a:r>
            <a:r>
              <a:rPr lang="en-GB" err="1"/>
              <a:t>voluptatem</a:t>
            </a:r>
            <a:r>
              <a:rPr lang="en-GB"/>
              <a:t>.</a:t>
            </a:r>
          </a:p>
        </p:txBody>
      </p:sp>
      <p:sp>
        <p:nvSpPr>
          <p:cNvPr id="2" name="Text Placeholder 9">
            <a:extLst>
              <a:ext uri="{FF2B5EF4-FFF2-40B4-BE49-F238E27FC236}">
                <a16:creationId xmlns:a16="http://schemas.microsoft.com/office/drawing/2014/main" id="{A46896B8-2F78-CBAA-4C2C-358B3DF25EF1}"/>
              </a:ext>
            </a:extLst>
          </p:cNvPr>
          <p:cNvSpPr>
            <a:spLocks noGrp="1"/>
          </p:cNvSpPr>
          <p:nvPr>
            <p:ph type="body" sz="quarter" idx="24" hasCustomPrompt="1"/>
          </p:nvPr>
        </p:nvSpPr>
        <p:spPr>
          <a:xfrm>
            <a:off x="674159" y="1051658"/>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a:t>Subheading goes here</a:t>
            </a:r>
          </a:p>
        </p:txBody>
      </p:sp>
    </p:spTree>
    <p:extLst>
      <p:ext uri="{BB962C8B-B14F-4D97-AF65-F5344CB8AC3E}">
        <p14:creationId xmlns:p14="http://schemas.microsoft.com/office/powerpoint/2010/main" val="4056289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Ripple Left">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id="{240D5921-FD2C-1B1F-1965-9B2EA10E80F6}"/>
              </a:ext>
            </a:extLst>
          </p:cNvPr>
          <p:cNvSpPr/>
          <p:nvPr userDrawn="1"/>
        </p:nvSpPr>
        <p:spPr>
          <a:xfrm>
            <a:off x="-3526153"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47DA86"/>
          </a:solidFill>
          <a:ln w="6350" cap="flat">
            <a:noFill/>
            <a:prstDash val="solid"/>
            <a:miter/>
          </a:ln>
        </p:spPr>
        <p:txBody>
          <a:bodyPr rtlCol="0" anchor="ctr"/>
          <a:lstStyle/>
          <a:p>
            <a:endParaRPr lang="en-GB"/>
          </a:p>
        </p:txBody>
      </p:sp>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5076496" y="1301534"/>
            <a:ext cx="6456691" cy="1792121"/>
          </a:xfrm>
        </p:spPr>
        <p:txBody>
          <a:bodyPr anchor="b" anchorCtr="0">
            <a:normAutofit/>
          </a:bodyPr>
          <a:lstStyle>
            <a:lvl1pPr marL="0" indent="0">
              <a:lnSpc>
                <a:spcPct val="100000"/>
              </a:lnSpc>
              <a:spcBef>
                <a:spcPts val="0"/>
              </a:spcBef>
              <a:buNone/>
              <a:defRPr sz="6500" b="1">
                <a:latin typeface="+mj-lt"/>
              </a:defRPr>
            </a:lvl1pPr>
          </a:lstStyle>
          <a:p>
            <a:pPr lvl="0"/>
            <a:r>
              <a:rPr lang="en-GB"/>
              <a:t>A captivating headline</a:t>
            </a:r>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5076496" y="3336417"/>
            <a:ext cx="6456692" cy="2469072"/>
          </a:xfrm>
        </p:spPr>
        <p:txBody>
          <a:bodyPr>
            <a:noAutofit/>
          </a:bodyPr>
          <a:lstStyle>
            <a:lvl1pPr marL="0" indent="0">
              <a:buNone/>
              <a:defRPr sz="14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p>
        </p:txBody>
      </p:sp>
      <p:sp>
        <p:nvSpPr>
          <p:cNvPr id="10" name="Slide Number Placeholder 9">
            <a:extLst>
              <a:ext uri="{FF2B5EF4-FFF2-40B4-BE49-F238E27FC236}">
                <a16:creationId xmlns:a16="http://schemas.microsoft.com/office/drawing/2014/main" id="{6CBA512E-95CE-E3D0-1165-112A0F3F6CAE}"/>
              </a:ext>
            </a:extLst>
          </p:cNvPr>
          <p:cNvSpPr>
            <a:spLocks noGrp="1"/>
          </p:cNvSpPr>
          <p:nvPr>
            <p:ph type="sldNum" sz="quarter" idx="18"/>
          </p:nvPr>
        </p:nvSpPr>
        <p:spPr/>
        <p:txBody>
          <a:bodyPr/>
          <a:lstStyle/>
          <a:p>
            <a:fld id="{0994303E-A424-9540-91A8-53B791C91E8F}" type="slidenum">
              <a:rPr lang="en-GB" smtClean="0"/>
              <a:pPr/>
              <a:t>‹#›</a:t>
            </a:fld>
            <a:endParaRPr lang="en-GB"/>
          </a:p>
        </p:txBody>
      </p:sp>
    </p:spTree>
    <p:extLst>
      <p:ext uri="{BB962C8B-B14F-4D97-AF65-F5344CB8AC3E}">
        <p14:creationId xmlns:p14="http://schemas.microsoft.com/office/powerpoint/2010/main" val="269353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Ripple Right">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658813" y="1301534"/>
            <a:ext cx="6456691" cy="1792121"/>
          </a:xfrm>
        </p:spPr>
        <p:txBody>
          <a:bodyPr anchor="b" anchorCtr="0">
            <a:normAutofit/>
          </a:bodyPr>
          <a:lstStyle>
            <a:lvl1pPr marL="0" indent="0">
              <a:lnSpc>
                <a:spcPct val="100000"/>
              </a:lnSpc>
              <a:spcBef>
                <a:spcPts val="0"/>
              </a:spcBef>
              <a:buNone/>
              <a:defRPr sz="6500" b="1">
                <a:latin typeface="+mj-lt"/>
              </a:defRPr>
            </a:lvl1pPr>
          </a:lstStyle>
          <a:p>
            <a:pPr lvl="0"/>
            <a:r>
              <a:rPr lang="en-GB"/>
              <a:t>A captivating headline</a:t>
            </a:r>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658813" y="3336417"/>
            <a:ext cx="6456690" cy="2469072"/>
          </a:xfrm>
        </p:spPr>
        <p:txBody>
          <a:bodyPr>
            <a:noAutofit/>
          </a:bodyPr>
          <a:lstStyle>
            <a:lvl1pPr marL="0" indent="0">
              <a:buNone/>
              <a:defRPr sz="14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p>
        </p:txBody>
      </p:sp>
      <p:sp>
        <p:nvSpPr>
          <p:cNvPr id="3" name="Graphic 2">
            <a:extLst>
              <a:ext uri="{FF2B5EF4-FFF2-40B4-BE49-F238E27FC236}">
                <a16:creationId xmlns:a16="http://schemas.microsoft.com/office/drawing/2014/main" id="{B25CF752-074D-9B3E-B631-8489DEFC32EC}"/>
              </a:ext>
            </a:extLst>
          </p:cNvPr>
          <p:cNvSpPr/>
          <p:nvPr userDrawn="1"/>
        </p:nvSpPr>
        <p:spPr>
          <a:xfrm>
            <a:off x="7594280"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47DA86"/>
          </a:solidFill>
          <a:ln w="6350" cap="flat">
            <a:noFill/>
            <a:prstDash val="solid"/>
            <a:miter/>
          </a:ln>
        </p:spPr>
        <p:txBody>
          <a:bodyPr rtlCol="0" anchor="ctr"/>
          <a:lstStyle/>
          <a:p>
            <a:endParaRPr lang="en-GB"/>
          </a:p>
        </p:txBody>
      </p:sp>
      <p:sp>
        <p:nvSpPr>
          <p:cNvPr id="10" name="Slide Number Placeholder 9">
            <a:extLst>
              <a:ext uri="{FF2B5EF4-FFF2-40B4-BE49-F238E27FC236}">
                <a16:creationId xmlns:a16="http://schemas.microsoft.com/office/drawing/2014/main" id="{A9648C54-60DB-26A4-D087-869DAC88F7B1}"/>
              </a:ext>
            </a:extLst>
          </p:cNvPr>
          <p:cNvSpPr>
            <a:spLocks noGrp="1"/>
          </p:cNvSpPr>
          <p:nvPr>
            <p:ph type="sldNum" sz="quarter" idx="18"/>
          </p:nvPr>
        </p:nvSpPr>
        <p:spPr/>
        <p:txBody>
          <a:bodyPr/>
          <a:lstStyle/>
          <a:p>
            <a:fld id="{0994303E-A424-9540-91A8-53B791C91E8F}" type="slidenum">
              <a:rPr lang="en-GB" smtClean="0"/>
              <a:pPr/>
              <a:t>‹#›</a:t>
            </a:fld>
            <a:endParaRPr lang="en-GB"/>
          </a:p>
        </p:txBody>
      </p:sp>
    </p:spTree>
    <p:extLst>
      <p:ext uri="{BB962C8B-B14F-4D97-AF65-F5344CB8AC3E}">
        <p14:creationId xmlns:p14="http://schemas.microsoft.com/office/powerpoint/2010/main" val="1227880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Left Image">
    <p:spTree>
      <p:nvGrpSpPr>
        <p:cNvPr id="1" name=""/>
        <p:cNvGrpSpPr/>
        <p:nvPr/>
      </p:nvGrpSpPr>
      <p:grpSpPr>
        <a:xfrm>
          <a:off x="0" y="0"/>
          <a:ext cx="0" cy="0"/>
          <a:chOff x="0" y="0"/>
          <a:chExt cx="0" cy="0"/>
        </a:xfrm>
      </p:grpSpPr>
      <p:sp>
        <p:nvSpPr>
          <p:cNvPr id="23" name="Text Placeholder 11">
            <a:extLst>
              <a:ext uri="{FF2B5EF4-FFF2-40B4-BE49-F238E27FC236}">
                <a16:creationId xmlns:a16="http://schemas.microsoft.com/office/drawing/2014/main" id="{0A4BC4EF-459A-7845-F619-515A9AFC49DB}"/>
              </a:ext>
            </a:extLst>
          </p:cNvPr>
          <p:cNvSpPr>
            <a:spLocks noGrp="1"/>
          </p:cNvSpPr>
          <p:nvPr>
            <p:ph type="body" sz="quarter" idx="17" hasCustomPrompt="1"/>
          </p:nvPr>
        </p:nvSpPr>
        <p:spPr>
          <a:xfrm>
            <a:off x="6419850" y="2862669"/>
            <a:ext cx="5113339" cy="2942820"/>
          </a:xfrm>
        </p:spPr>
        <p:txBody>
          <a:bodyPr>
            <a:noAutofit/>
          </a:bodyPr>
          <a:lstStyle>
            <a:lvl1pPr marL="0" indent="0">
              <a:buNone/>
              <a:defRPr sz="1400" b="0">
                <a:solidFill>
                  <a:schemeClr val="bg1"/>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p>
        </p:txBody>
      </p:sp>
      <p:sp>
        <p:nvSpPr>
          <p:cNvPr id="32" name="Text Placeholder 11">
            <a:extLst>
              <a:ext uri="{FF2B5EF4-FFF2-40B4-BE49-F238E27FC236}">
                <a16:creationId xmlns:a16="http://schemas.microsoft.com/office/drawing/2014/main" id="{1B2E71AF-560B-8492-C46B-152A4A3B96DE}"/>
              </a:ext>
            </a:extLst>
          </p:cNvPr>
          <p:cNvSpPr>
            <a:spLocks noGrp="1"/>
          </p:cNvSpPr>
          <p:nvPr>
            <p:ph type="body" sz="quarter" idx="18" hasCustomPrompt="1"/>
          </p:nvPr>
        </p:nvSpPr>
        <p:spPr>
          <a:xfrm>
            <a:off x="6420385" y="549275"/>
            <a:ext cx="5110714" cy="2120893"/>
          </a:xfrm>
        </p:spPr>
        <p:txBody>
          <a:bodyPr anchor="b" anchorCtr="0">
            <a:noAutofit/>
          </a:bodyPr>
          <a:lstStyle>
            <a:lvl1pPr marL="0" indent="0">
              <a:buNone/>
              <a:defRPr sz="4000" b="1">
                <a:solidFill>
                  <a:schemeClr val="bg1"/>
                </a:solidFill>
                <a:latin typeface="+mj-lt"/>
              </a:defRPr>
            </a:lvl1pPr>
          </a:lstStyle>
          <a:p>
            <a:pPr lvl="0"/>
            <a:r>
              <a:rPr lang="en-GB"/>
              <a:t>A captivating headline</a:t>
            </a:r>
          </a:p>
        </p:txBody>
      </p:sp>
      <p:sp>
        <p:nvSpPr>
          <p:cNvPr id="3" name="Slide Number Placeholder 2">
            <a:extLst>
              <a:ext uri="{FF2B5EF4-FFF2-40B4-BE49-F238E27FC236}">
                <a16:creationId xmlns:a16="http://schemas.microsoft.com/office/drawing/2014/main" id="{40B036C2-4F5F-9FD4-809E-3237384E8560}"/>
              </a:ext>
            </a:extLst>
          </p:cNvPr>
          <p:cNvSpPr>
            <a:spLocks noGrp="1"/>
          </p:cNvSpPr>
          <p:nvPr>
            <p:ph type="sldNum" sz="quarter" idx="20"/>
          </p:nvPr>
        </p:nvSpPr>
        <p:spPr/>
        <p:txBody>
          <a:bodyPr/>
          <a:lstStyle/>
          <a:p>
            <a:fld id="{0994303E-A424-9540-91A8-53B791C91E8F}" type="slidenum">
              <a:rPr lang="en-GB" smtClean="0"/>
              <a:pPr/>
              <a:t>‹#›</a:t>
            </a:fld>
            <a:endParaRPr lang="en-GB"/>
          </a:p>
        </p:txBody>
      </p:sp>
      <p:sp>
        <p:nvSpPr>
          <p:cNvPr id="5" name="Graphic 8">
            <a:extLst>
              <a:ext uri="{FF2B5EF4-FFF2-40B4-BE49-F238E27FC236}">
                <a16:creationId xmlns:a16="http://schemas.microsoft.com/office/drawing/2014/main" id="{2B051417-E233-CE79-D9EA-45CDB44E25B2}"/>
              </a:ext>
            </a:extLst>
          </p:cNvPr>
          <p:cNvSpPr>
            <a:spLocks noChangeAspect="1"/>
          </p:cNvSpPr>
          <p:nvPr userDrawn="1"/>
        </p:nvSpPr>
        <p:spPr>
          <a:xfrm flipH="1">
            <a:off x="2401046"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GB"/>
          </a:p>
        </p:txBody>
      </p:sp>
      <p:sp>
        <p:nvSpPr>
          <p:cNvPr id="2" name="Picture Placeholder 3">
            <a:extLst>
              <a:ext uri="{FF2B5EF4-FFF2-40B4-BE49-F238E27FC236}">
                <a16:creationId xmlns:a16="http://schemas.microsoft.com/office/drawing/2014/main" id="{CDC14F0B-4FA1-90DE-9073-AAC23D665042}"/>
              </a:ext>
            </a:extLst>
          </p:cNvPr>
          <p:cNvSpPr>
            <a:spLocks noGrp="1"/>
          </p:cNvSpPr>
          <p:nvPr>
            <p:ph type="pic" sz="quarter" idx="19"/>
          </p:nvPr>
        </p:nvSpPr>
        <p:spPr>
          <a:xfrm>
            <a:off x="0" y="-1"/>
            <a:ext cx="5681120" cy="6860681"/>
          </a:xfrm>
          <a:custGeom>
            <a:avLst/>
            <a:gdLst>
              <a:gd name="connsiteX0" fmla="*/ 2401045 w 5681120"/>
              <a:gd name="connsiteY0" fmla="*/ 1 h 6860681"/>
              <a:gd name="connsiteX1" fmla="*/ 2801249 w 5681120"/>
              <a:gd name="connsiteY1" fmla="*/ 180595 h 6860681"/>
              <a:gd name="connsiteX2" fmla="*/ 4670917 w 5681120"/>
              <a:gd name="connsiteY2" fmla="*/ 2390776 h 6860681"/>
              <a:gd name="connsiteX3" fmla="*/ 4588491 w 5681120"/>
              <a:gd name="connsiteY3" fmla="*/ 5293107 h 6860681"/>
              <a:gd name="connsiteX4" fmla="*/ 3262051 w 5681120"/>
              <a:gd name="connsiteY4" fmla="*/ 6858001 h 6860681"/>
              <a:gd name="connsiteX5" fmla="*/ 3618408 w 5681120"/>
              <a:gd name="connsiteY5" fmla="*/ 6858001 h 6860681"/>
              <a:gd name="connsiteX6" fmla="*/ 5269351 w 5681120"/>
              <a:gd name="connsiteY6" fmla="*/ 3013902 h 6860681"/>
              <a:gd name="connsiteX7" fmla="*/ 3373222 w 5681120"/>
              <a:gd name="connsiteY7" fmla="*/ 154751 h 6860681"/>
              <a:gd name="connsiteX8" fmla="*/ 3087362 w 5681120"/>
              <a:gd name="connsiteY8" fmla="*/ 1 h 6860681"/>
              <a:gd name="connsiteX9" fmla="*/ 0 w 5681120"/>
              <a:gd name="connsiteY9" fmla="*/ 0 h 6860681"/>
              <a:gd name="connsiteX10" fmla="*/ 3888685 w 5681120"/>
              <a:gd name="connsiteY10" fmla="*/ 0 h 6860681"/>
              <a:gd name="connsiteX11" fmla="*/ 5437733 w 5681120"/>
              <a:gd name="connsiteY11" fmla="*/ 5161393 h 6860681"/>
              <a:gd name="connsiteX12" fmla="*/ 4096079 w 5681120"/>
              <a:gd name="connsiteY12" fmla="*/ 6860681 h 6860681"/>
              <a:gd name="connsiteX13" fmla="*/ 0 w 5681120"/>
              <a:gd name="connsiteY13" fmla="*/ 6860681 h 686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1120" h="6860681">
                <a:moveTo>
                  <a:pt x="2401045" y="1"/>
                </a:moveTo>
                <a:cubicBezTo>
                  <a:pt x="2536900" y="51563"/>
                  <a:pt x="2670470" y="111761"/>
                  <a:pt x="2801249" y="180595"/>
                </a:cubicBezTo>
                <a:cubicBezTo>
                  <a:pt x="3667521" y="635700"/>
                  <a:pt x="4330932" y="1420941"/>
                  <a:pt x="4670917" y="2390776"/>
                </a:cubicBezTo>
                <a:cubicBezTo>
                  <a:pt x="5011728" y="3362644"/>
                  <a:pt x="4982476" y="4393376"/>
                  <a:pt x="4588491" y="5293107"/>
                </a:cubicBezTo>
                <a:cubicBezTo>
                  <a:pt x="4303646" y="5943665"/>
                  <a:pt x="3845002" y="6480621"/>
                  <a:pt x="3262051" y="6858001"/>
                </a:cubicBezTo>
                <a:lnTo>
                  <a:pt x="3618408" y="6858001"/>
                </a:lnTo>
                <a:cubicBezTo>
                  <a:pt x="4810199" y="6005133"/>
                  <a:pt x="5490171" y="4511613"/>
                  <a:pt x="5269351" y="3013902"/>
                </a:cubicBezTo>
                <a:cubicBezTo>
                  <a:pt x="5097201" y="1810831"/>
                  <a:pt x="4406061" y="768669"/>
                  <a:pt x="3373222" y="154751"/>
                </a:cubicBezTo>
                <a:cubicBezTo>
                  <a:pt x="3279501" y="99125"/>
                  <a:pt x="3184129" y="47499"/>
                  <a:pt x="3087362" y="1"/>
                </a:cubicBezTo>
                <a:close/>
                <a:moveTo>
                  <a:pt x="0" y="0"/>
                </a:moveTo>
                <a:lnTo>
                  <a:pt x="3888685" y="0"/>
                </a:lnTo>
                <a:cubicBezTo>
                  <a:pt x="5541875" y="1030183"/>
                  <a:pt x="6033690" y="3349918"/>
                  <a:pt x="5437733" y="5161393"/>
                </a:cubicBezTo>
                <a:cubicBezTo>
                  <a:pt x="5188744" y="5932457"/>
                  <a:pt x="4704167" y="6494906"/>
                  <a:pt x="4096079" y="6860681"/>
                </a:cubicBezTo>
                <a:cubicBezTo>
                  <a:pt x="4096079" y="6860681"/>
                  <a:pt x="0" y="6860681"/>
                  <a:pt x="0" y="6860681"/>
                </a:cubicBezTo>
                <a:close/>
              </a:path>
            </a:pathLst>
          </a:custGeom>
        </p:spPr>
        <p:txBody>
          <a:bodyPr wrap="square" anchor="ctr">
            <a:noAutofit/>
          </a:bodyPr>
          <a:lstStyle>
            <a:lvl1pPr marL="0" marR="0" indent="0" algn="ctr" defTabSz="914400" rtl="0" eaLnBrk="1" fontAlgn="auto" latinLnBrk="0" hangingPunct="1">
              <a:lnSpc>
                <a:spcPct val="100000"/>
              </a:lnSpc>
              <a:spcBef>
                <a:spcPts val="1000"/>
              </a:spcBef>
              <a:spcAft>
                <a:spcPts val="1000"/>
              </a:spcAft>
              <a:buClr>
                <a:srgbClr val="47DA86"/>
              </a:buClr>
              <a:buSzTx/>
              <a:buFont typeface="Arial" panose="020B0604020202020204" pitchFamily="34" charset="0"/>
              <a:buNone/>
              <a:tabLst/>
              <a:defRPr>
                <a:solidFill>
                  <a:schemeClr val="bg1"/>
                </a:solidFill>
              </a:defRPr>
            </a:lvl1pPr>
          </a:lstStyle>
          <a:p>
            <a:r>
              <a:rPr lang="en-US"/>
              <a:t>Click icon to add picture</a:t>
            </a:r>
          </a:p>
        </p:txBody>
      </p:sp>
    </p:spTree>
    <p:extLst>
      <p:ext uri="{BB962C8B-B14F-4D97-AF65-F5344CB8AC3E}">
        <p14:creationId xmlns:p14="http://schemas.microsoft.com/office/powerpoint/2010/main" val="270992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Right Imag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2" y="549275"/>
            <a:ext cx="5113337" cy="2141213"/>
          </a:xfrm>
        </p:spPr>
        <p:txBody>
          <a:bodyPr anchor="b" anchorCtr="0">
            <a:noAutofit/>
          </a:bodyPr>
          <a:lstStyle>
            <a:lvl1pPr marL="0" indent="0">
              <a:buNone/>
              <a:defRPr sz="4000" b="1">
                <a:latin typeface="+mj-lt"/>
              </a:defRPr>
            </a:lvl1pPr>
          </a:lstStyle>
          <a:p>
            <a:pPr lvl="0"/>
            <a:r>
              <a:rPr lang="en-GB"/>
              <a:t>A captivating headline</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2" y="2882989"/>
            <a:ext cx="5113337" cy="2922500"/>
          </a:xfrm>
        </p:spPr>
        <p:txBody>
          <a:bodyPr>
            <a:noAutofit/>
          </a:bodyPr>
          <a:lstStyle>
            <a:lvl1pPr marL="0" indent="0">
              <a:buNone/>
              <a:defRPr sz="14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p>
        </p:txBody>
      </p:sp>
      <p:sp>
        <p:nvSpPr>
          <p:cNvPr id="10" name="Graphic 8">
            <a:extLst>
              <a:ext uri="{FF2B5EF4-FFF2-40B4-BE49-F238E27FC236}">
                <a16:creationId xmlns:a16="http://schemas.microsoft.com/office/drawing/2014/main" id="{E17556F4-8ED1-9969-CD3F-1525217E1E0A}"/>
              </a:ext>
            </a:extLst>
          </p:cNvPr>
          <p:cNvSpPr>
            <a:spLocks noChangeAspect="1"/>
          </p:cNvSpPr>
          <p:nvPr/>
        </p:nvSpPr>
        <p:spPr>
          <a:xfrm>
            <a:off x="6229995" y="0"/>
            <a:ext cx="1926945" cy="6459038"/>
          </a:xfrm>
          <a:custGeom>
            <a:avLst/>
            <a:gdLst>
              <a:gd name="connsiteX0" fmla="*/ 1215570 w 1926945"/>
              <a:gd name="connsiteY0" fmla="*/ 0 h 6459038"/>
              <a:gd name="connsiteX1" fmla="*/ 396914 w 1926945"/>
              <a:gd name="connsiteY1" fmla="*/ 5502156 h 6459038"/>
              <a:gd name="connsiteX2" fmla="*/ 420148 w 1926945"/>
              <a:gd name="connsiteY2" fmla="*/ 5558753 h 6459038"/>
              <a:gd name="connsiteX3" fmla="*/ 432155 w 1926945"/>
              <a:gd name="connsiteY3" fmla="*/ 5587377 h 6459038"/>
              <a:gd name="connsiteX4" fmla="*/ 440203 w 1926945"/>
              <a:gd name="connsiteY4" fmla="*/ 5596875 h 6459038"/>
              <a:gd name="connsiteX5" fmla="*/ 492837 w 1926945"/>
              <a:gd name="connsiteY5" fmla="*/ 5633436 h 6459038"/>
              <a:gd name="connsiteX6" fmla="*/ 525742 w 1926945"/>
              <a:gd name="connsiteY6" fmla="*/ 5640331 h 6459038"/>
              <a:gd name="connsiteX7" fmla="*/ 610242 w 1926945"/>
              <a:gd name="connsiteY7" fmla="*/ 5611577 h 6459038"/>
              <a:gd name="connsiteX8" fmla="*/ 639318 w 1926945"/>
              <a:gd name="connsiteY8" fmla="*/ 5481404 h 6459038"/>
              <a:gd name="connsiteX9" fmla="*/ 767042 w 1926945"/>
              <a:gd name="connsiteY9" fmla="*/ 1582249 h 6459038"/>
              <a:gd name="connsiteX10" fmla="*/ 1926945 w 1926945"/>
              <a:gd name="connsiteY10" fmla="*/ 0 h 6459038"/>
              <a:gd name="connsiteX11" fmla="*/ 1215570 w 1926945"/>
              <a:gd name="connsiteY11" fmla="*/ 0 h 6459038"/>
              <a:gd name="connsiteX12" fmla="*/ 1095504 w 1926945"/>
              <a:gd name="connsiteY12" fmla="*/ 6179501 h 6459038"/>
              <a:gd name="connsiteX13" fmla="*/ 732969 w 1926945"/>
              <a:gd name="connsiteY13" fmla="*/ 5966123 h 6459038"/>
              <a:gd name="connsiteX14" fmla="*/ 789433 w 1926945"/>
              <a:gd name="connsiteY14" fmla="*/ 6327759 h 6459038"/>
              <a:gd name="connsiteX15" fmla="*/ 1082524 w 1926945"/>
              <a:gd name="connsiteY15" fmla="*/ 6428073 h 6459038"/>
              <a:gd name="connsiteX16" fmla="*/ 1095504 w 1926945"/>
              <a:gd name="connsiteY16" fmla="*/ 6179501 h 645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6945" h="6459038">
                <a:moveTo>
                  <a:pt x="1215570" y="0"/>
                </a:moveTo>
                <a:cubicBezTo>
                  <a:pt x="2189" y="1519862"/>
                  <a:pt x="-364305" y="3650388"/>
                  <a:pt x="396914" y="5502156"/>
                </a:cubicBezTo>
                <a:cubicBezTo>
                  <a:pt x="404443" y="5521087"/>
                  <a:pt x="412295" y="5539888"/>
                  <a:pt x="420148" y="5558753"/>
                </a:cubicBezTo>
                <a:lnTo>
                  <a:pt x="432155" y="5587377"/>
                </a:lnTo>
                <a:lnTo>
                  <a:pt x="440203" y="5596875"/>
                </a:lnTo>
                <a:cubicBezTo>
                  <a:pt x="454351" y="5613594"/>
                  <a:pt x="472653" y="5626150"/>
                  <a:pt x="492837" y="5633436"/>
                </a:cubicBezTo>
                <a:cubicBezTo>
                  <a:pt x="503351" y="5637274"/>
                  <a:pt x="514449" y="5639615"/>
                  <a:pt x="525742" y="5640331"/>
                </a:cubicBezTo>
                <a:cubicBezTo>
                  <a:pt x="556959" y="5642413"/>
                  <a:pt x="587722" y="5631939"/>
                  <a:pt x="610242" y="5611577"/>
                </a:cubicBezTo>
                <a:cubicBezTo>
                  <a:pt x="645029" y="5579961"/>
                  <a:pt x="656711" y="5529674"/>
                  <a:pt x="639318" y="5481404"/>
                </a:cubicBezTo>
                <a:cubicBezTo>
                  <a:pt x="139194" y="4198730"/>
                  <a:pt x="184559" y="2814051"/>
                  <a:pt x="767042" y="1582249"/>
                </a:cubicBezTo>
                <a:cubicBezTo>
                  <a:pt x="1049489" y="985051"/>
                  <a:pt x="1443695" y="450566"/>
                  <a:pt x="1926945" y="0"/>
                </a:cubicBezTo>
                <a:lnTo>
                  <a:pt x="1215570" y="0"/>
                </a:lnTo>
                <a:close/>
                <a:moveTo>
                  <a:pt x="1095504" y="6179501"/>
                </a:moveTo>
                <a:cubicBezTo>
                  <a:pt x="1037093" y="6109372"/>
                  <a:pt x="782878" y="5942443"/>
                  <a:pt x="732969" y="5966123"/>
                </a:cubicBezTo>
                <a:cubicBezTo>
                  <a:pt x="682996" y="5989737"/>
                  <a:pt x="723688" y="6212483"/>
                  <a:pt x="789433" y="6327759"/>
                </a:cubicBezTo>
                <a:cubicBezTo>
                  <a:pt x="834733" y="6407125"/>
                  <a:pt x="984199" y="6512058"/>
                  <a:pt x="1082524" y="6428073"/>
                </a:cubicBezTo>
                <a:cubicBezTo>
                  <a:pt x="1180848" y="6344153"/>
                  <a:pt x="1153914" y="6249694"/>
                  <a:pt x="1095504" y="6179501"/>
                </a:cubicBezTo>
                <a:close/>
              </a:path>
            </a:pathLst>
          </a:custGeom>
          <a:solidFill>
            <a:srgbClr val="47D985"/>
          </a:solidFill>
          <a:ln w="6478" cap="flat">
            <a:noFill/>
            <a:prstDash val="solid"/>
            <a:miter/>
          </a:ln>
        </p:spPr>
        <p:txBody>
          <a:bodyPr rtlCol="0" anchor="ctr"/>
          <a:lstStyle/>
          <a:p>
            <a:endParaRPr lang="en-GB"/>
          </a:p>
        </p:txBody>
      </p:sp>
      <p:sp>
        <p:nvSpPr>
          <p:cNvPr id="4" name="Slide Number Placeholder 3">
            <a:extLst>
              <a:ext uri="{FF2B5EF4-FFF2-40B4-BE49-F238E27FC236}">
                <a16:creationId xmlns:a16="http://schemas.microsoft.com/office/drawing/2014/main" id="{4C9BF31C-960F-6DEC-C64D-220E460F17DF}"/>
              </a:ext>
            </a:extLst>
          </p:cNvPr>
          <p:cNvSpPr>
            <a:spLocks noGrp="1"/>
          </p:cNvSpPr>
          <p:nvPr>
            <p:ph type="sldNum" sz="quarter" idx="19"/>
          </p:nvPr>
        </p:nvSpPr>
        <p:spPr/>
        <p:txBody>
          <a:bodyPr/>
          <a:lstStyle/>
          <a:p>
            <a:fld id="{0994303E-A424-9540-91A8-53B791C91E8F}" type="slidenum">
              <a:rPr lang="en-GB" smtClean="0"/>
              <a:pPr/>
              <a:t>‹#›</a:t>
            </a:fld>
            <a:endParaRPr lang="en-GB"/>
          </a:p>
        </p:txBody>
      </p:sp>
      <p:sp>
        <p:nvSpPr>
          <p:cNvPr id="2" name="Picture Placeholder 6">
            <a:extLst>
              <a:ext uri="{FF2B5EF4-FFF2-40B4-BE49-F238E27FC236}">
                <a16:creationId xmlns:a16="http://schemas.microsoft.com/office/drawing/2014/main" id="{173EB7C3-0588-B099-ABAE-5F2DE47F63C4}"/>
              </a:ext>
            </a:extLst>
          </p:cNvPr>
          <p:cNvSpPr>
            <a:spLocks noGrp="1"/>
          </p:cNvSpPr>
          <p:nvPr>
            <p:ph type="pic" sz="quarter" idx="18"/>
          </p:nvPr>
        </p:nvSpPr>
        <p:spPr>
          <a:xfrm>
            <a:off x="6873225" y="0"/>
            <a:ext cx="5318775" cy="6860682"/>
          </a:xfrm>
          <a:custGeom>
            <a:avLst/>
            <a:gdLst>
              <a:gd name="connsiteX0" fmla="*/ 1792436 w 5318775"/>
              <a:gd name="connsiteY0" fmla="*/ 0 h 6860682"/>
              <a:gd name="connsiteX1" fmla="*/ 5318775 w 5318775"/>
              <a:gd name="connsiteY1" fmla="*/ 0 h 6860682"/>
              <a:gd name="connsiteX2" fmla="*/ 5318775 w 5318775"/>
              <a:gd name="connsiteY2" fmla="*/ 6860682 h 6860682"/>
              <a:gd name="connsiteX3" fmla="*/ 1585041 w 5318775"/>
              <a:gd name="connsiteY3" fmla="*/ 6860682 h 6860682"/>
              <a:gd name="connsiteX4" fmla="*/ 243389 w 5318775"/>
              <a:gd name="connsiteY4" fmla="*/ 5161393 h 6860682"/>
              <a:gd name="connsiteX5" fmla="*/ 1792436 w 5318775"/>
              <a:gd name="connsiteY5" fmla="*/ 0 h 686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8775" h="6860682">
                <a:moveTo>
                  <a:pt x="1792436" y="0"/>
                </a:moveTo>
                <a:lnTo>
                  <a:pt x="5318775" y="0"/>
                </a:lnTo>
                <a:lnTo>
                  <a:pt x="5318775" y="6860682"/>
                </a:lnTo>
                <a:lnTo>
                  <a:pt x="1585041" y="6860682"/>
                </a:lnTo>
                <a:cubicBezTo>
                  <a:pt x="976954" y="6494907"/>
                  <a:pt x="492377" y="5932458"/>
                  <a:pt x="243389" y="5161393"/>
                </a:cubicBezTo>
                <a:cubicBezTo>
                  <a:pt x="-352570" y="3349919"/>
                  <a:pt x="139246" y="1030182"/>
                  <a:pt x="1792436" y="0"/>
                </a:cubicBezTo>
                <a:close/>
              </a:path>
            </a:pathLst>
          </a:custGeom>
        </p:spPr>
        <p:txBody>
          <a:bodyPr wrap="square" anchor="ctr">
            <a:noAutofit/>
          </a:bodyPr>
          <a:lstStyle>
            <a:lvl1pPr marL="0" indent="0" algn="ctr">
              <a:buNone/>
              <a:defRPr>
                <a:solidFill>
                  <a:schemeClr val="bg1"/>
                </a:solidFill>
              </a:defRPr>
            </a:lvl1pPr>
          </a:lstStyle>
          <a:p>
            <a:r>
              <a:rPr lang="en-US"/>
              <a:t>Click icon to add picture</a:t>
            </a:r>
          </a:p>
        </p:txBody>
      </p:sp>
    </p:spTree>
    <p:extLst>
      <p:ext uri="{BB962C8B-B14F-4D97-AF65-F5344CB8AC3E}">
        <p14:creationId xmlns:p14="http://schemas.microsoft.com/office/powerpoint/2010/main" val="146778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Basic, Large Header">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BCDC415B-B0B1-B0CE-EF86-346D3A4E6A47}"/>
              </a:ext>
            </a:extLst>
          </p:cNvPr>
          <p:cNvSpPr>
            <a:spLocks noGrp="1"/>
          </p:cNvSpPr>
          <p:nvPr>
            <p:ph type="body" sz="quarter" idx="16" hasCustomPrompt="1"/>
          </p:nvPr>
        </p:nvSpPr>
        <p:spPr>
          <a:xfrm>
            <a:off x="658813" y="549275"/>
            <a:ext cx="5761037" cy="2188455"/>
          </a:xfrm>
        </p:spPr>
        <p:txBody>
          <a:bodyPr anchor="b" anchorCtr="0">
            <a:normAutofit/>
          </a:bodyPr>
          <a:lstStyle>
            <a:lvl1pPr marL="0" indent="0">
              <a:lnSpc>
                <a:spcPct val="100000"/>
              </a:lnSpc>
              <a:spcBef>
                <a:spcPts val="0"/>
              </a:spcBef>
              <a:buNone/>
              <a:defRPr sz="6500" b="1">
                <a:latin typeface="+mj-lt"/>
              </a:defRPr>
            </a:lvl1pPr>
          </a:lstStyle>
          <a:p>
            <a:pPr lvl="0"/>
            <a:r>
              <a:rPr lang="en-GB"/>
              <a:t>A captivating headline</a:t>
            </a:r>
          </a:p>
        </p:txBody>
      </p:sp>
      <p:sp>
        <p:nvSpPr>
          <p:cNvPr id="9" name="Slide Number Placeholder 8">
            <a:extLst>
              <a:ext uri="{FF2B5EF4-FFF2-40B4-BE49-F238E27FC236}">
                <a16:creationId xmlns:a16="http://schemas.microsoft.com/office/drawing/2014/main" id="{6F3918CB-A61A-8A43-05DE-7D51ECBE796D}"/>
              </a:ext>
            </a:extLst>
          </p:cNvPr>
          <p:cNvSpPr>
            <a:spLocks noGrp="1"/>
          </p:cNvSpPr>
          <p:nvPr>
            <p:ph type="sldNum" sz="quarter" idx="18"/>
          </p:nvPr>
        </p:nvSpPr>
        <p:spPr/>
        <p:txBody>
          <a:bodyPr/>
          <a:lstStyle/>
          <a:p>
            <a:fld id="{0994303E-A424-9540-91A8-53B791C91E8F}" type="slidenum">
              <a:rPr lang="en-GB" smtClean="0"/>
              <a:pPr/>
              <a:t>‹#›</a:t>
            </a:fld>
            <a:endParaRPr lang="en-GB"/>
          </a:p>
        </p:txBody>
      </p:sp>
      <p:sp>
        <p:nvSpPr>
          <p:cNvPr id="7" name="Text Placeholder 6">
            <a:extLst>
              <a:ext uri="{FF2B5EF4-FFF2-40B4-BE49-F238E27FC236}">
                <a16:creationId xmlns:a16="http://schemas.microsoft.com/office/drawing/2014/main" id="{19C4ACA5-144B-43D4-2B92-D3B3ED763222}"/>
              </a:ext>
            </a:extLst>
          </p:cNvPr>
          <p:cNvSpPr>
            <a:spLocks noGrp="1"/>
          </p:cNvSpPr>
          <p:nvPr>
            <p:ph type="body" sz="quarter" idx="19" hasCustomPrompt="1"/>
          </p:nvPr>
        </p:nvSpPr>
        <p:spPr>
          <a:xfrm>
            <a:off x="658811" y="3045692"/>
            <a:ext cx="5113338" cy="2759796"/>
          </a:xfrm>
        </p:spPr>
        <p:txBody>
          <a:bodyPr/>
          <a:lstStyle>
            <a:lvl1pPr marL="0" indent="0">
              <a:buNone/>
              <a:defRPr/>
            </a:lvl1pPr>
          </a:lstStyle>
          <a:p>
            <a:pPr lvl="0"/>
            <a:r>
              <a:rPr lang="en-GB" err="1"/>
              <a:t>Sed</a:t>
            </a:r>
            <a:r>
              <a:rPr lang="en-GB"/>
              <a:t> </a:t>
            </a:r>
            <a:r>
              <a:rPr lang="en-GB" err="1"/>
              <a:t>ut</a:t>
            </a:r>
            <a:r>
              <a:rPr lang="en-GB"/>
              <a:t> </a:t>
            </a:r>
            <a:r>
              <a:rPr lang="en-GB" err="1"/>
              <a:t>perspiciatis</a:t>
            </a:r>
            <a:r>
              <a:rPr lang="en-GB"/>
              <a:t> </a:t>
            </a:r>
            <a:r>
              <a:rPr lang="en-GB" err="1"/>
              <a:t>unde</a:t>
            </a:r>
            <a:r>
              <a:rPr lang="en-GB"/>
              <a:t> </a:t>
            </a:r>
            <a:r>
              <a:rPr lang="en-GB" err="1"/>
              <a:t>omnis</a:t>
            </a:r>
            <a:r>
              <a:rPr lang="en-GB"/>
              <a:t> </a:t>
            </a:r>
            <a:r>
              <a:rPr lang="en-GB" err="1"/>
              <a:t>iste</a:t>
            </a:r>
            <a:r>
              <a:rPr lang="en-GB"/>
              <a:t> </a:t>
            </a:r>
            <a:r>
              <a:rPr lang="en-GB" err="1"/>
              <a:t>natus</a:t>
            </a:r>
            <a:r>
              <a:rPr lang="en-GB"/>
              <a:t> error sit </a:t>
            </a:r>
            <a:r>
              <a:rPr lang="en-GB" err="1"/>
              <a:t>voluptatem</a:t>
            </a:r>
            <a:r>
              <a:rPr lang="en-GB"/>
              <a:t> </a:t>
            </a:r>
            <a:r>
              <a:rPr lang="en-GB" err="1"/>
              <a:t>accusantium</a:t>
            </a:r>
            <a:r>
              <a:rPr lang="en-GB"/>
              <a:t> </a:t>
            </a:r>
            <a:r>
              <a:rPr lang="en-GB" err="1"/>
              <a:t>doloremque</a:t>
            </a:r>
            <a:r>
              <a:rPr lang="en-GB"/>
              <a:t> </a:t>
            </a:r>
            <a:r>
              <a:rPr lang="en-GB" err="1"/>
              <a:t>laudantium</a:t>
            </a:r>
            <a:r>
              <a:rPr lang="en-GB"/>
              <a:t>, </a:t>
            </a:r>
            <a:r>
              <a:rPr lang="en-GB" err="1"/>
              <a:t>totam</a:t>
            </a:r>
            <a:r>
              <a:rPr lang="en-GB"/>
              <a:t> rem </a:t>
            </a:r>
            <a:r>
              <a:rPr lang="en-GB" err="1"/>
              <a:t>aperiam</a:t>
            </a:r>
            <a:r>
              <a:rPr lang="en-GB"/>
              <a:t>, </a:t>
            </a:r>
            <a:r>
              <a:rPr lang="en-GB" err="1"/>
              <a:t>eaque</a:t>
            </a:r>
            <a:r>
              <a:rPr lang="en-GB"/>
              <a:t> </a:t>
            </a:r>
            <a:r>
              <a:rPr lang="en-GB" err="1"/>
              <a:t>ipsa</a:t>
            </a:r>
            <a:r>
              <a:rPr lang="en-GB"/>
              <a:t> </a:t>
            </a:r>
            <a:r>
              <a:rPr lang="en-GB" err="1"/>
              <a:t>quae</a:t>
            </a:r>
            <a:r>
              <a:rPr lang="en-GB"/>
              <a:t> ab </a:t>
            </a:r>
            <a:r>
              <a:rPr lang="en-GB" err="1"/>
              <a:t>illo</a:t>
            </a:r>
            <a:r>
              <a:rPr lang="en-GB"/>
              <a:t> </a:t>
            </a:r>
            <a:r>
              <a:rPr lang="en-GB" err="1"/>
              <a:t>inventore</a:t>
            </a:r>
            <a:r>
              <a:rPr lang="en-GB"/>
              <a:t> </a:t>
            </a:r>
            <a:r>
              <a:rPr lang="en-GB" err="1"/>
              <a:t>veritatis</a:t>
            </a:r>
            <a:r>
              <a:rPr lang="en-GB"/>
              <a:t> et quasi </a:t>
            </a:r>
            <a:r>
              <a:rPr lang="en-GB" err="1"/>
              <a:t>architecto</a:t>
            </a:r>
            <a:r>
              <a:rPr lang="en-GB"/>
              <a:t> beatae vitae dicta sunt </a:t>
            </a:r>
            <a:r>
              <a:rPr lang="en-GB" err="1"/>
              <a:t>explicabo</a:t>
            </a:r>
            <a:r>
              <a:rPr lang="en-GB"/>
              <a:t>. Nemo </a:t>
            </a:r>
            <a:r>
              <a:rPr lang="en-GB" err="1"/>
              <a:t>enim</a:t>
            </a:r>
            <a:r>
              <a:rPr lang="en-GB"/>
              <a:t> </a:t>
            </a:r>
            <a:r>
              <a:rPr lang="en-GB" err="1"/>
              <a:t>ipsam</a:t>
            </a:r>
            <a:r>
              <a:rPr lang="en-GB"/>
              <a:t> </a:t>
            </a:r>
            <a:r>
              <a:rPr lang="en-GB" err="1"/>
              <a:t>voluptatem</a:t>
            </a:r>
            <a:r>
              <a:rPr lang="en-GB"/>
              <a:t> </a:t>
            </a:r>
            <a:r>
              <a:rPr lang="en-GB" err="1"/>
              <a:t>quia</a:t>
            </a:r>
            <a:r>
              <a:rPr lang="en-GB"/>
              <a:t> </a:t>
            </a:r>
            <a:r>
              <a:rPr lang="en-GB" err="1"/>
              <a:t>voluptas</a:t>
            </a:r>
            <a:r>
              <a:rPr lang="en-GB"/>
              <a:t> sit </a:t>
            </a:r>
            <a:r>
              <a:rPr lang="en-GB" err="1"/>
              <a:t>aspernatur</a:t>
            </a:r>
            <a:r>
              <a:rPr lang="en-GB"/>
              <a:t> </a:t>
            </a:r>
            <a:r>
              <a:rPr lang="en-GB" err="1"/>
              <a:t>aut</a:t>
            </a:r>
            <a:r>
              <a:rPr lang="en-GB"/>
              <a:t> </a:t>
            </a:r>
            <a:r>
              <a:rPr lang="en-GB" err="1"/>
              <a:t>odit</a:t>
            </a:r>
            <a:r>
              <a:rPr lang="en-GB"/>
              <a:t> </a:t>
            </a:r>
            <a:r>
              <a:rPr lang="en-GB" err="1"/>
              <a:t>aut</a:t>
            </a:r>
            <a:r>
              <a:rPr lang="en-GB"/>
              <a:t> fugit, </a:t>
            </a:r>
            <a:r>
              <a:rPr lang="en-GB" err="1"/>
              <a:t>sed</a:t>
            </a:r>
            <a:r>
              <a:rPr lang="en-GB"/>
              <a:t> </a:t>
            </a:r>
            <a:r>
              <a:rPr lang="en-GB" err="1"/>
              <a:t>quia</a:t>
            </a:r>
            <a:r>
              <a:rPr lang="en-GB"/>
              <a:t> </a:t>
            </a:r>
            <a:r>
              <a:rPr lang="en-GB" err="1"/>
              <a:t>consequuntur</a:t>
            </a:r>
            <a:r>
              <a:rPr lang="en-GB"/>
              <a:t> </a:t>
            </a:r>
            <a:r>
              <a:rPr lang="en-GB" err="1"/>
              <a:t>magni</a:t>
            </a:r>
            <a:r>
              <a:rPr lang="en-GB"/>
              <a:t> </a:t>
            </a:r>
            <a:r>
              <a:rPr lang="en-GB" err="1"/>
              <a:t>dolores</a:t>
            </a:r>
            <a:r>
              <a:rPr lang="en-GB"/>
              <a:t> </a:t>
            </a:r>
            <a:r>
              <a:rPr lang="en-GB" err="1"/>
              <a:t>eos</a:t>
            </a:r>
            <a:r>
              <a:rPr lang="en-GB"/>
              <a:t> qui </a:t>
            </a:r>
            <a:r>
              <a:rPr lang="en-GB" err="1"/>
              <a:t>ratione</a:t>
            </a:r>
            <a:r>
              <a:rPr lang="en-GB"/>
              <a:t> </a:t>
            </a:r>
            <a:r>
              <a:rPr lang="en-GB" err="1"/>
              <a:t>voluptatem</a:t>
            </a:r>
            <a:r>
              <a:rPr lang="en-GB"/>
              <a:t> </a:t>
            </a:r>
            <a:r>
              <a:rPr lang="en-GB" err="1"/>
              <a:t>sequi</a:t>
            </a:r>
            <a:r>
              <a:rPr lang="en-GB"/>
              <a:t> </a:t>
            </a:r>
            <a:r>
              <a:rPr lang="en-GB" err="1"/>
              <a:t>nesciunt</a:t>
            </a:r>
            <a:r>
              <a:rPr lang="en-GB"/>
              <a:t>. </a:t>
            </a:r>
            <a:r>
              <a:rPr lang="en-GB" err="1"/>
              <a:t>Neque</a:t>
            </a:r>
            <a:r>
              <a:rPr lang="en-GB"/>
              <a:t> </a:t>
            </a:r>
            <a:r>
              <a:rPr lang="en-GB" err="1"/>
              <a:t>porro</a:t>
            </a:r>
            <a:r>
              <a:rPr lang="en-GB"/>
              <a:t> </a:t>
            </a:r>
            <a:r>
              <a:rPr lang="en-GB" err="1"/>
              <a:t>quisquam</a:t>
            </a:r>
            <a:r>
              <a:rPr lang="en-GB"/>
              <a:t> </a:t>
            </a:r>
            <a:r>
              <a:rPr lang="en-GB" err="1"/>
              <a:t>est</a:t>
            </a:r>
            <a:r>
              <a:rPr lang="en-GB"/>
              <a:t>, qui </a:t>
            </a:r>
            <a:r>
              <a:rPr lang="en-GB" err="1"/>
              <a:t>dolorem</a:t>
            </a:r>
            <a:r>
              <a:rPr lang="en-GB"/>
              <a:t> ipsum </a:t>
            </a:r>
            <a:r>
              <a:rPr lang="en-GB" err="1"/>
              <a:t>quia</a:t>
            </a:r>
            <a:r>
              <a:rPr lang="en-GB"/>
              <a:t> </a:t>
            </a:r>
            <a:r>
              <a:rPr lang="en-GB" err="1"/>
              <a:t>dolor</a:t>
            </a:r>
            <a:r>
              <a:rPr lang="en-GB"/>
              <a:t> sit </a:t>
            </a:r>
            <a:r>
              <a:rPr lang="en-GB" err="1"/>
              <a:t>amet</a:t>
            </a:r>
            <a:r>
              <a:rPr lang="en-GB"/>
              <a:t>, </a:t>
            </a:r>
            <a:r>
              <a:rPr lang="en-GB" err="1"/>
              <a:t>consectetur</a:t>
            </a:r>
            <a:r>
              <a:rPr lang="en-GB"/>
              <a:t>, </a:t>
            </a:r>
            <a:r>
              <a:rPr lang="en-GB" err="1"/>
              <a:t>adipisci</a:t>
            </a:r>
            <a:r>
              <a:rPr lang="en-GB"/>
              <a:t> </a:t>
            </a:r>
            <a:r>
              <a:rPr lang="en-GB" err="1"/>
              <a:t>velit</a:t>
            </a:r>
            <a:r>
              <a:rPr lang="en-GB"/>
              <a:t>, </a:t>
            </a:r>
            <a:r>
              <a:rPr lang="en-GB" err="1"/>
              <a:t>sed</a:t>
            </a:r>
            <a:r>
              <a:rPr lang="en-GB"/>
              <a:t> </a:t>
            </a:r>
            <a:r>
              <a:rPr lang="en-GB" err="1"/>
              <a:t>quia</a:t>
            </a:r>
            <a:r>
              <a:rPr lang="en-GB"/>
              <a:t> non </a:t>
            </a:r>
            <a:r>
              <a:rPr lang="en-GB" err="1"/>
              <a:t>numquam</a:t>
            </a:r>
            <a:r>
              <a:rPr lang="en-GB"/>
              <a:t> </a:t>
            </a:r>
            <a:r>
              <a:rPr lang="en-GB" err="1"/>
              <a:t>eius</a:t>
            </a:r>
            <a:r>
              <a:rPr lang="en-GB"/>
              <a:t> </a:t>
            </a:r>
            <a:r>
              <a:rPr lang="en-GB" err="1"/>
              <a:t>modi</a:t>
            </a:r>
            <a:r>
              <a:rPr lang="en-GB"/>
              <a:t> </a:t>
            </a:r>
            <a:r>
              <a:rPr lang="en-GB" err="1"/>
              <a:t>tempora</a:t>
            </a:r>
            <a:r>
              <a:rPr lang="en-GB"/>
              <a:t> </a:t>
            </a:r>
            <a:r>
              <a:rPr lang="en-GB" err="1"/>
              <a:t>incidunt</a:t>
            </a:r>
            <a:r>
              <a:rPr lang="en-GB"/>
              <a:t> </a:t>
            </a:r>
            <a:r>
              <a:rPr lang="en-GB" err="1"/>
              <a:t>ut</a:t>
            </a:r>
            <a:r>
              <a:rPr lang="en-GB"/>
              <a:t> labore et dolore </a:t>
            </a:r>
            <a:r>
              <a:rPr lang="en-GB" err="1"/>
              <a:t>magnam</a:t>
            </a:r>
            <a:r>
              <a:rPr lang="en-GB"/>
              <a:t> </a:t>
            </a:r>
            <a:r>
              <a:rPr lang="en-GB" err="1"/>
              <a:t>aliquam</a:t>
            </a:r>
            <a:r>
              <a:rPr lang="en-GB"/>
              <a:t> </a:t>
            </a:r>
            <a:r>
              <a:rPr lang="en-GB" err="1"/>
              <a:t>quaerat</a:t>
            </a:r>
            <a:r>
              <a:rPr lang="en-GB"/>
              <a:t> </a:t>
            </a:r>
            <a:r>
              <a:rPr lang="en-GB" err="1"/>
              <a:t>voluptatem</a:t>
            </a:r>
            <a:r>
              <a:rPr lang="en-GB"/>
              <a:t>.</a:t>
            </a:r>
          </a:p>
        </p:txBody>
      </p:sp>
    </p:spTree>
    <p:extLst>
      <p:ext uri="{BB962C8B-B14F-4D97-AF65-F5344CB8AC3E}">
        <p14:creationId xmlns:p14="http://schemas.microsoft.com/office/powerpoint/2010/main" val="291583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Pebble Imag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2" y="549275"/>
            <a:ext cx="5113337" cy="2131053"/>
          </a:xfrm>
        </p:spPr>
        <p:txBody>
          <a:bodyPr anchor="b" anchorCtr="0">
            <a:noAutofit/>
          </a:bodyPr>
          <a:lstStyle>
            <a:lvl1pPr marL="0" indent="0">
              <a:spcBef>
                <a:spcPts val="0"/>
              </a:spcBef>
              <a:buNone/>
              <a:defRPr sz="4000" b="1">
                <a:solidFill>
                  <a:srgbClr val="47DA86"/>
                </a:solidFill>
                <a:latin typeface="+mj-lt"/>
              </a:defRPr>
            </a:lvl1pPr>
          </a:lstStyle>
          <a:p>
            <a:pPr lvl="0"/>
            <a:r>
              <a:rPr lang="en-GB"/>
              <a:t>A captivating headline</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2" y="2872829"/>
            <a:ext cx="5113337" cy="2932660"/>
          </a:xfrm>
        </p:spPr>
        <p:txBody>
          <a:bodyPr>
            <a:noAutofit/>
          </a:bodyPr>
          <a:lstStyle>
            <a:lvl1pPr marL="0" indent="0">
              <a:buNone/>
              <a:defRPr sz="1400" b="0">
                <a:solidFill>
                  <a:schemeClr val="bg1"/>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p>
        </p:txBody>
      </p:sp>
      <p:sp>
        <p:nvSpPr>
          <p:cNvPr id="5" name="Picture Placeholder 4">
            <a:extLst>
              <a:ext uri="{FF2B5EF4-FFF2-40B4-BE49-F238E27FC236}">
                <a16:creationId xmlns:a16="http://schemas.microsoft.com/office/drawing/2014/main" id="{A6D049BA-8763-7863-E7E0-8A31A9438750}"/>
              </a:ext>
            </a:extLst>
          </p:cNvPr>
          <p:cNvSpPr>
            <a:spLocks noGrp="1"/>
          </p:cNvSpPr>
          <p:nvPr>
            <p:ph type="pic" sz="quarter" idx="18"/>
          </p:nvPr>
        </p:nvSpPr>
        <p:spPr>
          <a:xfrm>
            <a:off x="6413557" y="740342"/>
            <a:ext cx="5129758" cy="4824422"/>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2400">
                <a:solidFill>
                  <a:schemeClr val="bg1"/>
                </a:solidFill>
              </a:defRPr>
            </a:lvl1pPr>
          </a:lstStyle>
          <a:p>
            <a:r>
              <a:rPr lang="en-GB"/>
              <a:t>Click icon to add picture</a:t>
            </a:r>
          </a:p>
        </p:txBody>
      </p:sp>
      <p:sp>
        <p:nvSpPr>
          <p:cNvPr id="4" name="Slide Number Placeholder 3">
            <a:extLst>
              <a:ext uri="{FF2B5EF4-FFF2-40B4-BE49-F238E27FC236}">
                <a16:creationId xmlns:a16="http://schemas.microsoft.com/office/drawing/2014/main" id="{6A423C60-DB16-109A-762A-D048767B5E0D}"/>
              </a:ext>
            </a:extLst>
          </p:cNvPr>
          <p:cNvSpPr>
            <a:spLocks noGrp="1"/>
          </p:cNvSpPr>
          <p:nvPr>
            <p:ph type="sldNum" sz="quarter" idx="19"/>
          </p:nvPr>
        </p:nvSpPr>
        <p:spPr/>
        <p:txBody>
          <a:bodyPr/>
          <a:lstStyle/>
          <a:p>
            <a:fld id="{0994303E-A424-9540-91A8-53B791C91E8F}" type="slidenum">
              <a:rPr lang="en-GB" smtClean="0"/>
              <a:pPr/>
              <a:t>‹#›</a:t>
            </a:fld>
            <a:endParaRPr lang="en-GB"/>
          </a:p>
        </p:txBody>
      </p:sp>
    </p:spTree>
    <p:extLst>
      <p:ext uri="{BB962C8B-B14F-4D97-AF65-F5344CB8AC3E}">
        <p14:creationId xmlns:p14="http://schemas.microsoft.com/office/powerpoint/2010/main" val="3969995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Left Image">
    <p:spTree>
      <p:nvGrpSpPr>
        <p:cNvPr id="1" name=""/>
        <p:cNvGrpSpPr/>
        <p:nvPr/>
      </p:nvGrpSpPr>
      <p:grpSpPr>
        <a:xfrm>
          <a:off x="0" y="0"/>
          <a:ext cx="0" cy="0"/>
          <a:chOff x="0" y="0"/>
          <a:chExt cx="0" cy="0"/>
        </a:xfrm>
      </p:grpSpPr>
      <p:sp>
        <p:nvSpPr>
          <p:cNvPr id="23" name="Text Placeholder 11">
            <a:extLst>
              <a:ext uri="{FF2B5EF4-FFF2-40B4-BE49-F238E27FC236}">
                <a16:creationId xmlns:a16="http://schemas.microsoft.com/office/drawing/2014/main" id="{0A4BC4EF-459A-7845-F619-515A9AFC49DB}"/>
              </a:ext>
            </a:extLst>
          </p:cNvPr>
          <p:cNvSpPr>
            <a:spLocks noGrp="1"/>
          </p:cNvSpPr>
          <p:nvPr>
            <p:ph type="body" sz="quarter" idx="17" hasCustomPrompt="1"/>
          </p:nvPr>
        </p:nvSpPr>
        <p:spPr>
          <a:xfrm>
            <a:off x="6419850" y="2862669"/>
            <a:ext cx="5113339" cy="2942820"/>
          </a:xfrm>
        </p:spPr>
        <p:txBody>
          <a:bodyPr>
            <a:noAutofit/>
          </a:bodyPr>
          <a:lstStyle>
            <a:lvl1pPr marL="0" indent="0">
              <a:buNone/>
              <a:defRPr sz="1400" b="0">
                <a:solidFill>
                  <a:schemeClr val="bg1"/>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2" name="Text Placeholder 11">
            <a:extLst>
              <a:ext uri="{FF2B5EF4-FFF2-40B4-BE49-F238E27FC236}">
                <a16:creationId xmlns:a16="http://schemas.microsoft.com/office/drawing/2014/main" id="{1B2E71AF-560B-8492-C46B-152A4A3B96DE}"/>
              </a:ext>
            </a:extLst>
          </p:cNvPr>
          <p:cNvSpPr>
            <a:spLocks noGrp="1"/>
          </p:cNvSpPr>
          <p:nvPr>
            <p:ph type="body" sz="quarter" idx="18" hasCustomPrompt="1"/>
          </p:nvPr>
        </p:nvSpPr>
        <p:spPr>
          <a:xfrm>
            <a:off x="6420385" y="549275"/>
            <a:ext cx="5110714" cy="2120893"/>
          </a:xfrm>
        </p:spPr>
        <p:txBody>
          <a:bodyPr anchor="b" anchorCtr="0">
            <a:noAutofit/>
          </a:bodyPr>
          <a:lstStyle>
            <a:lvl1pPr marL="0" indent="0">
              <a:buNone/>
              <a:defRPr sz="4000" b="1">
                <a:solidFill>
                  <a:schemeClr val="bg1"/>
                </a:solidFill>
                <a:latin typeface="+mj-lt"/>
              </a:defRPr>
            </a:lvl1pPr>
          </a:lstStyle>
          <a:p>
            <a:pPr lvl="0"/>
            <a:r>
              <a:rPr lang="en-GB" dirty="0"/>
              <a:t>A captivating headline</a:t>
            </a:r>
          </a:p>
        </p:txBody>
      </p:sp>
      <p:sp>
        <p:nvSpPr>
          <p:cNvPr id="3" name="Slide Number Placeholder 2">
            <a:extLst>
              <a:ext uri="{FF2B5EF4-FFF2-40B4-BE49-F238E27FC236}">
                <a16:creationId xmlns:a16="http://schemas.microsoft.com/office/drawing/2014/main" id="{40B036C2-4F5F-9FD4-809E-3237384E8560}"/>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5" name="Graphic 8">
            <a:extLst>
              <a:ext uri="{FF2B5EF4-FFF2-40B4-BE49-F238E27FC236}">
                <a16:creationId xmlns:a16="http://schemas.microsoft.com/office/drawing/2014/main" id="{2B051417-E233-CE79-D9EA-45CDB44E25B2}"/>
              </a:ext>
            </a:extLst>
          </p:cNvPr>
          <p:cNvSpPr>
            <a:spLocks noChangeAspect="1"/>
          </p:cNvSpPr>
          <p:nvPr userDrawn="1"/>
        </p:nvSpPr>
        <p:spPr>
          <a:xfrm flipH="1">
            <a:off x="2401046"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GB" dirty="0"/>
          </a:p>
        </p:txBody>
      </p:sp>
      <p:sp>
        <p:nvSpPr>
          <p:cNvPr id="2" name="Picture Placeholder 3">
            <a:extLst>
              <a:ext uri="{FF2B5EF4-FFF2-40B4-BE49-F238E27FC236}">
                <a16:creationId xmlns:a16="http://schemas.microsoft.com/office/drawing/2014/main" id="{CDC14F0B-4FA1-90DE-9073-AAC23D665042}"/>
              </a:ext>
            </a:extLst>
          </p:cNvPr>
          <p:cNvSpPr>
            <a:spLocks noGrp="1"/>
          </p:cNvSpPr>
          <p:nvPr>
            <p:ph type="pic" sz="quarter" idx="19"/>
          </p:nvPr>
        </p:nvSpPr>
        <p:spPr>
          <a:xfrm>
            <a:off x="0" y="-1"/>
            <a:ext cx="5681120" cy="6860681"/>
          </a:xfrm>
          <a:custGeom>
            <a:avLst/>
            <a:gdLst>
              <a:gd name="connsiteX0" fmla="*/ 2401045 w 5681120"/>
              <a:gd name="connsiteY0" fmla="*/ 1 h 6860681"/>
              <a:gd name="connsiteX1" fmla="*/ 2801249 w 5681120"/>
              <a:gd name="connsiteY1" fmla="*/ 180595 h 6860681"/>
              <a:gd name="connsiteX2" fmla="*/ 4670917 w 5681120"/>
              <a:gd name="connsiteY2" fmla="*/ 2390776 h 6860681"/>
              <a:gd name="connsiteX3" fmla="*/ 4588491 w 5681120"/>
              <a:gd name="connsiteY3" fmla="*/ 5293107 h 6860681"/>
              <a:gd name="connsiteX4" fmla="*/ 3262051 w 5681120"/>
              <a:gd name="connsiteY4" fmla="*/ 6858001 h 6860681"/>
              <a:gd name="connsiteX5" fmla="*/ 3618408 w 5681120"/>
              <a:gd name="connsiteY5" fmla="*/ 6858001 h 6860681"/>
              <a:gd name="connsiteX6" fmla="*/ 5269351 w 5681120"/>
              <a:gd name="connsiteY6" fmla="*/ 3013902 h 6860681"/>
              <a:gd name="connsiteX7" fmla="*/ 3373222 w 5681120"/>
              <a:gd name="connsiteY7" fmla="*/ 154751 h 6860681"/>
              <a:gd name="connsiteX8" fmla="*/ 3087362 w 5681120"/>
              <a:gd name="connsiteY8" fmla="*/ 1 h 6860681"/>
              <a:gd name="connsiteX9" fmla="*/ 0 w 5681120"/>
              <a:gd name="connsiteY9" fmla="*/ 0 h 6860681"/>
              <a:gd name="connsiteX10" fmla="*/ 3888685 w 5681120"/>
              <a:gd name="connsiteY10" fmla="*/ 0 h 6860681"/>
              <a:gd name="connsiteX11" fmla="*/ 5437733 w 5681120"/>
              <a:gd name="connsiteY11" fmla="*/ 5161393 h 6860681"/>
              <a:gd name="connsiteX12" fmla="*/ 4096079 w 5681120"/>
              <a:gd name="connsiteY12" fmla="*/ 6860681 h 6860681"/>
              <a:gd name="connsiteX13" fmla="*/ 0 w 5681120"/>
              <a:gd name="connsiteY13" fmla="*/ 6860681 h 686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1120" h="6860681">
                <a:moveTo>
                  <a:pt x="2401045" y="1"/>
                </a:moveTo>
                <a:cubicBezTo>
                  <a:pt x="2536900" y="51563"/>
                  <a:pt x="2670470" y="111761"/>
                  <a:pt x="2801249" y="180595"/>
                </a:cubicBezTo>
                <a:cubicBezTo>
                  <a:pt x="3667521" y="635700"/>
                  <a:pt x="4330932" y="1420941"/>
                  <a:pt x="4670917" y="2390776"/>
                </a:cubicBezTo>
                <a:cubicBezTo>
                  <a:pt x="5011728" y="3362644"/>
                  <a:pt x="4982476" y="4393376"/>
                  <a:pt x="4588491" y="5293107"/>
                </a:cubicBezTo>
                <a:cubicBezTo>
                  <a:pt x="4303646" y="5943665"/>
                  <a:pt x="3845002" y="6480621"/>
                  <a:pt x="3262051" y="6858001"/>
                </a:cubicBezTo>
                <a:lnTo>
                  <a:pt x="3618408" y="6858001"/>
                </a:lnTo>
                <a:cubicBezTo>
                  <a:pt x="4810199" y="6005133"/>
                  <a:pt x="5490171" y="4511613"/>
                  <a:pt x="5269351" y="3013902"/>
                </a:cubicBezTo>
                <a:cubicBezTo>
                  <a:pt x="5097201" y="1810831"/>
                  <a:pt x="4406061" y="768669"/>
                  <a:pt x="3373222" y="154751"/>
                </a:cubicBezTo>
                <a:cubicBezTo>
                  <a:pt x="3279501" y="99125"/>
                  <a:pt x="3184129" y="47499"/>
                  <a:pt x="3087362" y="1"/>
                </a:cubicBezTo>
                <a:close/>
                <a:moveTo>
                  <a:pt x="0" y="0"/>
                </a:moveTo>
                <a:lnTo>
                  <a:pt x="3888685" y="0"/>
                </a:lnTo>
                <a:cubicBezTo>
                  <a:pt x="5541875" y="1030183"/>
                  <a:pt x="6033690" y="3349918"/>
                  <a:pt x="5437733" y="5161393"/>
                </a:cubicBezTo>
                <a:cubicBezTo>
                  <a:pt x="5188744" y="5932457"/>
                  <a:pt x="4704167" y="6494906"/>
                  <a:pt x="4096079" y="6860681"/>
                </a:cubicBezTo>
                <a:cubicBezTo>
                  <a:pt x="4096079" y="6860681"/>
                  <a:pt x="0" y="6860681"/>
                  <a:pt x="0" y="6860681"/>
                </a:cubicBezTo>
                <a:close/>
              </a:path>
            </a:pathLst>
          </a:custGeom>
        </p:spPr>
        <p:txBody>
          <a:bodyPr wrap="square" anchor="ctr">
            <a:noAutofit/>
          </a:bodyPr>
          <a:lstStyle>
            <a:lvl1pPr marL="0" marR="0" indent="0" algn="ctr" defTabSz="914400" rtl="0" eaLnBrk="1" fontAlgn="auto" latinLnBrk="0" hangingPunct="1">
              <a:lnSpc>
                <a:spcPct val="100000"/>
              </a:lnSpc>
              <a:spcBef>
                <a:spcPts val="1000"/>
              </a:spcBef>
              <a:spcAft>
                <a:spcPts val="1000"/>
              </a:spcAft>
              <a:buClr>
                <a:srgbClr val="47DA86"/>
              </a:buClr>
              <a:buSzTx/>
              <a:buFont typeface="Arial" panose="020B0604020202020204" pitchFamily="34" charset="0"/>
              <a:buNone/>
              <a:tabLst/>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36245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List">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3" y="3755424"/>
            <a:ext cx="3187973" cy="520092"/>
          </a:xfrm>
        </p:spPr>
        <p:txBody>
          <a:bodyPr>
            <a:noAutofit/>
          </a:bodyPr>
          <a:lstStyle>
            <a:lvl1pPr marL="0" indent="0" algn="ctr">
              <a:spcBef>
                <a:spcPts val="0"/>
              </a:spcBef>
              <a:buNone/>
              <a:defRPr sz="2400" b="1">
                <a:solidFill>
                  <a:srgbClr val="47DA86"/>
                </a:solidFill>
                <a:latin typeface="+mj-lt"/>
              </a:defRPr>
            </a:lvl1pPr>
          </a:lstStyle>
          <a:p>
            <a:pPr lvl="0"/>
            <a:r>
              <a:rPr lang="en-GB"/>
              <a:t>Header 1</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3" y="4275517"/>
            <a:ext cx="3187973" cy="1529972"/>
          </a:xfrm>
        </p:spPr>
        <p:txBody>
          <a:bodyPr>
            <a:noAutofit/>
          </a:bodyPr>
          <a:lstStyle>
            <a:lvl1pPr marL="0" indent="0" algn="ctr">
              <a:buNone/>
              <a:defRPr sz="12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12" name="Picture Placeholder 11">
            <a:extLst>
              <a:ext uri="{FF2B5EF4-FFF2-40B4-BE49-F238E27FC236}">
                <a16:creationId xmlns:a16="http://schemas.microsoft.com/office/drawing/2014/main" id="{CC37CBB0-B119-C056-ACE1-050494F161BC}"/>
              </a:ext>
            </a:extLst>
          </p:cNvPr>
          <p:cNvSpPr>
            <a:spLocks noGrp="1"/>
          </p:cNvSpPr>
          <p:nvPr>
            <p:ph type="pic" sz="quarter" idx="18"/>
          </p:nvPr>
        </p:nvSpPr>
        <p:spPr>
          <a:xfrm>
            <a:off x="4619918"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GB"/>
              <a:t>Click icon to add picture</a:t>
            </a:r>
          </a:p>
        </p:txBody>
      </p:sp>
      <p:sp>
        <p:nvSpPr>
          <p:cNvPr id="13" name="Text Placeholder 11">
            <a:extLst>
              <a:ext uri="{FF2B5EF4-FFF2-40B4-BE49-F238E27FC236}">
                <a16:creationId xmlns:a16="http://schemas.microsoft.com/office/drawing/2014/main" id="{1C0119C8-1D9A-0DFA-77E1-D96E4EC70820}"/>
              </a:ext>
            </a:extLst>
          </p:cNvPr>
          <p:cNvSpPr>
            <a:spLocks noGrp="1"/>
          </p:cNvSpPr>
          <p:nvPr>
            <p:ph type="body" sz="quarter" idx="19" hasCustomPrompt="1"/>
          </p:nvPr>
        </p:nvSpPr>
        <p:spPr>
          <a:xfrm>
            <a:off x="4500345" y="4275517"/>
            <a:ext cx="3187973" cy="1529972"/>
          </a:xfrm>
        </p:spPr>
        <p:txBody>
          <a:bodyPr>
            <a:noAutofit/>
          </a:bodyPr>
          <a:lstStyle>
            <a:lvl1pPr marL="0" indent="0" algn="ctr">
              <a:buNone/>
              <a:defRPr sz="12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14" name="Text Placeholder 11">
            <a:extLst>
              <a:ext uri="{FF2B5EF4-FFF2-40B4-BE49-F238E27FC236}">
                <a16:creationId xmlns:a16="http://schemas.microsoft.com/office/drawing/2014/main" id="{D2914D5C-66D1-2DD5-239D-D767E5AD9FB1}"/>
              </a:ext>
            </a:extLst>
          </p:cNvPr>
          <p:cNvSpPr>
            <a:spLocks noGrp="1"/>
          </p:cNvSpPr>
          <p:nvPr>
            <p:ph type="body" sz="quarter" idx="20" hasCustomPrompt="1"/>
          </p:nvPr>
        </p:nvSpPr>
        <p:spPr>
          <a:xfrm>
            <a:off x="8343546" y="4275517"/>
            <a:ext cx="3187973" cy="1529972"/>
          </a:xfrm>
        </p:spPr>
        <p:txBody>
          <a:bodyPr>
            <a:noAutofit/>
          </a:bodyPr>
          <a:lstStyle>
            <a:lvl1pPr marL="0" indent="0" algn="ctr">
              <a:buNone/>
              <a:defRPr sz="12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p>
        </p:txBody>
      </p:sp>
      <p:sp>
        <p:nvSpPr>
          <p:cNvPr id="17" name="Picture Placeholder 16">
            <a:extLst>
              <a:ext uri="{FF2B5EF4-FFF2-40B4-BE49-F238E27FC236}">
                <a16:creationId xmlns:a16="http://schemas.microsoft.com/office/drawing/2014/main" id="{95EAB911-B33D-DF2F-9631-A9EE94552AD8}"/>
              </a:ext>
            </a:extLst>
          </p:cNvPr>
          <p:cNvSpPr>
            <a:spLocks noGrp="1"/>
          </p:cNvSpPr>
          <p:nvPr>
            <p:ph type="pic" sz="quarter" idx="21"/>
          </p:nvPr>
        </p:nvSpPr>
        <p:spPr>
          <a:xfrm>
            <a:off x="8463119"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GB"/>
              <a:t>Click icon to add picture</a:t>
            </a:r>
          </a:p>
        </p:txBody>
      </p:sp>
      <p:sp>
        <p:nvSpPr>
          <p:cNvPr id="18" name="Picture Placeholder 17">
            <a:extLst>
              <a:ext uri="{FF2B5EF4-FFF2-40B4-BE49-F238E27FC236}">
                <a16:creationId xmlns:a16="http://schemas.microsoft.com/office/drawing/2014/main" id="{680FA60A-84B6-E342-F780-1771576770FF}"/>
              </a:ext>
            </a:extLst>
          </p:cNvPr>
          <p:cNvSpPr>
            <a:spLocks noGrp="1"/>
          </p:cNvSpPr>
          <p:nvPr>
            <p:ph type="pic" sz="quarter" idx="22"/>
          </p:nvPr>
        </p:nvSpPr>
        <p:spPr>
          <a:xfrm>
            <a:off x="778386"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GB"/>
              <a:t>Click icon to add picture</a:t>
            </a:r>
          </a:p>
        </p:txBody>
      </p:sp>
      <p:sp>
        <p:nvSpPr>
          <p:cNvPr id="19" name="Text Placeholder 11">
            <a:extLst>
              <a:ext uri="{FF2B5EF4-FFF2-40B4-BE49-F238E27FC236}">
                <a16:creationId xmlns:a16="http://schemas.microsoft.com/office/drawing/2014/main" id="{4CDAB5D0-7F86-EA91-AB9B-1A439E9373FC}"/>
              </a:ext>
            </a:extLst>
          </p:cNvPr>
          <p:cNvSpPr>
            <a:spLocks noGrp="1"/>
          </p:cNvSpPr>
          <p:nvPr>
            <p:ph type="body" sz="quarter" idx="23" hasCustomPrompt="1"/>
          </p:nvPr>
        </p:nvSpPr>
        <p:spPr>
          <a:xfrm>
            <a:off x="4500345" y="3755424"/>
            <a:ext cx="3187973" cy="520092"/>
          </a:xfrm>
        </p:spPr>
        <p:txBody>
          <a:bodyPr>
            <a:noAutofit/>
          </a:bodyPr>
          <a:lstStyle>
            <a:lvl1pPr marL="0" indent="0" algn="ctr">
              <a:spcBef>
                <a:spcPts val="0"/>
              </a:spcBef>
              <a:buNone/>
              <a:defRPr sz="2400" b="1">
                <a:solidFill>
                  <a:srgbClr val="47DA86"/>
                </a:solidFill>
                <a:latin typeface="+mj-lt"/>
              </a:defRPr>
            </a:lvl1pPr>
          </a:lstStyle>
          <a:p>
            <a:pPr lvl="0"/>
            <a:r>
              <a:rPr lang="en-GB"/>
              <a:t>Header 2</a:t>
            </a:r>
          </a:p>
        </p:txBody>
      </p:sp>
      <p:sp>
        <p:nvSpPr>
          <p:cNvPr id="20" name="Text Placeholder 11">
            <a:extLst>
              <a:ext uri="{FF2B5EF4-FFF2-40B4-BE49-F238E27FC236}">
                <a16:creationId xmlns:a16="http://schemas.microsoft.com/office/drawing/2014/main" id="{7FC37118-FC7D-57FD-16B1-A498B8326CE2}"/>
              </a:ext>
            </a:extLst>
          </p:cNvPr>
          <p:cNvSpPr>
            <a:spLocks noGrp="1"/>
          </p:cNvSpPr>
          <p:nvPr>
            <p:ph type="body" sz="quarter" idx="24" hasCustomPrompt="1"/>
          </p:nvPr>
        </p:nvSpPr>
        <p:spPr>
          <a:xfrm>
            <a:off x="8343546" y="3755424"/>
            <a:ext cx="3187973" cy="520092"/>
          </a:xfrm>
        </p:spPr>
        <p:txBody>
          <a:bodyPr>
            <a:noAutofit/>
          </a:bodyPr>
          <a:lstStyle>
            <a:lvl1pPr marL="0" indent="0" algn="ctr">
              <a:spcBef>
                <a:spcPts val="0"/>
              </a:spcBef>
              <a:buNone/>
              <a:defRPr sz="2400" b="1">
                <a:solidFill>
                  <a:srgbClr val="47DA86"/>
                </a:solidFill>
                <a:latin typeface="+mj-lt"/>
              </a:defRPr>
            </a:lvl1pPr>
          </a:lstStyle>
          <a:p>
            <a:pPr lvl="0"/>
            <a:r>
              <a:rPr lang="en-GB"/>
              <a:t>Header 3</a:t>
            </a:r>
          </a:p>
        </p:txBody>
      </p:sp>
      <p:sp>
        <p:nvSpPr>
          <p:cNvPr id="4" name="Slide Number Placeholder 3">
            <a:extLst>
              <a:ext uri="{FF2B5EF4-FFF2-40B4-BE49-F238E27FC236}">
                <a16:creationId xmlns:a16="http://schemas.microsoft.com/office/drawing/2014/main" id="{B1720F34-EE38-1EB6-D2BC-389D6E7C2435}"/>
              </a:ext>
            </a:extLst>
          </p:cNvPr>
          <p:cNvSpPr>
            <a:spLocks noGrp="1"/>
          </p:cNvSpPr>
          <p:nvPr>
            <p:ph type="sldNum" sz="quarter" idx="25"/>
          </p:nvPr>
        </p:nvSpPr>
        <p:spPr/>
        <p:txBody>
          <a:bodyPr/>
          <a:lstStyle/>
          <a:p>
            <a:fld id="{0994303E-A424-9540-91A8-53B791C91E8F}" type="slidenum">
              <a:rPr lang="en-GB" smtClean="0"/>
              <a:pPr/>
              <a:t>‹#›</a:t>
            </a:fld>
            <a:endParaRPr lang="en-GB"/>
          </a:p>
        </p:txBody>
      </p:sp>
    </p:spTree>
    <p:extLst>
      <p:ext uri="{BB962C8B-B14F-4D97-AF65-F5344CB8AC3E}">
        <p14:creationId xmlns:p14="http://schemas.microsoft.com/office/powerpoint/2010/main" val="475413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ebbles (Gree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1720F34-EE38-1EB6-D2BC-389D6E7C2435}"/>
              </a:ext>
            </a:extLst>
          </p:cNvPr>
          <p:cNvSpPr>
            <a:spLocks noGrp="1"/>
          </p:cNvSpPr>
          <p:nvPr>
            <p:ph type="sldNum" sz="quarter" idx="25"/>
          </p:nvPr>
        </p:nvSpPr>
        <p:spPr/>
        <p:txBody>
          <a:bodyPr/>
          <a:lstStyle/>
          <a:p>
            <a:fld id="{0994303E-A424-9540-91A8-53B791C91E8F}" type="slidenum">
              <a:rPr lang="en-GB" smtClean="0"/>
              <a:pPr/>
              <a:t>‹#›</a:t>
            </a:fld>
            <a:endParaRPr lang="en-GB"/>
          </a:p>
        </p:txBody>
      </p:sp>
      <p:sp>
        <p:nvSpPr>
          <p:cNvPr id="2" name="Picture Placeholder 65">
            <a:extLst>
              <a:ext uri="{FF2B5EF4-FFF2-40B4-BE49-F238E27FC236}">
                <a16:creationId xmlns:a16="http://schemas.microsoft.com/office/drawing/2014/main" id="{9837690D-0E7C-A9A8-61D2-D0E7E3260621}"/>
              </a:ext>
            </a:extLst>
          </p:cNvPr>
          <p:cNvSpPr>
            <a:spLocks noGrp="1"/>
          </p:cNvSpPr>
          <p:nvPr>
            <p:ph type="pic" sz="quarter" idx="15"/>
          </p:nvPr>
        </p:nvSpPr>
        <p:spPr>
          <a:xfrm>
            <a:off x="6508923" y="3620604"/>
            <a:ext cx="1154057" cy="1164548"/>
          </a:xfrm>
          <a:custGeom>
            <a:avLst/>
            <a:gdLst>
              <a:gd name="connsiteX0" fmla="*/ 620546 w 1154057"/>
              <a:gd name="connsiteY0" fmla="*/ 1074 h 1164548"/>
              <a:gd name="connsiteX1" fmla="*/ 740037 w 1154057"/>
              <a:gd name="connsiteY1" fmla="*/ 30926 h 1164548"/>
              <a:gd name="connsiteX2" fmla="*/ 1149079 w 1154057"/>
              <a:gd name="connsiteY2" fmla="*/ 544452 h 1164548"/>
              <a:gd name="connsiteX3" fmla="*/ 1006132 w 1154057"/>
              <a:gd name="connsiteY3" fmla="*/ 957097 h 1164548"/>
              <a:gd name="connsiteX4" fmla="*/ 883647 w 1154057"/>
              <a:gd name="connsiteY4" fmla="*/ 1053039 h 1164548"/>
              <a:gd name="connsiteX5" fmla="*/ 162661 w 1154057"/>
              <a:gd name="connsiteY5" fmla="*/ 1067667 h 1164548"/>
              <a:gd name="connsiteX6" fmla="*/ 579 w 1154057"/>
              <a:gd name="connsiteY6" fmla="*/ 741180 h 1164548"/>
              <a:gd name="connsiteX7" fmla="*/ 256727 w 1154057"/>
              <a:gd name="connsiteY7" fmla="*/ 146531 h 1164548"/>
              <a:gd name="connsiteX8" fmla="*/ 620546 w 1154057"/>
              <a:gd name="connsiteY8" fmla="*/ 1074 h 116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4057" h="1164548">
                <a:moveTo>
                  <a:pt x="620546" y="1074"/>
                </a:moveTo>
                <a:cubicBezTo>
                  <a:pt x="661868" y="4174"/>
                  <a:pt x="702145" y="14018"/>
                  <a:pt x="740037" y="30926"/>
                </a:cubicBezTo>
                <a:cubicBezTo>
                  <a:pt x="949389" y="123543"/>
                  <a:pt x="1117629" y="334710"/>
                  <a:pt x="1149079" y="544452"/>
                </a:cubicBezTo>
                <a:cubicBezTo>
                  <a:pt x="1171057" y="698529"/>
                  <a:pt x="1119713" y="843201"/>
                  <a:pt x="1006132" y="957097"/>
                </a:cubicBezTo>
                <a:cubicBezTo>
                  <a:pt x="971083" y="992244"/>
                  <a:pt x="930159" y="1024446"/>
                  <a:pt x="883647" y="1053039"/>
                </a:cubicBezTo>
                <a:cubicBezTo>
                  <a:pt x="651181" y="1196096"/>
                  <a:pt x="354772" y="1202081"/>
                  <a:pt x="162661" y="1067667"/>
                </a:cubicBezTo>
                <a:cubicBezTo>
                  <a:pt x="62721" y="988634"/>
                  <a:pt x="6736" y="875689"/>
                  <a:pt x="579" y="741180"/>
                </a:cubicBezTo>
                <a:cubicBezTo>
                  <a:pt x="-8705" y="539607"/>
                  <a:pt x="94456" y="299943"/>
                  <a:pt x="256727" y="146531"/>
                </a:cubicBezTo>
                <a:cubicBezTo>
                  <a:pt x="363227" y="43156"/>
                  <a:pt x="496583" y="-8228"/>
                  <a:pt x="620546" y="1074"/>
                </a:cubicBezTo>
                <a:close/>
              </a:path>
            </a:pathLst>
          </a:custGeom>
        </p:spPr>
        <p:txBody>
          <a:bodyPr wrap="square" anchor="ctr">
            <a:noAutofit/>
          </a:bodyPr>
          <a:lstStyle>
            <a:lvl1pPr marL="0" indent="0" algn="ctr">
              <a:buNone/>
              <a:defRPr sz="1000">
                <a:solidFill>
                  <a:schemeClr val="bg1"/>
                </a:solidFill>
              </a:defRPr>
            </a:lvl1pPr>
          </a:lstStyle>
          <a:p>
            <a:r>
              <a:rPr lang="en-GB"/>
              <a:t>Click icon to add picture</a:t>
            </a:r>
          </a:p>
        </p:txBody>
      </p:sp>
      <p:sp>
        <p:nvSpPr>
          <p:cNvPr id="5" name="Picture Placeholder 66">
            <a:extLst>
              <a:ext uri="{FF2B5EF4-FFF2-40B4-BE49-F238E27FC236}">
                <a16:creationId xmlns:a16="http://schemas.microsoft.com/office/drawing/2014/main" id="{901EA444-14DF-630E-978D-84C0117E66D6}"/>
              </a:ext>
            </a:extLst>
          </p:cNvPr>
          <p:cNvSpPr>
            <a:spLocks noGrp="1"/>
          </p:cNvSpPr>
          <p:nvPr>
            <p:ph type="pic" sz="quarter" idx="16"/>
          </p:nvPr>
        </p:nvSpPr>
        <p:spPr>
          <a:xfrm>
            <a:off x="7810410" y="3608348"/>
            <a:ext cx="1107883" cy="1189060"/>
          </a:xfrm>
          <a:custGeom>
            <a:avLst/>
            <a:gdLst>
              <a:gd name="connsiteX0" fmla="*/ 518352 w 1107883"/>
              <a:gd name="connsiteY0" fmla="*/ 3 h 1189060"/>
              <a:gd name="connsiteX1" fmla="*/ 916906 w 1107883"/>
              <a:gd name="connsiteY1" fmla="*/ 119284 h 1189060"/>
              <a:gd name="connsiteX2" fmla="*/ 1107883 w 1107883"/>
              <a:gd name="connsiteY2" fmla="*/ 511437 h 1189060"/>
              <a:gd name="connsiteX3" fmla="*/ 1088833 w 1107883"/>
              <a:gd name="connsiteY3" fmla="*/ 665779 h 1189060"/>
              <a:gd name="connsiteX4" fmla="*/ 586579 w 1107883"/>
              <a:gd name="connsiteY4" fmla="*/ 1186029 h 1189060"/>
              <a:gd name="connsiteX5" fmla="*/ 239869 w 1107883"/>
              <a:gd name="connsiteY5" fmla="*/ 1070344 h 1189060"/>
              <a:gd name="connsiteX6" fmla="*/ 316 w 1107883"/>
              <a:gd name="connsiteY6" fmla="*/ 469749 h 1189060"/>
              <a:gd name="connsiteX7" fmla="*/ 261967 w 1107883"/>
              <a:gd name="connsiteY7" fmla="*/ 46424 h 1189060"/>
              <a:gd name="connsiteX8" fmla="*/ 518352 w 1107883"/>
              <a:gd name="connsiteY8" fmla="*/ 3 h 118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883" h="1189060">
                <a:moveTo>
                  <a:pt x="518352" y="3"/>
                </a:moveTo>
                <a:cubicBezTo>
                  <a:pt x="664673" y="-378"/>
                  <a:pt x="809989" y="40763"/>
                  <a:pt x="916906" y="119284"/>
                </a:cubicBezTo>
                <a:cubicBezTo>
                  <a:pt x="1041779" y="212419"/>
                  <a:pt x="1107883" y="350748"/>
                  <a:pt x="1107883" y="511437"/>
                </a:cubicBezTo>
                <a:cubicBezTo>
                  <a:pt x="1107883" y="560990"/>
                  <a:pt x="1101596" y="612626"/>
                  <a:pt x="1088833" y="665779"/>
                </a:cubicBezTo>
                <a:cubicBezTo>
                  <a:pt x="1025015" y="931068"/>
                  <a:pt x="818513" y="1144909"/>
                  <a:pt x="586579" y="1186029"/>
                </a:cubicBezTo>
                <a:cubicBezTo>
                  <a:pt x="459516" y="1200904"/>
                  <a:pt x="339596" y="1160827"/>
                  <a:pt x="239869" y="1070344"/>
                </a:cubicBezTo>
                <a:cubicBezTo>
                  <a:pt x="90327" y="934668"/>
                  <a:pt x="-6257" y="692781"/>
                  <a:pt x="316" y="469749"/>
                </a:cubicBezTo>
                <a:cubicBezTo>
                  <a:pt x="3554" y="272109"/>
                  <a:pt x="106234" y="105924"/>
                  <a:pt x="261967" y="46424"/>
                </a:cubicBezTo>
                <a:cubicBezTo>
                  <a:pt x="342406" y="15407"/>
                  <a:pt x="430560" y="231"/>
                  <a:pt x="518352" y="3"/>
                </a:cubicBezTo>
                <a:close/>
              </a:path>
            </a:pathLst>
          </a:custGeom>
        </p:spPr>
        <p:txBody>
          <a:bodyPr wrap="square" anchor="ctr">
            <a:noAutofit/>
          </a:bodyPr>
          <a:lstStyle>
            <a:lvl1pPr marL="0" indent="0" algn="ctr">
              <a:buNone/>
              <a:defRPr sz="1000">
                <a:solidFill>
                  <a:schemeClr val="bg1"/>
                </a:solidFill>
              </a:defRPr>
            </a:lvl1pPr>
          </a:lstStyle>
          <a:p>
            <a:r>
              <a:rPr lang="en-GB"/>
              <a:t>Click icon to add picture</a:t>
            </a:r>
          </a:p>
        </p:txBody>
      </p:sp>
      <p:sp>
        <p:nvSpPr>
          <p:cNvPr id="6" name="Picture Placeholder 67">
            <a:extLst>
              <a:ext uri="{FF2B5EF4-FFF2-40B4-BE49-F238E27FC236}">
                <a16:creationId xmlns:a16="http://schemas.microsoft.com/office/drawing/2014/main" id="{0E68EB39-C372-168A-A3CC-8F3CF1317A85}"/>
              </a:ext>
            </a:extLst>
          </p:cNvPr>
          <p:cNvSpPr>
            <a:spLocks noGrp="1"/>
          </p:cNvSpPr>
          <p:nvPr>
            <p:ph type="pic" sz="quarter" idx="17"/>
          </p:nvPr>
        </p:nvSpPr>
        <p:spPr>
          <a:xfrm>
            <a:off x="7803666" y="2055915"/>
            <a:ext cx="1164457" cy="1154057"/>
          </a:xfrm>
          <a:custGeom>
            <a:avLst/>
            <a:gdLst>
              <a:gd name="connsiteX0" fmla="*/ 657822 w 1164457"/>
              <a:gd name="connsiteY0" fmla="*/ 2070 h 1154057"/>
              <a:gd name="connsiteX1" fmla="*/ 957005 w 1164457"/>
              <a:gd name="connsiteY1" fmla="*/ 147925 h 1154057"/>
              <a:gd name="connsiteX2" fmla="*/ 1052947 w 1164457"/>
              <a:gd name="connsiteY2" fmla="*/ 270411 h 1154057"/>
              <a:gd name="connsiteX3" fmla="*/ 1067576 w 1164457"/>
              <a:gd name="connsiteY3" fmla="*/ 991397 h 1154057"/>
              <a:gd name="connsiteX4" fmla="*/ 741089 w 1164457"/>
              <a:gd name="connsiteY4" fmla="*/ 1153384 h 1154057"/>
              <a:gd name="connsiteX5" fmla="*/ 741184 w 1164457"/>
              <a:gd name="connsiteY5" fmla="*/ 1153479 h 1154057"/>
              <a:gd name="connsiteX6" fmla="*/ 146440 w 1164457"/>
              <a:gd name="connsiteY6" fmla="*/ 897331 h 1154057"/>
              <a:gd name="connsiteX7" fmla="*/ 30930 w 1164457"/>
              <a:gd name="connsiteY7" fmla="*/ 414021 h 1154057"/>
              <a:gd name="connsiteX8" fmla="*/ 544361 w 1164457"/>
              <a:gd name="connsiteY8" fmla="*/ 4979 h 1154057"/>
              <a:gd name="connsiteX9" fmla="*/ 657822 w 1164457"/>
              <a:gd name="connsiteY9" fmla="*/ 2070 h 115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4457" h="1154057">
                <a:moveTo>
                  <a:pt x="657822" y="2070"/>
                </a:moveTo>
                <a:cubicBezTo>
                  <a:pt x="768851" y="12563"/>
                  <a:pt x="871584" y="62740"/>
                  <a:pt x="957005" y="147925"/>
                </a:cubicBezTo>
                <a:cubicBezTo>
                  <a:pt x="992152" y="182975"/>
                  <a:pt x="1024355" y="223898"/>
                  <a:pt x="1052947" y="270411"/>
                </a:cubicBezTo>
                <a:cubicBezTo>
                  <a:pt x="1196005" y="502877"/>
                  <a:pt x="1201990" y="799286"/>
                  <a:pt x="1067576" y="991397"/>
                </a:cubicBezTo>
                <a:cubicBezTo>
                  <a:pt x="988543" y="1091242"/>
                  <a:pt x="875502" y="1147227"/>
                  <a:pt x="741089" y="1153384"/>
                </a:cubicBezTo>
                <a:lnTo>
                  <a:pt x="741184" y="1153479"/>
                </a:lnTo>
                <a:cubicBezTo>
                  <a:pt x="539516" y="1162763"/>
                  <a:pt x="299947" y="1059602"/>
                  <a:pt x="146440" y="897331"/>
                </a:cubicBezTo>
                <a:cubicBezTo>
                  <a:pt x="8702" y="755331"/>
                  <a:pt x="-36705" y="565588"/>
                  <a:pt x="30930" y="414021"/>
                </a:cubicBezTo>
                <a:cubicBezTo>
                  <a:pt x="123547" y="204668"/>
                  <a:pt x="334714" y="36429"/>
                  <a:pt x="544361" y="4979"/>
                </a:cubicBezTo>
                <a:cubicBezTo>
                  <a:pt x="582880" y="-515"/>
                  <a:pt x="620812" y="-1427"/>
                  <a:pt x="657822" y="2070"/>
                </a:cubicBezTo>
                <a:close/>
              </a:path>
            </a:pathLst>
          </a:custGeom>
        </p:spPr>
        <p:txBody>
          <a:bodyPr wrap="square" anchor="ctr">
            <a:noAutofit/>
          </a:bodyPr>
          <a:lstStyle>
            <a:lvl1pPr marL="0" indent="0" algn="ctr">
              <a:buNone/>
              <a:defRPr sz="1000">
                <a:solidFill>
                  <a:schemeClr val="bg1"/>
                </a:solidFill>
              </a:defRPr>
            </a:lvl1pPr>
          </a:lstStyle>
          <a:p>
            <a:r>
              <a:rPr lang="en-GB"/>
              <a:t>Click icon to add picture</a:t>
            </a:r>
          </a:p>
        </p:txBody>
      </p:sp>
      <p:sp>
        <p:nvSpPr>
          <p:cNvPr id="7" name="Picture Placeholder 68">
            <a:extLst>
              <a:ext uri="{FF2B5EF4-FFF2-40B4-BE49-F238E27FC236}">
                <a16:creationId xmlns:a16="http://schemas.microsoft.com/office/drawing/2014/main" id="{CC390C26-22D6-1A6E-8B73-EB0A727B0C7A}"/>
              </a:ext>
            </a:extLst>
          </p:cNvPr>
          <p:cNvSpPr>
            <a:spLocks noGrp="1"/>
          </p:cNvSpPr>
          <p:nvPr>
            <p:ph type="pic" sz="quarter" idx="18"/>
          </p:nvPr>
        </p:nvSpPr>
        <p:spPr>
          <a:xfrm>
            <a:off x="9065723" y="3648937"/>
            <a:ext cx="1189061" cy="1107883"/>
          </a:xfrm>
          <a:custGeom>
            <a:avLst/>
            <a:gdLst>
              <a:gd name="connsiteX0" fmla="*/ 719312 w 1189061"/>
              <a:gd name="connsiteY0" fmla="*/ 316 h 1107883"/>
              <a:gd name="connsiteX1" fmla="*/ 1142638 w 1189061"/>
              <a:gd name="connsiteY1" fmla="*/ 261967 h 1107883"/>
              <a:gd name="connsiteX2" fmla="*/ 1069778 w 1189061"/>
              <a:gd name="connsiteY2" fmla="*/ 916906 h 1107883"/>
              <a:gd name="connsiteX3" fmla="*/ 677624 w 1189061"/>
              <a:gd name="connsiteY3" fmla="*/ 1107883 h 1107883"/>
              <a:gd name="connsiteX4" fmla="*/ 523283 w 1189061"/>
              <a:gd name="connsiteY4" fmla="*/ 1088833 h 1107883"/>
              <a:gd name="connsiteX5" fmla="*/ 3032 w 1189061"/>
              <a:gd name="connsiteY5" fmla="*/ 586579 h 1107883"/>
              <a:gd name="connsiteX6" fmla="*/ 118717 w 1189061"/>
              <a:gd name="connsiteY6" fmla="*/ 239869 h 1107883"/>
              <a:gd name="connsiteX7" fmla="*/ 719312 w 1189061"/>
              <a:gd name="connsiteY7" fmla="*/ 316 h 110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1" h="1107883">
                <a:moveTo>
                  <a:pt x="719312" y="316"/>
                </a:moveTo>
                <a:cubicBezTo>
                  <a:pt x="916953" y="3554"/>
                  <a:pt x="1083137" y="106234"/>
                  <a:pt x="1142638" y="261967"/>
                </a:cubicBezTo>
                <a:cubicBezTo>
                  <a:pt x="1225351" y="476470"/>
                  <a:pt x="1195411" y="745838"/>
                  <a:pt x="1069778" y="916906"/>
                </a:cubicBezTo>
                <a:cubicBezTo>
                  <a:pt x="976643" y="1041779"/>
                  <a:pt x="838313" y="1107883"/>
                  <a:pt x="677624" y="1107883"/>
                </a:cubicBezTo>
                <a:cubicBezTo>
                  <a:pt x="628072" y="1107883"/>
                  <a:pt x="576435" y="1101596"/>
                  <a:pt x="523283" y="1088833"/>
                </a:cubicBezTo>
                <a:cubicBezTo>
                  <a:pt x="257994" y="1025015"/>
                  <a:pt x="44152" y="818513"/>
                  <a:pt x="3032" y="586579"/>
                </a:cubicBezTo>
                <a:cubicBezTo>
                  <a:pt x="-11843" y="459516"/>
                  <a:pt x="28235" y="339596"/>
                  <a:pt x="118717" y="239869"/>
                </a:cubicBezTo>
                <a:cubicBezTo>
                  <a:pt x="254394" y="90327"/>
                  <a:pt x="496280" y="-6257"/>
                  <a:pt x="719312" y="316"/>
                </a:cubicBezTo>
                <a:close/>
              </a:path>
            </a:pathLst>
          </a:custGeom>
        </p:spPr>
        <p:txBody>
          <a:bodyPr wrap="square" anchor="ctr">
            <a:noAutofit/>
          </a:bodyPr>
          <a:lstStyle>
            <a:lvl1pPr marL="0" indent="0" algn="ctr">
              <a:buNone/>
              <a:defRPr sz="1000">
                <a:solidFill>
                  <a:schemeClr val="bg1"/>
                </a:solidFill>
              </a:defRPr>
            </a:lvl1pPr>
          </a:lstStyle>
          <a:p>
            <a:r>
              <a:rPr lang="en-GB"/>
              <a:t>Click icon to add picture</a:t>
            </a:r>
          </a:p>
        </p:txBody>
      </p:sp>
      <p:sp>
        <p:nvSpPr>
          <p:cNvPr id="8" name="Picture Placeholder 69">
            <a:extLst>
              <a:ext uri="{FF2B5EF4-FFF2-40B4-BE49-F238E27FC236}">
                <a16:creationId xmlns:a16="http://schemas.microsoft.com/office/drawing/2014/main" id="{636EDA37-306D-666A-B716-712DC5667441}"/>
              </a:ext>
            </a:extLst>
          </p:cNvPr>
          <p:cNvSpPr>
            <a:spLocks noGrp="1"/>
          </p:cNvSpPr>
          <p:nvPr>
            <p:ph type="pic" sz="quarter" idx="19"/>
          </p:nvPr>
        </p:nvSpPr>
        <p:spPr>
          <a:xfrm>
            <a:off x="9091307" y="2055915"/>
            <a:ext cx="1164633" cy="1154057"/>
          </a:xfrm>
          <a:custGeom>
            <a:avLst/>
            <a:gdLst>
              <a:gd name="connsiteX0" fmla="*/ 423358 w 1164633"/>
              <a:gd name="connsiteY0" fmla="*/ 579 h 1154057"/>
              <a:gd name="connsiteX1" fmla="*/ 1018102 w 1164633"/>
              <a:gd name="connsiteY1" fmla="*/ 256727 h 1154057"/>
              <a:gd name="connsiteX2" fmla="*/ 1133708 w 1164633"/>
              <a:gd name="connsiteY2" fmla="*/ 740037 h 1154057"/>
              <a:gd name="connsiteX3" fmla="*/ 620182 w 1164633"/>
              <a:gd name="connsiteY3" fmla="*/ 1149079 h 1154057"/>
              <a:gd name="connsiteX4" fmla="*/ 207537 w 1164633"/>
              <a:gd name="connsiteY4" fmla="*/ 1006132 h 1154057"/>
              <a:gd name="connsiteX5" fmla="*/ 111595 w 1164633"/>
              <a:gd name="connsiteY5" fmla="*/ 883647 h 1154057"/>
              <a:gd name="connsiteX6" fmla="*/ 96871 w 1164633"/>
              <a:gd name="connsiteY6" fmla="*/ 162661 h 1154057"/>
              <a:gd name="connsiteX7" fmla="*/ 423358 w 1164633"/>
              <a:gd name="connsiteY7" fmla="*/ 579 h 115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633" h="1154057">
                <a:moveTo>
                  <a:pt x="423358" y="579"/>
                </a:moveTo>
                <a:cubicBezTo>
                  <a:pt x="625026" y="-8705"/>
                  <a:pt x="864596" y="94456"/>
                  <a:pt x="1018102" y="256727"/>
                </a:cubicBezTo>
                <a:cubicBezTo>
                  <a:pt x="1155936" y="398727"/>
                  <a:pt x="1201342" y="588470"/>
                  <a:pt x="1133708" y="740037"/>
                </a:cubicBezTo>
                <a:cubicBezTo>
                  <a:pt x="1041090" y="949389"/>
                  <a:pt x="829924" y="1117629"/>
                  <a:pt x="620182" y="1149079"/>
                </a:cubicBezTo>
                <a:cubicBezTo>
                  <a:pt x="466105" y="1171057"/>
                  <a:pt x="321432" y="1119713"/>
                  <a:pt x="207537" y="1006132"/>
                </a:cubicBezTo>
                <a:cubicBezTo>
                  <a:pt x="172390" y="971083"/>
                  <a:pt x="140188" y="930159"/>
                  <a:pt x="111595" y="883647"/>
                </a:cubicBezTo>
                <a:cubicBezTo>
                  <a:pt x="-31558" y="651181"/>
                  <a:pt x="-37542" y="354772"/>
                  <a:pt x="96871" y="162661"/>
                </a:cubicBezTo>
                <a:cubicBezTo>
                  <a:pt x="175905" y="62721"/>
                  <a:pt x="288850" y="6736"/>
                  <a:pt x="423358" y="579"/>
                </a:cubicBezTo>
                <a:close/>
              </a:path>
            </a:pathLst>
          </a:custGeom>
        </p:spPr>
        <p:txBody>
          <a:bodyPr wrap="square" anchor="ctr">
            <a:noAutofit/>
          </a:bodyPr>
          <a:lstStyle>
            <a:lvl1pPr marL="0" indent="0" algn="ctr">
              <a:buNone/>
              <a:defRPr sz="1000">
                <a:solidFill>
                  <a:schemeClr val="bg1"/>
                </a:solidFill>
              </a:defRPr>
            </a:lvl1pPr>
          </a:lstStyle>
          <a:p>
            <a:r>
              <a:rPr lang="en-GB"/>
              <a:t>Click icon to add picture</a:t>
            </a:r>
          </a:p>
        </p:txBody>
      </p:sp>
      <p:sp>
        <p:nvSpPr>
          <p:cNvPr id="9" name="Picture Placeholder 70">
            <a:extLst>
              <a:ext uri="{FF2B5EF4-FFF2-40B4-BE49-F238E27FC236}">
                <a16:creationId xmlns:a16="http://schemas.microsoft.com/office/drawing/2014/main" id="{F44AAF14-9864-C522-76DD-39D054272F76}"/>
              </a:ext>
            </a:extLst>
          </p:cNvPr>
          <p:cNvSpPr>
            <a:spLocks noGrp="1"/>
          </p:cNvSpPr>
          <p:nvPr>
            <p:ph type="pic" sz="quarter" idx="20"/>
          </p:nvPr>
        </p:nvSpPr>
        <p:spPr>
          <a:xfrm>
            <a:off x="10402215" y="3608348"/>
            <a:ext cx="1107882" cy="1189061"/>
          </a:xfrm>
          <a:custGeom>
            <a:avLst/>
            <a:gdLst>
              <a:gd name="connsiteX0" fmla="*/ 615058 w 1107882"/>
              <a:gd name="connsiteY0" fmla="*/ 2108 h 1189061"/>
              <a:gd name="connsiteX1" fmla="*/ 868013 w 1107882"/>
              <a:gd name="connsiteY1" fmla="*/ 118717 h 1189061"/>
              <a:gd name="connsiteX2" fmla="*/ 1107567 w 1107882"/>
              <a:gd name="connsiteY2" fmla="*/ 719312 h 1189061"/>
              <a:gd name="connsiteX3" fmla="*/ 845915 w 1107882"/>
              <a:gd name="connsiteY3" fmla="*/ 1142638 h 1189061"/>
              <a:gd name="connsiteX4" fmla="*/ 190976 w 1107882"/>
              <a:gd name="connsiteY4" fmla="*/ 1069778 h 1189061"/>
              <a:gd name="connsiteX5" fmla="*/ 0 w 1107882"/>
              <a:gd name="connsiteY5" fmla="*/ 677624 h 1189061"/>
              <a:gd name="connsiteX6" fmla="*/ 19050 w 1107882"/>
              <a:gd name="connsiteY6" fmla="*/ 523283 h 1189061"/>
              <a:gd name="connsiteX7" fmla="*/ 521303 w 1107882"/>
              <a:gd name="connsiteY7" fmla="*/ 3032 h 1189061"/>
              <a:gd name="connsiteX8" fmla="*/ 615058 w 1107882"/>
              <a:gd name="connsiteY8" fmla="*/ 2108 h 118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882" h="1189061">
                <a:moveTo>
                  <a:pt x="615058" y="2108"/>
                </a:moveTo>
                <a:cubicBezTo>
                  <a:pt x="707065" y="11346"/>
                  <a:pt x="793218" y="50856"/>
                  <a:pt x="868013" y="118717"/>
                </a:cubicBezTo>
                <a:cubicBezTo>
                  <a:pt x="1017556" y="254394"/>
                  <a:pt x="1114139" y="496280"/>
                  <a:pt x="1107567" y="719312"/>
                </a:cubicBezTo>
                <a:cubicBezTo>
                  <a:pt x="1104329" y="916953"/>
                  <a:pt x="1001649" y="1083137"/>
                  <a:pt x="845915" y="1142638"/>
                </a:cubicBezTo>
                <a:cubicBezTo>
                  <a:pt x="631412" y="1225351"/>
                  <a:pt x="362045" y="1195411"/>
                  <a:pt x="190976" y="1069778"/>
                </a:cubicBezTo>
                <a:cubicBezTo>
                  <a:pt x="66104" y="976643"/>
                  <a:pt x="0" y="838313"/>
                  <a:pt x="0" y="677624"/>
                </a:cubicBezTo>
                <a:cubicBezTo>
                  <a:pt x="0" y="628072"/>
                  <a:pt x="6287" y="576435"/>
                  <a:pt x="19050" y="523283"/>
                </a:cubicBezTo>
                <a:cubicBezTo>
                  <a:pt x="82868" y="257994"/>
                  <a:pt x="289370" y="44152"/>
                  <a:pt x="521303" y="3032"/>
                </a:cubicBezTo>
                <a:cubicBezTo>
                  <a:pt x="553069" y="-687"/>
                  <a:pt x="584389" y="-971"/>
                  <a:pt x="615058" y="2108"/>
                </a:cubicBezTo>
                <a:close/>
              </a:path>
            </a:pathLst>
          </a:custGeom>
        </p:spPr>
        <p:txBody>
          <a:bodyPr wrap="square" anchor="ctr">
            <a:noAutofit/>
          </a:bodyPr>
          <a:lstStyle>
            <a:lvl1pPr marL="0" indent="0" algn="ctr">
              <a:buNone/>
              <a:defRPr sz="1000">
                <a:solidFill>
                  <a:schemeClr val="bg1"/>
                </a:solidFill>
              </a:defRPr>
            </a:lvl1pPr>
          </a:lstStyle>
          <a:p>
            <a:r>
              <a:rPr lang="en-GB"/>
              <a:t>Click icon to add picture</a:t>
            </a:r>
          </a:p>
        </p:txBody>
      </p:sp>
      <p:sp>
        <p:nvSpPr>
          <p:cNvPr id="10" name="Picture Placeholder 71">
            <a:extLst>
              <a:ext uri="{FF2B5EF4-FFF2-40B4-BE49-F238E27FC236}">
                <a16:creationId xmlns:a16="http://schemas.microsoft.com/office/drawing/2014/main" id="{D59DBC40-79B4-11A4-D6E6-9057D54002E1}"/>
              </a:ext>
            </a:extLst>
          </p:cNvPr>
          <p:cNvSpPr>
            <a:spLocks noGrp="1"/>
          </p:cNvSpPr>
          <p:nvPr>
            <p:ph type="pic" sz="quarter" idx="21"/>
          </p:nvPr>
        </p:nvSpPr>
        <p:spPr>
          <a:xfrm>
            <a:off x="10379124" y="2050622"/>
            <a:ext cx="1154064" cy="1164642"/>
          </a:xfrm>
          <a:custGeom>
            <a:avLst/>
            <a:gdLst>
              <a:gd name="connsiteX0" fmla="*/ 646043 w 1154064"/>
              <a:gd name="connsiteY0" fmla="*/ 144 h 1164642"/>
              <a:gd name="connsiteX1" fmla="*/ 991404 w 1154064"/>
              <a:gd name="connsiteY1" fmla="*/ 96881 h 1164642"/>
              <a:gd name="connsiteX2" fmla="*/ 1153391 w 1154064"/>
              <a:gd name="connsiteY2" fmla="*/ 423368 h 1164642"/>
              <a:gd name="connsiteX3" fmla="*/ 1153486 w 1154064"/>
              <a:gd name="connsiteY3" fmla="*/ 423368 h 1164642"/>
              <a:gd name="connsiteX4" fmla="*/ 897337 w 1154064"/>
              <a:gd name="connsiteY4" fmla="*/ 1018112 h 1164642"/>
              <a:gd name="connsiteX5" fmla="*/ 414027 w 1154064"/>
              <a:gd name="connsiteY5" fmla="*/ 1133717 h 1164642"/>
              <a:gd name="connsiteX6" fmla="*/ 4985 w 1154064"/>
              <a:gd name="connsiteY6" fmla="*/ 620191 h 1164642"/>
              <a:gd name="connsiteX7" fmla="*/ 147932 w 1154064"/>
              <a:gd name="connsiteY7" fmla="*/ 207451 h 1164642"/>
              <a:gd name="connsiteX8" fmla="*/ 270417 w 1154064"/>
              <a:gd name="connsiteY8" fmla="*/ 111510 h 1164642"/>
              <a:gd name="connsiteX9" fmla="*/ 646043 w 1154064"/>
              <a:gd name="connsiteY9" fmla="*/ 144 h 116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064" h="1164642">
                <a:moveTo>
                  <a:pt x="646043" y="144"/>
                </a:moveTo>
                <a:cubicBezTo>
                  <a:pt x="773218" y="-2433"/>
                  <a:pt x="895348" y="29674"/>
                  <a:pt x="991404" y="96881"/>
                </a:cubicBezTo>
                <a:cubicBezTo>
                  <a:pt x="1091248" y="175914"/>
                  <a:pt x="1147234" y="288954"/>
                  <a:pt x="1153391" y="423368"/>
                </a:cubicBezTo>
                <a:lnTo>
                  <a:pt x="1153486" y="423368"/>
                </a:lnTo>
                <a:cubicBezTo>
                  <a:pt x="1162769" y="625036"/>
                  <a:pt x="1059609" y="864605"/>
                  <a:pt x="897337" y="1018112"/>
                </a:cubicBezTo>
                <a:cubicBezTo>
                  <a:pt x="755338" y="1155945"/>
                  <a:pt x="565594" y="1201351"/>
                  <a:pt x="414027" y="1133717"/>
                </a:cubicBezTo>
                <a:cubicBezTo>
                  <a:pt x="204675" y="1041100"/>
                  <a:pt x="36435" y="829838"/>
                  <a:pt x="4985" y="620191"/>
                </a:cubicBezTo>
                <a:cubicBezTo>
                  <a:pt x="-16992" y="466114"/>
                  <a:pt x="34257" y="321442"/>
                  <a:pt x="147932" y="207451"/>
                </a:cubicBezTo>
                <a:cubicBezTo>
                  <a:pt x="182982" y="172304"/>
                  <a:pt x="223905" y="140102"/>
                  <a:pt x="270417" y="111510"/>
                </a:cubicBezTo>
                <a:cubicBezTo>
                  <a:pt x="386650" y="39981"/>
                  <a:pt x="518869" y="2720"/>
                  <a:pt x="646043" y="144"/>
                </a:cubicBezTo>
                <a:close/>
              </a:path>
            </a:pathLst>
          </a:custGeom>
        </p:spPr>
        <p:txBody>
          <a:bodyPr wrap="square" anchor="ctr">
            <a:noAutofit/>
          </a:bodyPr>
          <a:lstStyle>
            <a:lvl1pPr marL="0" indent="0" algn="ctr">
              <a:buNone/>
              <a:defRPr sz="1000">
                <a:solidFill>
                  <a:schemeClr val="bg1"/>
                </a:solidFill>
              </a:defRPr>
            </a:lvl1pPr>
          </a:lstStyle>
          <a:p>
            <a:r>
              <a:rPr lang="en-GB"/>
              <a:t>Click icon to add picture</a:t>
            </a:r>
          </a:p>
        </p:txBody>
      </p:sp>
      <p:sp>
        <p:nvSpPr>
          <p:cNvPr id="11" name="Picture Placeholder 46">
            <a:extLst>
              <a:ext uri="{FF2B5EF4-FFF2-40B4-BE49-F238E27FC236}">
                <a16:creationId xmlns:a16="http://schemas.microsoft.com/office/drawing/2014/main" id="{F04AB762-4CF8-5C82-6AD3-6CED58E97DED}"/>
              </a:ext>
            </a:extLst>
          </p:cNvPr>
          <p:cNvSpPr>
            <a:spLocks noGrp="1"/>
          </p:cNvSpPr>
          <p:nvPr>
            <p:ph type="pic" sz="quarter" idx="13"/>
          </p:nvPr>
        </p:nvSpPr>
        <p:spPr>
          <a:xfrm>
            <a:off x="6491422" y="2079002"/>
            <a:ext cx="1189060" cy="1107882"/>
          </a:xfrm>
          <a:custGeom>
            <a:avLst/>
            <a:gdLst>
              <a:gd name="connsiteX0" fmla="*/ 511437 w 1189060"/>
              <a:gd name="connsiteY0" fmla="*/ 0 h 1107882"/>
              <a:gd name="connsiteX1" fmla="*/ 665779 w 1189060"/>
              <a:gd name="connsiteY1" fmla="*/ 19050 h 1107882"/>
              <a:gd name="connsiteX2" fmla="*/ 1186029 w 1189060"/>
              <a:gd name="connsiteY2" fmla="*/ 521303 h 1107882"/>
              <a:gd name="connsiteX3" fmla="*/ 1070344 w 1189060"/>
              <a:gd name="connsiteY3" fmla="*/ 868013 h 1107882"/>
              <a:gd name="connsiteX4" fmla="*/ 469749 w 1189060"/>
              <a:gd name="connsiteY4" fmla="*/ 1107567 h 1107882"/>
              <a:gd name="connsiteX5" fmla="*/ 46424 w 1189060"/>
              <a:gd name="connsiteY5" fmla="*/ 845915 h 1107882"/>
              <a:gd name="connsiteX6" fmla="*/ 119284 w 1189060"/>
              <a:gd name="connsiteY6" fmla="*/ 190976 h 1107882"/>
              <a:gd name="connsiteX7" fmla="*/ 511437 w 1189060"/>
              <a:gd name="connsiteY7" fmla="*/ 0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511437" y="0"/>
                </a:moveTo>
                <a:cubicBezTo>
                  <a:pt x="560990" y="0"/>
                  <a:pt x="612626" y="6287"/>
                  <a:pt x="665779" y="19050"/>
                </a:cubicBezTo>
                <a:cubicBezTo>
                  <a:pt x="931068" y="82868"/>
                  <a:pt x="1144909" y="289370"/>
                  <a:pt x="1186029" y="521303"/>
                </a:cubicBezTo>
                <a:cubicBezTo>
                  <a:pt x="1200904" y="648367"/>
                  <a:pt x="1160827" y="768287"/>
                  <a:pt x="1070344" y="868013"/>
                </a:cubicBez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lose/>
              </a:path>
            </a:pathLst>
          </a:custGeom>
        </p:spPr>
        <p:txBody>
          <a:bodyPr wrap="square" anchor="ctr">
            <a:noAutofit/>
          </a:bodyPr>
          <a:lstStyle>
            <a:lvl1pPr marL="0" indent="0" algn="ctr">
              <a:buNone/>
              <a:defRPr sz="1000">
                <a:solidFill>
                  <a:schemeClr val="bg1"/>
                </a:solidFill>
              </a:defRPr>
            </a:lvl1pPr>
          </a:lstStyle>
          <a:p>
            <a:r>
              <a:rPr lang="en-GB"/>
              <a:t>Click icon to add picture</a:t>
            </a:r>
          </a:p>
        </p:txBody>
      </p:sp>
    </p:spTree>
    <p:extLst>
      <p:ext uri="{BB962C8B-B14F-4D97-AF65-F5344CB8AC3E}">
        <p14:creationId xmlns:p14="http://schemas.microsoft.com/office/powerpoint/2010/main" val="351430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6F3918CB-A61A-8A43-05DE-7D51ECBE796D}"/>
              </a:ext>
            </a:extLst>
          </p:cNvPr>
          <p:cNvSpPr>
            <a:spLocks noGrp="1"/>
          </p:cNvSpPr>
          <p:nvPr>
            <p:ph type="sldNum" sz="quarter" idx="18"/>
          </p:nvPr>
        </p:nvSpPr>
        <p:spPr/>
        <p:txBody>
          <a:bodyPr/>
          <a:lstStyle/>
          <a:p>
            <a:fld id="{0994303E-A424-9540-91A8-53B791C91E8F}" type="slidenum">
              <a:rPr lang="en-GB" smtClean="0"/>
              <a:pPr/>
              <a:t>‹#›</a:t>
            </a:fld>
            <a:endParaRPr lang="en-GB"/>
          </a:p>
        </p:txBody>
      </p:sp>
      <p:sp>
        <p:nvSpPr>
          <p:cNvPr id="14" name="Title 13">
            <a:extLst>
              <a:ext uri="{FF2B5EF4-FFF2-40B4-BE49-F238E27FC236}">
                <a16:creationId xmlns:a16="http://schemas.microsoft.com/office/drawing/2014/main" id="{B2461144-37F7-1B8E-8C8F-A142D7874919}"/>
              </a:ext>
            </a:extLst>
          </p:cNvPr>
          <p:cNvSpPr>
            <a:spLocks noGrp="1"/>
          </p:cNvSpPr>
          <p:nvPr>
            <p:ph type="title" hasCustomPrompt="1"/>
          </p:nvPr>
        </p:nvSpPr>
        <p:spPr/>
        <p:txBody>
          <a:bodyPr/>
          <a:lstStyle/>
          <a:p>
            <a:r>
              <a:rPr lang="en-GB"/>
              <a:t>Regular heading goes here</a:t>
            </a:r>
          </a:p>
        </p:txBody>
      </p:sp>
      <p:sp>
        <p:nvSpPr>
          <p:cNvPr id="2" name="Text Placeholder 9">
            <a:extLst>
              <a:ext uri="{FF2B5EF4-FFF2-40B4-BE49-F238E27FC236}">
                <a16:creationId xmlns:a16="http://schemas.microsoft.com/office/drawing/2014/main" id="{54B0AF49-A51C-151B-05A9-7178FFC369D8}"/>
              </a:ext>
            </a:extLst>
          </p:cNvPr>
          <p:cNvSpPr>
            <a:spLocks noGrp="1"/>
          </p:cNvSpPr>
          <p:nvPr>
            <p:ph type="body" sz="quarter" idx="19" hasCustomPrompt="1"/>
          </p:nvPr>
        </p:nvSpPr>
        <p:spPr>
          <a:xfrm>
            <a:off x="674159" y="1051658"/>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a:t>Subheading goes here</a:t>
            </a:r>
          </a:p>
        </p:txBody>
      </p:sp>
    </p:spTree>
    <p:extLst>
      <p:ext uri="{BB962C8B-B14F-4D97-AF65-F5344CB8AC3E}">
        <p14:creationId xmlns:p14="http://schemas.microsoft.com/office/powerpoint/2010/main" val="12516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Slide (Green)">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1720F34-EE38-1EB6-D2BC-389D6E7C2435}"/>
              </a:ext>
            </a:extLst>
          </p:cNvPr>
          <p:cNvSpPr>
            <a:spLocks noGrp="1"/>
          </p:cNvSpPr>
          <p:nvPr>
            <p:ph type="sldNum" sz="quarter" idx="25"/>
          </p:nvPr>
        </p:nvSpPr>
        <p:spPr/>
        <p:txBody>
          <a:bodyPr/>
          <a:lstStyle/>
          <a:p>
            <a:fld id="{0994303E-A424-9540-91A8-53B791C91E8F}" type="slidenum">
              <a:rPr lang="en-GB" smtClean="0"/>
              <a:pPr/>
              <a:t>‹#›</a:t>
            </a:fld>
            <a:endParaRPr lang="en-GB"/>
          </a:p>
        </p:txBody>
      </p:sp>
    </p:spTree>
    <p:extLst>
      <p:ext uri="{BB962C8B-B14F-4D97-AF65-F5344CB8AC3E}">
        <p14:creationId xmlns:p14="http://schemas.microsoft.com/office/powerpoint/2010/main" val="50786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hapter Title">
    <p:spTree>
      <p:nvGrpSpPr>
        <p:cNvPr id="1" name=""/>
        <p:cNvGrpSpPr/>
        <p:nvPr/>
      </p:nvGrpSpPr>
      <p:grpSpPr>
        <a:xfrm>
          <a:off x="0" y="0"/>
          <a:ext cx="0" cy="0"/>
          <a:chOff x="0" y="0"/>
          <a:chExt cx="0" cy="0"/>
        </a:xfrm>
      </p:grpSpPr>
      <p:sp>
        <p:nvSpPr>
          <p:cNvPr id="3" name="Graphic 48">
            <a:extLst>
              <a:ext uri="{FF2B5EF4-FFF2-40B4-BE49-F238E27FC236}">
                <a16:creationId xmlns:a16="http://schemas.microsoft.com/office/drawing/2014/main" id="{75DAC041-23E1-D93E-FCC2-75B842262D09}"/>
              </a:ext>
            </a:extLst>
          </p:cNvPr>
          <p:cNvSpPr/>
          <p:nvPr userDrawn="1"/>
        </p:nvSpPr>
        <p:spPr>
          <a:xfrm>
            <a:off x="674768" y="802691"/>
            <a:ext cx="5097382" cy="4749380"/>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2"/>
          </a:solidFill>
          <a:ln w="9449" cap="flat">
            <a:noFill/>
            <a:prstDash val="solid"/>
            <a:miter/>
          </a:ln>
        </p:spPr>
        <p:txBody>
          <a:bodyPr rtlCol="0" anchor="ctr"/>
          <a:lstStyle/>
          <a:p>
            <a:endParaRPr lang="en-GB"/>
          </a:p>
        </p:txBody>
      </p:sp>
      <p:sp>
        <p:nvSpPr>
          <p:cNvPr id="2" name="Title Placeholder 1">
            <a:extLst>
              <a:ext uri="{FF2B5EF4-FFF2-40B4-BE49-F238E27FC236}">
                <a16:creationId xmlns:a16="http://schemas.microsoft.com/office/drawing/2014/main" id="{21ABC006-C4FF-A1F4-36AF-0C94003C2FA9}"/>
              </a:ext>
            </a:extLst>
          </p:cNvPr>
          <p:cNvSpPr>
            <a:spLocks noGrp="1"/>
          </p:cNvSpPr>
          <p:nvPr>
            <p:ph type="title" hasCustomPrompt="1"/>
          </p:nvPr>
        </p:nvSpPr>
        <p:spPr>
          <a:xfrm>
            <a:off x="6419849" y="549275"/>
            <a:ext cx="5113339" cy="5256213"/>
          </a:xfrm>
          <a:prstGeom prst="rect">
            <a:avLst/>
          </a:prstGeom>
        </p:spPr>
        <p:txBody>
          <a:bodyPr vert="horz" lIns="0" tIns="0" rIns="0" bIns="0" rtlCol="0" anchor="ctr">
            <a:normAutofit/>
          </a:bodyPr>
          <a:lstStyle>
            <a:lvl1pPr>
              <a:lnSpc>
                <a:spcPct val="90000"/>
              </a:lnSpc>
              <a:defRPr sz="6500" b="1">
                <a:solidFill>
                  <a:schemeClr val="accent2"/>
                </a:solidFill>
              </a:defRPr>
            </a:lvl1pPr>
          </a:lstStyle>
          <a:p>
            <a:r>
              <a:rPr lang="en-GB"/>
              <a:t>Chapter Slide Title</a:t>
            </a:r>
          </a:p>
        </p:txBody>
      </p:sp>
      <p:sp>
        <p:nvSpPr>
          <p:cNvPr id="4" name="Text Placeholder 3">
            <a:extLst>
              <a:ext uri="{FF2B5EF4-FFF2-40B4-BE49-F238E27FC236}">
                <a16:creationId xmlns:a16="http://schemas.microsoft.com/office/drawing/2014/main" id="{F9D378FF-8076-D182-237A-7F57163EC86A}"/>
              </a:ext>
            </a:extLst>
          </p:cNvPr>
          <p:cNvSpPr>
            <a:spLocks noGrp="1"/>
          </p:cNvSpPr>
          <p:nvPr>
            <p:ph type="body" sz="quarter" idx="10" hasCustomPrompt="1"/>
          </p:nvPr>
        </p:nvSpPr>
        <p:spPr>
          <a:xfrm>
            <a:off x="674768" y="1880701"/>
            <a:ext cx="5097382" cy="2593361"/>
          </a:xfrm>
          <a:prstGeom prst="rect">
            <a:avLst/>
          </a:prstGeom>
        </p:spPr>
        <p:txBody>
          <a:bodyPr anchor="ctr">
            <a:noAutofit/>
          </a:bodyPr>
          <a:lstStyle>
            <a:lvl1pPr marL="0" indent="0" algn="ctr">
              <a:lnSpc>
                <a:spcPct val="100000"/>
              </a:lnSpc>
              <a:spcBef>
                <a:spcPts val="0"/>
              </a:spcBef>
              <a:buNone/>
              <a:defRPr sz="25000"/>
            </a:lvl1pPr>
          </a:lstStyle>
          <a:p>
            <a:pPr lvl="0"/>
            <a:r>
              <a:rPr lang="en-GB"/>
              <a:t>01</a:t>
            </a:r>
          </a:p>
        </p:txBody>
      </p:sp>
    </p:spTree>
    <p:extLst>
      <p:ext uri="{BB962C8B-B14F-4D97-AF65-F5344CB8AC3E}">
        <p14:creationId xmlns:p14="http://schemas.microsoft.com/office/powerpoint/2010/main" val="1541247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55" presetClass="entr" presetSubtype="0" fill="hold" grpId="0" nodeType="withEffect">
                                  <p:stCondLst>
                                    <p:cond delay="750"/>
                                  </p:stCondLst>
                                  <p:iterate type="lt">
                                    <p:tmPct val="25000"/>
                                  </p:iterate>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cBhvr>
                                        <p:cTn id="11" dur="400" fill="hold"/>
                                        <p:tgtEl>
                                          <p:spTgt spid="4">
                                            <p:txEl>
                                              <p:pRg st="0" end="0"/>
                                            </p:txEl>
                                          </p:spTgt>
                                        </p:tgtEl>
                                        <p:attrNameLst>
                                          <p:attrName>ppt_w</p:attrName>
                                        </p:attrNameLst>
                                      </p:cBhvr>
                                      <p:tavLst>
                                        <p:tav tm="0">
                                          <p:val>
                                            <p:strVal val="#ppt_w*0.70"/>
                                          </p:val>
                                        </p:tav>
                                        <p:tav tm="100000">
                                          <p:val>
                                            <p:strVal val="#ppt_w"/>
                                          </p:val>
                                        </p:tav>
                                      </p:tavLst>
                                    </p:anim>
                                    <p:anim calcmode="lin" valueType="num">
                                      <p:cBhvr>
                                        <p:cTn id="12" dur="400" fill="hold"/>
                                        <p:tgtEl>
                                          <p:spTgt spid="4">
                                            <p:txEl>
                                              <p:pRg st="0" end="0"/>
                                            </p:txEl>
                                          </p:spTgt>
                                        </p:tgtEl>
                                        <p:attrNameLst>
                                          <p:attrName>ppt_h</p:attrName>
                                        </p:attrNameLst>
                                      </p:cBhvr>
                                      <p:tavLst>
                                        <p:tav tm="0">
                                          <p:val>
                                            <p:strVal val="#ppt_h"/>
                                          </p:val>
                                        </p:tav>
                                        <p:tav tm="100000">
                                          <p:val>
                                            <p:strVal val="#ppt_h"/>
                                          </p:val>
                                        </p:tav>
                                      </p:tavLst>
                                    </p:anim>
                                    <p:animEffect transition="in" filter="fade">
                                      <p:cBhvr>
                                        <p:cTn id="13" dur="400"/>
                                        <p:tgtEl>
                                          <p:spTgt spid="4">
                                            <p:txEl>
                                              <p:pRg st="0" end="0"/>
                                            </p:txEl>
                                          </p:spTgt>
                                        </p:tgtEl>
                                      </p:cBhvr>
                                    </p:animEffect>
                                  </p:childTnLst>
                                </p:cTn>
                              </p:par>
                              <p:par>
                                <p:cTn id="14" presetID="55" presetClass="entr" presetSubtype="0" fill="hold" grpId="0" nodeType="withEffect">
                                  <p:stCondLst>
                                    <p:cond delay="1000"/>
                                  </p:stCondLst>
                                  <p:iterate type="lt">
                                    <p:tmPct val="10000"/>
                                  </p:iterate>
                                  <p:childTnLst>
                                    <p:set>
                                      <p:cBhvr>
                                        <p:cTn id="15" dur="1" fill="hold">
                                          <p:stCondLst>
                                            <p:cond delay="0"/>
                                          </p:stCondLst>
                                        </p:cTn>
                                        <p:tgtEl>
                                          <p:spTgt spid="2"/>
                                        </p:tgtEl>
                                        <p:attrNameLst>
                                          <p:attrName>style.visibility</p:attrName>
                                        </p:attrNameLst>
                                      </p:cBhvr>
                                      <p:to>
                                        <p:strVal val="visible"/>
                                      </p:to>
                                    </p:set>
                                    <p:anim calcmode="lin" valueType="num">
                                      <p:cBhvr>
                                        <p:cTn id="16" dur="400" fill="hold"/>
                                        <p:tgtEl>
                                          <p:spTgt spid="2"/>
                                        </p:tgtEl>
                                        <p:attrNameLst>
                                          <p:attrName>ppt_w</p:attrName>
                                        </p:attrNameLst>
                                      </p:cBhvr>
                                      <p:tavLst>
                                        <p:tav tm="0">
                                          <p:val>
                                            <p:strVal val="#ppt_w*0.70"/>
                                          </p:val>
                                        </p:tav>
                                        <p:tav tm="100000">
                                          <p:val>
                                            <p:strVal val="#ppt_w"/>
                                          </p:val>
                                        </p:tav>
                                      </p:tavLst>
                                    </p:anim>
                                    <p:anim calcmode="lin" valueType="num">
                                      <p:cBhvr>
                                        <p:cTn id="17" dur="400" fill="hold"/>
                                        <p:tgtEl>
                                          <p:spTgt spid="2"/>
                                        </p:tgtEl>
                                        <p:attrNameLst>
                                          <p:attrName>ppt_h</p:attrName>
                                        </p:attrNameLst>
                                      </p:cBhvr>
                                      <p:tavLst>
                                        <p:tav tm="0">
                                          <p:val>
                                            <p:strVal val="#ppt_h"/>
                                          </p:val>
                                        </p:tav>
                                        <p:tav tm="100000">
                                          <p:val>
                                            <p:strVal val="#ppt_h"/>
                                          </p:val>
                                        </p:tav>
                                      </p:tavLst>
                                    </p:anim>
                                    <p:animEffect transition="in" filter="fade">
                                      <p:cBhvr>
                                        <p:cTn id="18"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p:bldP spid="4" grpId="0" build="p">
        <p:tmplLst>
          <p:tmpl lvl="1">
            <p:tnLst>
              <p:par>
                <p:cTn presetID="55" presetClass="entr" presetSubtype="0" fill="hold" nodeType="withEffect">
                  <p:stCondLst>
                    <p:cond delay="750"/>
                  </p:stCondLst>
                  <p:iterate type="lt">
                    <p:tmPct val="25000"/>
                  </p:iterate>
                  <p:childTnLst>
                    <p:set>
                      <p:cBhvr>
                        <p:cTn dur="1" fill="hold">
                          <p:stCondLst>
                            <p:cond delay="0"/>
                          </p:stCondLst>
                        </p:cTn>
                        <p:tgtEl>
                          <p:spTgt spid="4"/>
                        </p:tgtEl>
                        <p:attrNameLst>
                          <p:attrName>style.visibility</p:attrName>
                        </p:attrNameLst>
                      </p:cBhvr>
                      <p:to>
                        <p:strVal val="visible"/>
                      </p:to>
                    </p:set>
                    <p:anim calcmode="lin" valueType="num">
                      <p:cBhvr>
                        <p:cTn dur="400" fill="hold"/>
                        <p:tgtEl>
                          <p:spTgt spid="4"/>
                        </p:tgtEl>
                        <p:attrNameLst>
                          <p:attrName>ppt_w</p:attrName>
                        </p:attrNameLst>
                      </p:cBhvr>
                      <p:tavLst>
                        <p:tav tm="0">
                          <p:val>
                            <p:strVal val="#ppt_w*0.70"/>
                          </p:val>
                        </p:tav>
                        <p:tav tm="100000">
                          <p:val>
                            <p:strVal val="#ppt_w"/>
                          </p:val>
                        </p:tav>
                      </p:tavLst>
                    </p:anim>
                    <p:anim calcmode="lin" valueType="num">
                      <p:cBhvr>
                        <p:cTn dur="400" fill="hold"/>
                        <p:tgtEl>
                          <p:spTgt spid="4"/>
                        </p:tgtEl>
                        <p:attrNameLst>
                          <p:attrName>ppt_h</p:attrName>
                        </p:attrNameLst>
                      </p:cBhvr>
                      <p:tavLst>
                        <p:tav tm="0">
                          <p:val>
                            <p:strVal val="#ppt_h"/>
                          </p:val>
                        </p:tav>
                        <p:tav tm="100000">
                          <p:val>
                            <p:strVal val="#ppt_h"/>
                          </p:val>
                        </p:tav>
                      </p:tavLst>
                    </p:anim>
                    <p:animEffect transition="in" filter="fade">
                      <p:cBhvr>
                        <p:cTn dur="400"/>
                        <p:tgtEl>
                          <p:spTgt spid="4"/>
                        </p:tgtEl>
                      </p:cBhvr>
                    </p:animEffect>
                  </p:childTnLst>
                </p:cTn>
              </p:par>
            </p:tnLst>
          </p:tmpl>
        </p:tmplLst>
      </p:bldP>
    </p:bldLst>
  </p:timing>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Content Left Image Large (Whit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C5D49E83-70FE-84E4-DD12-A0A8300EC04B}"/>
              </a:ext>
            </a:extLst>
          </p:cNvPr>
          <p:cNvSpPr>
            <a:spLocks noGrp="1"/>
          </p:cNvSpPr>
          <p:nvPr>
            <p:ph type="pic" sz="quarter" idx="19"/>
          </p:nvPr>
        </p:nvSpPr>
        <p:spPr>
          <a:xfrm>
            <a:off x="0" y="-1"/>
            <a:ext cx="5681120" cy="6860681"/>
          </a:xfrm>
          <a:custGeom>
            <a:avLst/>
            <a:gdLst>
              <a:gd name="connsiteX0" fmla="*/ 2401045 w 5681120"/>
              <a:gd name="connsiteY0" fmla="*/ 1 h 6860681"/>
              <a:gd name="connsiteX1" fmla="*/ 2801249 w 5681120"/>
              <a:gd name="connsiteY1" fmla="*/ 180595 h 6860681"/>
              <a:gd name="connsiteX2" fmla="*/ 4670917 w 5681120"/>
              <a:gd name="connsiteY2" fmla="*/ 2390776 h 6860681"/>
              <a:gd name="connsiteX3" fmla="*/ 4588491 w 5681120"/>
              <a:gd name="connsiteY3" fmla="*/ 5293107 h 6860681"/>
              <a:gd name="connsiteX4" fmla="*/ 3262051 w 5681120"/>
              <a:gd name="connsiteY4" fmla="*/ 6858001 h 6860681"/>
              <a:gd name="connsiteX5" fmla="*/ 3618408 w 5681120"/>
              <a:gd name="connsiteY5" fmla="*/ 6858001 h 6860681"/>
              <a:gd name="connsiteX6" fmla="*/ 5269351 w 5681120"/>
              <a:gd name="connsiteY6" fmla="*/ 3013902 h 6860681"/>
              <a:gd name="connsiteX7" fmla="*/ 3373222 w 5681120"/>
              <a:gd name="connsiteY7" fmla="*/ 154751 h 6860681"/>
              <a:gd name="connsiteX8" fmla="*/ 3087362 w 5681120"/>
              <a:gd name="connsiteY8" fmla="*/ 1 h 6860681"/>
              <a:gd name="connsiteX9" fmla="*/ 0 w 5681120"/>
              <a:gd name="connsiteY9" fmla="*/ 0 h 6860681"/>
              <a:gd name="connsiteX10" fmla="*/ 3888685 w 5681120"/>
              <a:gd name="connsiteY10" fmla="*/ 0 h 6860681"/>
              <a:gd name="connsiteX11" fmla="*/ 5437733 w 5681120"/>
              <a:gd name="connsiteY11" fmla="*/ 5161393 h 6860681"/>
              <a:gd name="connsiteX12" fmla="*/ 4096079 w 5681120"/>
              <a:gd name="connsiteY12" fmla="*/ 6860681 h 6860681"/>
              <a:gd name="connsiteX13" fmla="*/ 0 w 5681120"/>
              <a:gd name="connsiteY13" fmla="*/ 6860681 h 686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1120" h="6860681">
                <a:moveTo>
                  <a:pt x="2401045" y="1"/>
                </a:moveTo>
                <a:cubicBezTo>
                  <a:pt x="2536900" y="51563"/>
                  <a:pt x="2670470" y="111761"/>
                  <a:pt x="2801249" y="180595"/>
                </a:cubicBezTo>
                <a:cubicBezTo>
                  <a:pt x="3667521" y="635700"/>
                  <a:pt x="4330932" y="1420941"/>
                  <a:pt x="4670917" y="2390776"/>
                </a:cubicBezTo>
                <a:cubicBezTo>
                  <a:pt x="5011728" y="3362644"/>
                  <a:pt x="4982476" y="4393376"/>
                  <a:pt x="4588491" y="5293107"/>
                </a:cubicBezTo>
                <a:cubicBezTo>
                  <a:pt x="4303646" y="5943665"/>
                  <a:pt x="3845002" y="6480621"/>
                  <a:pt x="3262051" y="6858001"/>
                </a:cubicBezTo>
                <a:lnTo>
                  <a:pt x="3618408" y="6858001"/>
                </a:lnTo>
                <a:cubicBezTo>
                  <a:pt x="4810199" y="6005133"/>
                  <a:pt x="5490171" y="4511613"/>
                  <a:pt x="5269351" y="3013902"/>
                </a:cubicBezTo>
                <a:cubicBezTo>
                  <a:pt x="5097201" y="1810831"/>
                  <a:pt x="4406061" y="768669"/>
                  <a:pt x="3373222" y="154751"/>
                </a:cubicBezTo>
                <a:cubicBezTo>
                  <a:pt x="3279501" y="99125"/>
                  <a:pt x="3184129" y="47499"/>
                  <a:pt x="3087362" y="1"/>
                </a:cubicBezTo>
                <a:close/>
                <a:moveTo>
                  <a:pt x="0" y="0"/>
                </a:moveTo>
                <a:lnTo>
                  <a:pt x="3888685" y="0"/>
                </a:lnTo>
                <a:cubicBezTo>
                  <a:pt x="5541875" y="1030183"/>
                  <a:pt x="6033690" y="3349918"/>
                  <a:pt x="5437733" y="5161393"/>
                </a:cubicBezTo>
                <a:cubicBezTo>
                  <a:pt x="5188744" y="5932457"/>
                  <a:pt x="4704167" y="6494906"/>
                  <a:pt x="4096079" y="6860681"/>
                </a:cubicBezTo>
                <a:cubicBezTo>
                  <a:pt x="4096079" y="6860681"/>
                  <a:pt x="0" y="6860681"/>
                  <a:pt x="0" y="6860681"/>
                </a:cubicBezTo>
                <a:close/>
              </a:path>
            </a:pathLst>
          </a:custGeom>
        </p:spPr>
        <p:txBody>
          <a:bodyPr wrap="square" anchor="ctr">
            <a:noAutofit/>
          </a:bodyPr>
          <a:lstStyle>
            <a:lvl1pPr marL="0" indent="0" algn="ctr">
              <a:buNone/>
              <a:defRPr>
                <a:solidFill>
                  <a:srgbClr val="00625F"/>
                </a:solidFill>
              </a:defRPr>
            </a:lvl1pPr>
          </a:lstStyle>
          <a:p>
            <a:r>
              <a:rPr lang="en-US"/>
              <a:t>Click icon to add picture</a:t>
            </a:r>
          </a:p>
        </p:txBody>
      </p:sp>
      <p:sp>
        <p:nvSpPr>
          <p:cNvPr id="23" name="Text Placeholder 11">
            <a:extLst>
              <a:ext uri="{FF2B5EF4-FFF2-40B4-BE49-F238E27FC236}">
                <a16:creationId xmlns:a16="http://schemas.microsoft.com/office/drawing/2014/main" id="{0A4BC4EF-459A-7845-F619-515A9AFC49DB}"/>
              </a:ext>
            </a:extLst>
          </p:cNvPr>
          <p:cNvSpPr>
            <a:spLocks noGrp="1"/>
          </p:cNvSpPr>
          <p:nvPr>
            <p:ph type="body" sz="quarter" idx="17" hasCustomPrompt="1"/>
          </p:nvPr>
        </p:nvSpPr>
        <p:spPr>
          <a:xfrm>
            <a:off x="6421940" y="2842349"/>
            <a:ext cx="5111249" cy="2963140"/>
          </a:xfrm>
          <a:prstGeom prst="rect">
            <a:avLst/>
          </a:prstGeom>
        </p:spPr>
        <p:txBody>
          <a:bodyPr>
            <a:noAutofit/>
          </a:bodyPr>
          <a:lstStyle>
            <a:lvl1pPr marL="0" indent="0">
              <a:buNone/>
              <a:defRPr sz="1400" b="0">
                <a:solidFill>
                  <a:srgbClr val="00625F"/>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p>
        </p:txBody>
      </p:sp>
      <p:sp>
        <p:nvSpPr>
          <p:cNvPr id="32" name="Text Placeholder 11">
            <a:extLst>
              <a:ext uri="{FF2B5EF4-FFF2-40B4-BE49-F238E27FC236}">
                <a16:creationId xmlns:a16="http://schemas.microsoft.com/office/drawing/2014/main" id="{1B2E71AF-560B-8492-C46B-152A4A3B96DE}"/>
              </a:ext>
            </a:extLst>
          </p:cNvPr>
          <p:cNvSpPr>
            <a:spLocks noGrp="1"/>
          </p:cNvSpPr>
          <p:nvPr>
            <p:ph type="body" sz="quarter" idx="18" hasCustomPrompt="1"/>
          </p:nvPr>
        </p:nvSpPr>
        <p:spPr>
          <a:xfrm>
            <a:off x="6419850" y="549275"/>
            <a:ext cx="5111249" cy="2100573"/>
          </a:xfrm>
          <a:prstGeom prst="rect">
            <a:avLst/>
          </a:prstGeom>
        </p:spPr>
        <p:txBody>
          <a:bodyPr anchor="b" anchorCtr="0">
            <a:noAutofit/>
          </a:bodyPr>
          <a:lstStyle>
            <a:lvl1pPr marL="0" indent="0">
              <a:lnSpc>
                <a:spcPct val="90000"/>
              </a:lnSpc>
              <a:buNone/>
              <a:defRPr sz="4000" b="1">
                <a:solidFill>
                  <a:srgbClr val="00625F"/>
                </a:solidFill>
              </a:defRPr>
            </a:lvl1pPr>
          </a:lstStyle>
          <a:p>
            <a:pPr lvl="0"/>
            <a:r>
              <a:rPr lang="en-GB"/>
              <a:t>A captivating headline</a:t>
            </a:r>
          </a:p>
        </p:txBody>
      </p:sp>
      <p:sp>
        <p:nvSpPr>
          <p:cNvPr id="2" name="Slide Number Placeholder 1">
            <a:extLst>
              <a:ext uri="{FF2B5EF4-FFF2-40B4-BE49-F238E27FC236}">
                <a16:creationId xmlns:a16="http://schemas.microsoft.com/office/drawing/2014/main" id="{878DEAD0-851B-701E-F00F-E5C521AB6691}"/>
              </a:ext>
            </a:extLst>
          </p:cNvPr>
          <p:cNvSpPr>
            <a:spLocks noGrp="1"/>
          </p:cNvSpPr>
          <p:nvPr>
            <p:ph type="sldNum" sz="quarter" idx="20"/>
          </p:nvPr>
        </p:nvSpPr>
        <p:spPr/>
        <p:txBody>
          <a:bodyPr/>
          <a:lstStyle/>
          <a:p>
            <a:fld id="{0994303E-A424-9540-91A8-53B791C91E8F}" type="slidenum">
              <a:rPr lang="en-GB" smtClean="0"/>
              <a:pPr/>
              <a:t>‹#›</a:t>
            </a:fld>
            <a:endParaRPr lang="en-GB"/>
          </a:p>
        </p:txBody>
      </p:sp>
      <p:sp>
        <p:nvSpPr>
          <p:cNvPr id="5" name="Graphic 8">
            <a:extLst>
              <a:ext uri="{FF2B5EF4-FFF2-40B4-BE49-F238E27FC236}">
                <a16:creationId xmlns:a16="http://schemas.microsoft.com/office/drawing/2014/main" id="{6090EEAA-C762-8742-6743-DFD85CA10FA8}"/>
              </a:ext>
            </a:extLst>
          </p:cNvPr>
          <p:cNvSpPr>
            <a:spLocks noChangeAspect="1"/>
          </p:cNvSpPr>
          <p:nvPr userDrawn="1"/>
        </p:nvSpPr>
        <p:spPr>
          <a:xfrm flipH="1">
            <a:off x="2401046"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GB"/>
          </a:p>
        </p:txBody>
      </p:sp>
    </p:spTree>
    <p:extLst>
      <p:ext uri="{BB962C8B-B14F-4D97-AF65-F5344CB8AC3E}">
        <p14:creationId xmlns:p14="http://schemas.microsoft.com/office/powerpoint/2010/main" val="409272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Title &amp; Twirl">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25B6C1A5-44FF-F1AD-DBF4-D4CCDB07A7E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Graphic 2">
            <a:extLst>
              <a:ext uri="{FF2B5EF4-FFF2-40B4-BE49-F238E27FC236}">
                <a16:creationId xmlns:a16="http://schemas.microsoft.com/office/drawing/2014/main" id="{2C9A5477-FA54-1B76-75EA-F9CE4CA68E22}"/>
              </a:ext>
            </a:extLst>
          </p:cNvPr>
          <p:cNvSpPr/>
          <p:nvPr userDrawn="1"/>
        </p:nvSpPr>
        <p:spPr>
          <a:xfrm>
            <a:off x="7594280"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accent2">
              <a:lumMod val="60000"/>
              <a:lumOff val="40000"/>
            </a:schemeClr>
          </a:solidFill>
          <a:ln w="6350" cap="flat">
            <a:noFill/>
            <a:prstDash val="solid"/>
            <a:miter/>
          </a:ln>
        </p:spPr>
        <p:txBody>
          <a:bodyPr rtlCol="0" anchor="ctr"/>
          <a:lstStyle/>
          <a:p>
            <a:endParaRPr lang="en-GB"/>
          </a:p>
        </p:txBody>
      </p:sp>
      <p:sp>
        <p:nvSpPr>
          <p:cNvPr id="10" name="Text Placeholder 9">
            <a:extLst>
              <a:ext uri="{FF2B5EF4-FFF2-40B4-BE49-F238E27FC236}">
                <a16:creationId xmlns:a16="http://schemas.microsoft.com/office/drawing/2014/main" id="{F865479B-4854-AF39-B9FB-ED1CC2C6FC47}"/>
              </a:ext>
            </a:extLst>
          </p:cNvPr>
          <p:cNvSpPr>
            <a:spLocks noGrp="1"/>
          </p:cNvSpPr>
          <p:nvPr>
            <p:ph type="body" sz="quarter" idx="18" hasCustomPrompt="1"/>
          </p:nvPr>
        </p:nvSpPr>
        <p:spPr>
          <a:xfrm>
            <a:off x="674159" y="1051658"/>
            <a:ext cx="10859029" cy="411162"/>
          </a:xfrm>
          <a:prstGeom prst="rect">
            <a:avLst/>
          </a:prstGeom>
        </p:spPr>
        <p:txBody>
          <a:bodyPr>
            <a:no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a:t>Subheading goes here</a:t>
            </a:r>
          </a:p>
        </p:txBody>
      </p:sp>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GB" smtClean="0"/>
              <a:pPr/>
              <a:t>‹#›</a:t>
            </a:fld>
            <a:endParaRPr lang="en-GB"/>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lvl1pPr>
              <a:defRPr>
                <a:solidFill>
                  <a:schemeClr val="tx2"/>
                </a:solidFill>
              </a:defRPr>
            </a:lvl1pPr>
          </a:lstStyle>
          <a:p>
            <a:r>
              <a:rPr lang="en-GB"/>
              <a:t>Regular heading goes here</a:t>
            </a:r>
          </a:p>
        </p:txBody>
      </p:sp>
    </p:spTree>
    <p:extLst>
      <p:ext uri="{BB962C8B-B14F-4D97-AF65-F5344CB8AC3E}">
        <p14:creationId xmlns:p14="http://schemas.microsoft.com/office/powerpoint/2010/main" val="212515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GB" smtClean="0"/>
              <a:pPr/>
              <a:t>‹#›</a:t>
            </a:fld>
            <a:endParaRPr lang="en-GB"/>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p>
            <a:r>
              <a:rPr lang="en-GB"/>
              <a:t>Regular heading goes here</a:t>
            </a:r>
          </a:p>
        </p:txBody>
      </p:sp>
      <p:sp>
        <p:nvSpPr>
          <p:cNvPr id="3" name="Text Placeholder 9">
            <a:extLst>
              <a:ext uri="{FF2B5EF4-FFF2-40B4-BE49-F238E27FC236}">
                <a16:creationId xmlns:a16="http://schemas.microsoft.com/office/drawing/2014/main" id="{ED9BA653-7394-2180-DDD3-07AB23FF2F44}"/>
              </a:ext>
            </a:extLst>
          </p:cNvPr>
          <p:cNvSpPr>
            <a:spLocks noGrp="1"/>
          </p:cNvSpPr>
          <p:nvPr>
            <p:ph type="body" sz="quarter" idx="18" hasCustomPrompt="1"/>
          </p:nvPr>
        </p:nvSpPr>
        <p:spPr>
          <a:xfrm>
            <a:off x="674159" y="1051658"/>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a:t>Subheading goes here</a:t>
            </a:r>
          </a:p>
        </p:txBody>
      </p:sp>
    </p:spTree>
    <p:extLst>
      <p:ext uri="{BB962C8B-B14F-4D97-AF65-F5344CB8AC3E}">
        <p14:creationId xmlns:p14="http://schemas.microsoft.com/office/powerpoint/2010/main" val="230647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8C3AA-142A-439D-8936-BBCF44502CBB}"/>
              </a:ext>
            </a:extLst>
          </p:cNvPr>
          <p:cNvSpPr>
            <a:spLocks noGrp="1"/>
          </p:cNvSpPr>
          <p:nvPr>
            <p:ph type="title" hasCustomPrompt="1"/>
          </p:nvPr>
        </p:nvSpPr>
        <p:spPr>
          <a:xfrm>
            <a:off x="838200" y="209007"/>
            <a:ext cx="10515600" cy="731520"/>
          </a:xfrm>
          <a:prstGeom prst="rect">
            <a:avLst/>
          </a:prstGeom>
        </p:spPr>
        <p:txBody>
          <a:bodyPr anchor="ctr"/>
          <a:lstStyle>
            <a:lvl1pPr algn="l">
              <a:defRPr sz="2800" cap="none"/>
            </a:lvl1pPr>
          </a:lstStyle>
          <a:p>
            <a:r>
              <a:rPr lang="en-US"/>
              <a:t>Click to edit master title style</a:t>
            </a:r>
            <a:endParaRPr lang="en-GB"/>
          </a:p>
        </p:txBody>
      </p:sp>
    </p:spTree>
    <p:extLst>
      <p:ext uri="{BB962C8B-B14F-4D97-AF65-F5344CB8AC3E}">
        <p14:creationId xmlns:p14="http://schemas.microsoft.com/office/powerpoint/2010/main" val="35524046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068FC-04D8-A5B0-E608-8C71C09D012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A848967-EA78-5049-24C5-C4F54C77398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556B8C1-1AA0-8255-D60B-F76B3C540403}"/>
              </a:ext>
            </a:extLst>
          </p:cNvPr>
          <p:cNvSpPr>
            <a:spLocks noGrp="1"/>
          </p:cNvSpPr>
          <p:nvPr>
            <p:ph type="dt" sz="half" idx="10"/>
          </p:nvPr>
        </p:nvSpPr>
        <p:spPr/>
        <p:txBody>
          <a:bodyPr/>
          <a:lstStyle/>
          <a:p>
            <a:fld id="{EE5B43CC-AC82-4847-A809-0892ABE5C347}" type="datetimeFigureOut">
              <a:rPr lang="en-GB" smtClean="0"/>
              <a:t>19/05/2025</a:t>
            </a:fld>
            <a:endParaRPr lang="en-GB"/>
          </a:p>
        </p:txBody>
      </p:sp>
      <p:sp>
        <p:nvSpPr>
          <p:cNvPr id="5" name="Footer Placeholder 4">
            <a:extLst>
              <a:ext uri="{FF2B5EF4-FFF2-40B4-BE49-F238E27FC236}">
                <a16:creationId xmlns:a16="http://schemas.microsoft.com/office/drawing/2014/main" id="{DBD744BB-CAE4-73DD-8D62-76CF5C4BFF9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64CDB22-F9C1-4CD5-8095-01668193A224}"/>
              </a:ext>
            </a:extLst>
          </p:cNvPr>
          <p:cNvSpPr>
            <a:spLocks noGrp="1"/>
          </p:cNvSpPr>
          <p:nvPr>
            <p:ph type="sldNum" sz="quarter" idx="12"/>
          </p:nvPr>
        </p:nvSpPr>
        <p:spPr/>
        <p:txBody>
          <a:bodyPr/>
          <a:lstStyle/>
          <a:p>
            <a:fld id="{F8A1C102-2AA7-4A75-BFD8-0F3C22A09374}" type="slidenum">
              <a:rPr lang="en-GB" smtClean="0"/>
              <a:t>‹#›</a:t>
            </a:fld>
            <a:endParaRPr lang="en-GB"/>
          </a:p>
        </p:txBody>
      </p:sp>
    </p:spTree>
    <p:extLst>
      <p:ext uri="{BB962C8B-B14F-4D97-AF65-F5344CB8AC3E}">
        <p14:creationId xmlns:p14="http://schemas.microsoft.com/office/powerpoint/2010/main" val="659358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Right Imag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2" y="549275"/>
            <a:ext cx="5113337" cy="2141213"/>
          </a:xfrm>
        </p:spPr>
        <p:txBody>
          <a:bodyPr anchor="b" anchorCtr="0">
            <a:noAutofit/>
          </a:bodyPr>
          <a:lstStyle>
            <a:lvl1pPr marL="0" indent="0">
              <a:buNone/>
              <a:defRPr sz="4000" b="1">
                <a:latin typeface="+mj-lt"/>
              </a:defRPr>
            </a:lvl1pPr>
          </a:lstStyle>
          <a:p>
            <a:pPr lvl="0"/>
            <a:r>
              <a:rPr lang="en-GB" dirty="0"/>
              <a:t>A captivating headline</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2" y="2882989"/>
            <a:ext cx="5113337" cy="2922500"/>
          </a:xfrm>
        </p:spPr>
        <p:txBody>
          <a:bodyPr>
            <a:noAutofit/>
          </a:bodyPr>
          <a:lstStyle>
            <a:lvl1pPr marL="0" indent="0">
              <a:buNone/>
              <a:defRPr sz="1400" b="0"/>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10" name="Graphic 8">
            <a:extLst>
              <a:ext uri="{FF2B5EF4-FFF2-40B4-BE49-F238E27FC236}">
                <a16:creationId xmlns:a16="http://schemas.microsoft.com/office/drawing/2014/main" id="{E17556F4-8ED1-9969-CD3F-1525217E1E0A}"/>
              </a:ext>
            </a:extLst>
          </p:cNvPr>
          <p:cNvSpPr>
            <a:spLocks noChangeAspect="1"/>
          </p:cNvSpPr>
          <p:nvPr/>
        </p:nvSpPr>
        <p:spPr>
          <a:xfrm>
            <a:off x="6229995" y="0"/>
            <a:ext cx="1926945" cy="6459038"/>
          </a:xfrm>
          <a:custGeom>
            <a:avLst/>
            <a:gdLst>
              <a:gd name="connsiteX0" fmla="*/ 1215570 w 1926945"/>
              <a:gd name="connsiteY0" fmla="*/ 0 h 6459038"/>
              <a:gd name="connsiteX1" fmla="*/ 396914 w 1926945"/>
              <a:gd name="connsiteY1" fmla="*/ 5502156 h 6459038"/>
              <a:gd name="connsiteX2" fmla="*/ 420148 w 1926945"/>
              <a:gd name="connsiteY2" fmla="*/ 5558753 h 6459038"/>
              <a:gd name="connsiteX3" fmla="*/ 432155 w 1926945"/>
              <a:gd name="connsiteY3" fmla="*/ 5587377 h 6459038"/>
              <a:gd name="connsiteX4" fmla="*/ 440203 w 1926945"/>
              <a:gd name="connsiteY4" fmla="*/ 5596875 h 6459038"/>
              <a:gd name="connsiteX5" fmla="*/ 492837 w 1926945"/>
              <a:gd name="connsiteY5" fmla="*/ 5633436 h 6459038"/>
              <a:gd name="connsiteX6" fmla="*/ 525742 w 1926945"/>
              <a:gd name="connsiteY6" fmla="*/ 5640331 h 6459038"/>
              <a:gd name="connsiteX7" fmla="*/ 610242 w 1926945"/>
              <a:gd name="connsiteY7" fmla="*/ 5611577 h 6459038"/>
              <a:gd name="connsiteX8" fmla="*/ 639318 w 1926945"/>
              <a:gd name="connsiteY8" fmla="*/ 5481404 h 6459038"/>
              <a:gd name="connsiteX9" fmla="*/ 767042 w 1926945"/>
              <a:gd name="connsiteY9" fmla="*/ 1582249 h 6459038"/>
              <a:gd name="connsiteX10" fmla="*/ 1926945 w 1926945"/>
              <a:gd name="connsiteY10" fmla="*/ 0 h 6459038"/>
              <a:gd name="connsiteX11" fmla="*/ 1215570 w 1926945"/>
              <a:gd name="connsiteY11" fmla="*/ 0 h 6459038"/>
              <a:gd name="connsiteX12" fmla="*/ 1095504 w 1926945"/>
              <a:gd name="connsiteY12" fmla="*/ 6179501 h 6459038"/>
              <a:gd name="connsiteX13" fmla="*/ 732969 w 1926945"/>
              <a:gd name="connsiteY13" fmla="*/ 5966123 h 6459038"/>
              <a:gd name="connsiteX14" fmla="*/ 789433 w 1926945"/>
              <a:gd name="connsiteY14" fmla="*/ 6327759 h 6459038"/>
              <a:gd name="connsiteX15" fmla="*/ 1082524 w 1926945"/>
              <a:gd name="connsiteY15" fmla="*/ 6428073 h 6459038"/>
              <a:gd name="connsiteX16" fmla="*/ 1095504 w 1926945"/>
              <a:gd name="connsiteY16" fmla="*/ 6179501 h 645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6945" h="6459038">
                <a:moveTo>
                  <a:pt x="1215570" y="0"/>
                </a:moveTo>
                <a:cubicBezTo>
                  <a:pt x="2189" y="1519862"/>
                  <a:pt x="-364305" y="3650388"/>
                  <a:pt x="396914" y="5502156"/>
                </a:cubicBezTo>
                <a:cubicBezTo>
                  <a:pt x="404443" y="5521087"/>
                  <a:pt x="412295" y="5539888"/>
                  <a:pt x="420148" y="5558753"/>
                </a:cubicBezTo>
                <a:lnTo>
                  <a:pt x="432155" y="5587377"/>
                </a:lnTo>
                <a:lnTo>
                  <a:pt x="440203" y="5596875"/>
                </a:lnTo>
                <a:cubicBezTo>
                  <a:pt x="454351" y="5613594"/>
                  <a:pt x="472653" y="5626150"/>
                  <a:pt x="492837" y="5633436"/>
                </a:cubicBezTo>
                <a:cubicBezTo>
                  <a:pt x="503351" y="5637274"/>
                  <a:pt x="514449" y="5639615"/>
                  <a:pt x="525742" y="5640331"/>
                </a:cubicBezTo>
                <a:cubicBezTo>
                  <a:pt x="556959" y="5642413"/>
                  <a:pt x="587722" y="5631939"/>
                  <a:pt x="610242" y="5611577"/>
                </a:cubicBezTo>
                <a:cubicBezTo>
                  <a:pt x="645029" y="5579961"/>
                  <a:pt x="656711" y="5529674"/>
                  <a:pt x="639318" y="5481404"/>
                </a:cubicBezTo>
                <a:cubicBezTo>
                  <a:pt x="139194" y="4198730"/>
                  <a:pt x="184559" y="2814051"/>
                  <a:pt x="767042" y="1582249"/>
                </a:cubicBezTo>
                <a:cubicBezTo>
                  <a:pt x="1049489" y="985051"/>
                  <a:pt x="1443695" y="450566"/>
                  <a:pt x="1926945" y="0"/>
                </a:cubicBezTo>
                <a:lnTo>
                  <a:pt x="1215570" y="0"/>
                </a:lnTo>
                <a:close/>
                <a:moveTo>
                  <a:pt x="1095504" y="6179501"/>
                </a:moveTo>
                <a:cubicBezTo>
                  <a:pt x="1037093" y="6109372"/>
                  <a:pt x="782878" y="5942443"/>
                  <a:pt x="732969" y="5966123"/>
                </a:cubicBezTo>
                <a:cubicBezTo>
                  <a:pt x="682996" y="5989737"/>
                  <a:pt x="723688" y="6212483"/>
                  <a:pt x="789433" y="6327759"/>
                </a:cubicBezTo>
                <a:cubicBezTo>
                  <a:pt x="834733" y="6407125"/>
                  <a:pt x="984199" y="6512058"/>
                  <a:pt x="1082524" y="6428073"/>
                </a:cubicBezTo>
                <a:cubicBezTo>
                  <a:pt x="1180848" y="6344153"/>
                  <a:pt x="1153914" y="6249694"/>
                  <a:pt x="1095504" y="6179501"/>
                </a:cubicBezTo>
                <a:close/>
              </a:path>
            </a:pathLst>
          </a:custGeom>
          <a:solidFill>
            <a:srgbClr val="47D985"/>
          </a:solidFill>
          <a:ln w="6478" cap="flat">
            <a:noFill/>
            <a:prstDash val="solid"/>
            <a:miter/>
          </a:ln>
        </p:spPr>
        <p:txBody>
          <a:bodyPr rtlCol="0" anchor="ctr"/>
          <a:lstStyle/>
          <a:p>
            <a:endParaRPr lang="en-GB" dirty="0"/>
          </a:p>
        </p:txBody>
      </p:sp>
      <p:sp>
        <p:nvSpPr>
          <p:cNvPr id="4" name="Slide Number Placeholder 3">
            <a:extLst>
              <a:ext uri="{FF2B5EF4-FFF2-40B4-BE49-F238E27FC236}">
                <a16:creationId xmlns:a16="http://schemas.microsoft.com/office/drawing/2014/main" id="{4C9BF31C-960F-6DEC-C64D-220E460F17DF}"/>
              </a:ext>
            </a:extLst>
          </p:cNvPr>
          <p:cNvSpPr>
            <a:spLocks noGrp="1"/>
          </p:cNvSpPr>
          <p:nvPr>
            <p:ph type="sldNum" sz="quarter" idx="19"/>
          </p:nvPr>
        </p:nvSpPr>
        <p:spPr/>
        <p:txBody>
          <a:bodyPr/>
          <a:lstStyle/>
          <a:p>
            <a:fld id="{0994303E-A424-9540-91A8-53B791C91E8F}" type="slidenum">
              <a:rPr lang="en-GB" smtClean="0"/>
              <a:pPr/>
              <a:t>‹#›</a:t>
            </a:fld>
            <a:endParaRPr lang="en-GB" dirty="0"/>
          </a:p>
        </p:txBody>
      </p:sp>
      <p:sp>
        <p:nvSpPr>
          <p:cNvPr id="2" name="Picture Placeholder 6">
            <a:extLst>
              <a:ext uri="{FF2B5EF4-FFF2-40B4-BE49-F238E27FC236}">
                <a16:creationId xmlns:a16="http://schemas.microsoft.com/office/drawing/2014/main" id="{173EB7C3-0588-B099-ABAE-5F2DE47F63C4}"/>
              </a:ext>
            </a:extLst>
          </p:cNvPr>
          <p:cNvSpPr>
            <a:spLocks noGrp="1"/>
          </p:cNvSpPr>
          <p:nvPr>
            <p:ph type="pic" sz="quarter" idx="18"/>
          </p:nvPr>
        </p:nvSpPr>
        <p:spPr>
          <a:xfrm>
            <a:off x="6873225" y="0"/>
            <a:ext cx="5318775" cy="6860682"/>
          </a:xfrm>
          <a:custGeom>
            <a:avLst/>
            <a:gdLst>
              <a:gd name="connsiteX0" fmla="*/ 1792436 w 5318775"/>
              <a:gd name="connsiteY0" fmla="*/ 0 h 6860682"/>
              <a:gd name="connsiteX1" fmla="*/ 5318775 w 5318775"/>
              <a:gd name="connsiteY1" fmla="*/ 0 h 6860682"/>
              <a:gd name="connsiteX2" fmla="*/ 5318775 w 5318775"/>
              <a:gd name="connsiteY2" fmla="*/ 6860682 h 6860682"/>
              <a:gd name="connsiteX3" fmla="*/ 1585041 w 5318775"/>
              <a:gd name="connsiteY3" fmla="*/ 6860682 h 6860682"/>
              <a:gd name="connsiteX4" fmla="*/ 243389 w 5318775"/>
              <a:gd name="connsiteY4" fmla="*/ 5161393 h 6860682"/>
              <a:gd name="connsiteX5" fmla="*/ 1792436 w 5318775"/>
              <a:gd name="connsiteY5" fmla="*/ 0 h 686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8775" h="6860682">
                <a:moveTo>
                  <a:pt x="1792436" y="0"/>
                </a:moveTo>
                <a:lnTo>
                  <a:pt x="5318775" y="0"/>
                </a:lnTo>
                <a:lnTo>
                  <a:pt x="5318775" y="6860682"/>
                </a:lnTo>
                <a:lnTo>
                  <a:pt x="1585041" y="6860682"/>
                </a:lnTo>
                <a:cubicBezTo>
                  <a:pt x="976954" y="6494907"/>
                  <a:pt x="492377" y="5932458"/>
                  <a:pt x="243389" y="5161393"/>
                </a:cubicBezTo>
                <a:cubicBezTo>
                  <a:pt x="-352570" y="3349919"/>
                  <a:pt x="139246" y="1030182"/>
                  <a:pt x="1792436" y="0"/>
                </a:cubicBezTo>
                <a:close/>
              </a:path>
            </a:pathLst>
          </a:custGeom>
        </p:spPr>
        <p:txBody>
          <a:bodyPr wrap="square" anchor="ctr">
            <a:noAutofit/>
          </a:bodyPr>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13756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Slide (with image)">
    <p:spTree>
      <p:nvGrpSpPr>
        <p:cNvPr id="1" name=""/>
        <p:cNvGrpSpPr/>
        <p:nvPr/>
      </p:nvGrpSpPr>
      <p:grpSpPr>
        <a:xfrm>
          <a:off x="0" y="0"/>
          <a:ext cx="0" cy="0"/>
          <a:chOff x="0" y="0"/>
          <a:chExt cx="0" cy="0"/>
        </a:xfrm>
      </p:grpSpPr>
      <p:sp>
        <p:nvSpPr>
          <p:cNvPr id="15" name="Text Placeholder 11">
            <a:extLst>
              <a:ext uri="{FF2B5EF4-FFF2-40B4-BE49-F238E27FC236}">
                <a16:creationId xmlns:a16="http://schemas.microsoft.com/office/drawing/2014/main" id="{140D1306-286B-D86B-C6B5-BC2A0E54B29C}"/>
              </a:ext>
            </a:extLst>
          </p:cNvPr>
          <p:cNvSpPr>
            <a:spLocks noGrp="1"/>
          </p:cNvSpPr>
          <p:nvPr>
            <p:ph type="body" sz="quarter" idx="16" hasCustomPrompt="1"/>
          </p:nvPr>
        </p:nvSpPr>
        <p:spPr>
          <a:xfrm>
            <a:off x="658812" y="551731"/>
            <a:ext cx="5113338" cy="3746207"/>
          </a:xfrm>
        </p:spPr>
        <p:txBody>
          <a:bodyPr anchor="b">
            <a:normAutofit/>
          </a:bodyPr>
          <a:lstStyle>
            <a:lvl1pPr marL="0" indent="0">
              <a:lnSpc>
                <a:spcPct val="90000"/>
              </a:lnSpc>
              <a:spcBef>
                <a:spcPts val="0"/>
              </a:spcBef>
              <a:spcAft>
                <a:spcPts val="0"/>
              </a:spcAft>
              <a:buNone/>
              <a:defRPr sz="6500" b="1">
                <a:solidFill>
                  <a:schemeClr val="bg1"/>
                </a:solidFill>
              </a:defRPr>
            </a:lvl1pPr>
          </a:lstStyle>
          <a:p>
            <a:pPr lvl="0"/>
            <a:r>
              <a:rPr lang="en-GB"/>
              <a:t>Presentation title goes here</a:t>
            </a:r>
            <a:endParaRPr lang="en-NL"/>
          </a:p>
        </p:txBody>
      </p:sp>
      <p:sp>
        <p:nvSpPr>
          <p:cNvPr id="16" name="Text Placeholder 11">
            <a:extLst>
              <a:ext uri="{FF2B5EF4-FFF2-40B4-BE49-F238E27FC236}">
                <a16:creationId xmlns:a16="http://schemas.microsoft.com/office/drawing/2014/main" id="{74A8F2DB-B148-88A1-2854-99FF5E6E5E58}"/>
              </a:ext>
            </a:extLst>
          </p:cNvPr>
          <p:cNvSpPr>
            <a:spLocks noGrp="1"/>
          </p:cNvSpPr>
          <p:nvPr>
            <p:ph type="body" sz="quarter" idx="17" hasCustomPrompt="1"/>
          </p:nvPr>
        </p:nvSpPr>
        <p:spPr>
          <a:xfrm>
            <a:off x="658812" y="4465243"/>
            <a:ext cx="5113338" cy="626878"/>
          </a:xfrm>
        </p:spPr>
        <p:txBody>
          <a:bodyPr>
            <a:normAutofit/>
          </a:bodyPr>
          <a:lstStyle>
            <a:lvl1pPr marL="0" indent="0">
              <a:buNone/>
              <a:defRPr sz="2800" b="0">
                <a:solidFill>
                  <a:srgbClr val="47D985"/>
                </a:solidFill>
              </a:defRPr>
            </a:lvl1pPr>
          </a:lstStyle>
          <a:p>
            <a:pPr lvl="0"/>
            <a:r>
              <a:rPr lang="en-GB"/>
              <a:t>25.08.2022</a:t>
            </a:r>
            <a:endParaRPr lang="en-NL"/>
          </a:p>
        </p:txBody>
      </p:sp>
      <p:sp>
        <p:nvSpPr>
          <p:cNvPr id="7" name="Picture Placeholder 6">
            <a:extLst>
              <a:ext uri="{FF2B5EF4-FFF2-40B4-BE49-F238E27FC236}">
                <a16:creationId xmlns:a16="http://schemas.microsoft.com/office/drawing/2014/main" id="{BAB5E7E1-25E5-E81B-80F1-16B46ADD72C4}"/>
              </a:ext>
            </a:extLst>
          </p:cNvPr>
          <p:cNvSpPr>
            <a:spLocks noGrp="1"/>
          </p:cNvSpPr>
          <p:nvPr>
            <p:ph type="pic" sz="quarter" idx="18"/>
          </p:nvPr>
        </p:nvSpPr>
        <p:spPr>
          <a:xfrm>
            <a:off x="6510879" y="0"/>
            <a:ext cx="5681121" cy="6860682"/>
          </a:xfrm>
          <a:custGeom>
            <a:avLst/>
            <a:gdLst>
              <a:gd name="connsiteX0" fmla="*/ 1792436 w 5681121"/>
              <a:gd name="connsiteY0" fmla="*/ 0 h 6860682"/>
              <a:gd name="connsiteX1" fmla="*/ 2607541 w 5681121"/>
              <a:gd name="connsiteY1" fmla="*/ 0 h 6860682"/>
              <a:gd name="connsiteX2" fmla="*/ 2321681 w 5681121"/>
              <a:gd name="connsiteY2" fmla="*/ 154750 h 6860682"/>
              <a:gd name="connsiteX3" fmla="*/ 425552 w 5681121"/>
              <a:gd name="connsiteY3" fmla="*/ 3013901 h 6860682"/>
              <a:gd name="connsiteX4" fmla="*/ 2076495 w 5681121"/>
              <a:gd name="connsiteY4" fmla="*/ 6858000 h 6860682"/>
              <a:gd name="connsiteX5" fmla="*/ 2432852 w 5681121"/>
              <a:gd name="connsiteY5" fmla="*/ 6858000 h 6860682"/>
              <a:gd name="connsiteX6" fmla="*/ 1106412 w 5681121"/>
              <a:gd name="connsiteY6" fmla="*/ 5293106 h 6860682"/>
              <a:gd name="connsiteX7" fmla="*/ 1023986 w 5681121"/>
              <a:gd name="connsiteY7" fmla="*/ 2390775 h 6860682"/>
              <a:gd name="connsiteX8" fmla="*/ 2893654 w 5681121"/>
              <a:gd name="connsiteY8" fmla="*/ 180594 h 6860682"/>
              <a:gd name="connsiteX9" fmla="*/ 3293858 w 5681121"/>
              <a:gd name="connsiteY9" fmla="*/ 0 h 6860682"/>
              <a:gd name="connsiteX10" fmla="*/ 5681121 w 5681121"/>
              <a:gd name="connsiteY10" fmla="*/ 0 h 6860682"/>
              <a:gd name="connsiteX11" fmla="*/ 5681121 w 5681121"/>
              <a:gd name="connsiteY11" fmla="*/ 6860682 h 6860682"/>
              <a:gd name="connsiteX12" fmla="*/ 1585041 w 5681121"/>
              <a:gd name="connsiteY12" fmla="*/ 6860682 h 6860682"/>
              <a:gd name="connsiteX13" fmla="*/ 243389 w 5681121"/>
              <a:gd name="connsiteY13" fmla="*/ 5161393 h 6860682"/>
              <a:gd name="connsiteX14" fmla="*/ 1792436 w 5681121"/>
              <a:gd name="connsiteY14" fmla="*/ 0 h 686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81121" h="6860682">
                <a:moveTo>
                  <a:pt x="1792436" y="0"/>
                </a:moveTo>
                <a:lnTo>
                  <a:pt x="2607541" y="0"/>
                </a:lnTo>
                <a:cubicBezTo>
                  <a:pt x="2510774" y="47498"/>
                  <a:pt x="2415402" y="99124"/>
                  <a:pt x="2321681" y="154750"/>
                </a:cubicBezTo>
                <a:cubicBezTo>
                  <a:pt x="1288842" y="768668"/>
                  <a:pt x="597702" y="1810830"/>
                  <a:pt x="425552" y="3013901"/>
                </a:cubicBezTo>
                <a:cubicBezTo>
                  <a:pt x="204732" y="4511612"/>
                  <a:pt x="884704" y="6005132"/>
                  <a:pt x="2076495" y="6858000"/>
                </a:cubicBezTo>
                <a:lnTo>
                  <a:pt x="2432852" y="6858000"/>
                </a:lnTo>
                <a:cubicBezTo>
                  <a:pt x="1849901" y="6480620"/>
                  <a:pt x="1391257" y="5943664"/>
                  <a:pt x="1106412" y="5293106"/>
                </a:cubicBezTo>
                <a:cubicBezTo>
                  <a:pt x="712427" y="4393375"/>
                  <a:pt x="683175" y="3362643"/>
                  <a:pt x="1023986" y="2390775"/>
                </a:cubicBezTo>
                <a:cubicBezTo>
                  <a:pt x="1363971" y="1420940"/>
                  <a:pt x="2027382" y="635699"/>
                  <a:pt x="2893654" y="180594"/>
                </a:cubicBezTo>
                <a:cubicBezTo>
                  <a:pt x="3024433" y="111760"/>
                  <a:pt x="3158003" y="51562"/>
                  <a:pt x="3293858" y="0"/>
                </a:cubicBezTo>
                <a:lnTo>
                  <a:pt x="5681121" y="0"/>
                </a:lnTo>
                <a:lnTo>
                  <a:pt x="5681121" y="6860682"/>
                </a:lnTo>
                <a:lnTo>
                  <a:pt x="1585041" y="6860682"/>
                </a:lnTo>
                <a:cubicBezTo>
                  <a:pt x="976954" y="6494907"/>
                  <a:pt x="492377" y="5932458"/>
                  <a:pt x="243389" y="5161393"/>
                </a:cubicBezTo>
                <a:cubicBezTo>
                  <a:pt x="-352570" y="3349919"/>
                  <a:pt x="139246" y="1030182"/>
                  <a:pt x="1792436" y="0"/>
                </a:cubicBezTo>
                <a:close/>
              </a:path>
            </a:pathLst>
          </a:custGeom>
        </p:spPr>
        <p:txBody>
          <a:bodyPr wrap="square" anchor="ctr">
            <a:noAutofit/>
          </a:bodyPr>
          <a:lstStyle>
            <a:lvl1pPr marL="0" indent="0" algn="ctr">
              <a:buNone/>
              <a:defRPr/>
            </a:lvl1pPr>
          </a:lstStyle>
          <a:p>
            <a:r>
              <a:rPr lang="en-US"/>
              <a:t>Click icon to add picture</a:t>
            </a:r>
          </a:p>
        </p:txBody>
      </p:sp>
      <p:grpSp>
        <p:nvGrpSpPr>
          <p:cNvPr id="3" name="Graphic 77">
            <a:extLst>
              <a:ext uri="{FF2B5EF4-FFF2-40B4-BE49-F238E27FC236}">
                <a16:creationId xmlns:a16="http://schemas.microsoft.com/office/drawing/2014/main" id="{9F893BB0-7DF6-1882-0B79-6A8826A2134C}"/>
              </a:ext>
            </a:extLst>
          </p:cNvPr>
          <p:cNvGrpSpPr>
            <a:grpSpLocks noChangeAspect="1"/>
          </p:cNvGrpSpPr>
          <p:nvPr userDrawn="1"/>
        </p:nvGrpSpPr>
        <p:grpSpPr>
          <a:xfrm>
            <a:off x="658812" y="5373113"/>
            <a:ext cx="2549217" cy="933156"/>
            <a:chOff x="4489439" y="2838428"/>
            <a:chExt cx="3217768" cy="1177883"/>
          </a:xfrm>
          <a:solidFill>
            <a:schemeClr val="bg1"/>
          </a:solidFill>
        </p:grpSpPr>
        <p:sp>
          <p:nvSpPr>
            <p:cNvPr id="6" name="Freeform 5">
              <a:extLst>
                <a:ext uri="{FF2B5EF4-FFF2-40B4-BE49-F238E27FC236}">
                  <a16:creationId xmlns:a16="http://schemas.microsoft.com/office/drawing/2014/main" id="{6E151A0C-A34C-2591-5887-5019D4E2FB9A}"/>
                </a:ext>
              </a:extLst>
            </p:cNvPr>
            <p:cNvSpPr/>
            <p:nvPr/>
          </p:nvSpPr>
          <p:spPr>
            <a:xfrm>
              <a:off x="4489439" y="2838428"/>
              <a:ext cx="3217388" cy="1177883"/>
            </a:xfrm>
            <a:custGeom>
              <a:avLst/>
              <a:gdLst>
                <a:gd name="connsiteX0" fmla="*/ 1527089 w 3217388"/>
                <a:gd name="connsiteY0" fmla="*/ 295107 h 1177883"/>
                <a:gd name="connsiteX1" fmla="*/ 1705520 w 3217388"/>
                <a:gd name="connsiteY1" fmla="*/ 295107 h 1177883"/>
                <a:gd name="connsiteX2" fmla="*/ 1705520 w 3217388"/>
                <a:gd name="connsiteY2" fmla="*/ 947283 h 1177883"/>
                <a:gd name="connsiteX3" fmla="*/ 1527089 w 3217388"/>
                <a:gd name="connsiteY3" fmla="*/ 947283 h 1177883"/>
                <a:gd name="connsiteX4" fmla="*/ 1527089 w 3217388"/>
                <a:gd name="connsiteY4" fmla="*/ 295107 h 1177883"/>
                <a:gd name="connsiteX5" fmla="*/ 2318481 w 3217388"/>
                <a:gd name="connsiteY5" fmla="*/ 4403 h 1177883"/>
                <a:gd name="connsiteX6" fmla="*/ 2318481 w 3217388"/>
                <a:gd name="connsiteY6" fmla="*/ 386070 h 1177883"/>
                <a:gd name="connsiteX7" fmla="*/ 2100884 w 3217388"/>
                <a:gd name="connsiteY7" fmla="*/ 274533 h 1177883"/>
                <a:gd name="connsiteX8" fmla="*/ 1939848 w 3217388"/>
                <a:gd name="connsiteY8" fmla="*/ 318919 h 1177883"/>
                <a:gd name="connsiteX9" fmla="*/ 1819785 w 3217388"/>
                <a:gd name="connsiteY9" fmla="*/ 441792 h 1177883"/>
                <a:gd name="connsiteX10" fmla="*/ 1776817 w 3217388"/>
                <a:gd name="connsiteY10" fmla="*/ 620576 h 1177883"/>
                <a:gd name="connsiteX11" fmla="*/ 1819785 w 3217388"/>
                <a:gd name="connsiteY11" fmla="*/ 800027 h 1177883"/>
                <a:gd name="connsiteX12" fmla="*/ 1940419 w 3217388"/>
                <a:gd name="connsiteY12" fmla="*/ 922899 h 1177883"/>
                <a:gd name="connsiteX13" fmla="*/ 2111816 w 3217388"/>
                <a:gd name="connsiteY13" fmla="*/ 966619 h 1177883"/>
                <a:gd name="connsiteX14" fmla="*/ 2318481 w 3217388"/>
                <a:gd name="connsiteY14" fmla="*/ 864606 h 1177883"/>
                <a:gd name="connsiteX15" fmla="*/ 2318481 w 3217388"/>
                <a:gd name="connsiteY15" fmla="*/ 947283 h 1177883"/>
                <a:gd name="connsiteX16" fmla="*/ 2496913 w 3217388"/>
                <a:gd name="connsiteY16" fmla="*/ 947283 h 1177883"/>
                <a:gd name="connsiteX17" fmla="*/ 2496913 w 3217388"/>
                <a:gd name="connsiteY17" fmla="*/ 4403 h 1177883"/>
                <a:gd name="connsiteX18" fmla="*/ 2318481 w 3217388"/>
                <a:gd name="connsiteY18" fmla="*/ 4403 h 1177883"/>
                <a:gd name="connsiteX19" fmla="*/ 2146323 w 3217388"/>
                <a:gd name="connsiteY19" fmla="*/ 813648 h 1177883"/>
                <a:gd name="connsiteX20" fmla="*/ 1957815 w 3217388"/>
                <a:gd name="connsiteY20" fmla="*/ 620576 h 1177883"/>
                <a:gd name="connsiteX21" fmla="*/ 2146323 w 3217388"/>
                <a:gd name="connsiteY21" fmla="*/ 427504 h 1177883"/>
                <a:gd name="connsiteX22" fmla="*/ 2334832 w 3217388"/>
                <a:gd name="connsiteY22" fmla="*/ 620576 h 1177883"/>
                <a:gd name="connsiteX23" fmla="*/ 2146323 w 3217388"/>
                <a:gd name="connsiteY23" fmla="*/ 813648 h 1177883"/>
                <a:gd name="connsiteX24" fmla="*/ 3186113 w 3217388"/>
                <a:gd name="connsiteY24" fmla="*/ 403787 h 1177883"/>
                <a:gd name="connsiteX25" fmla="*/ 3097515 w 3217388"/>
                <a:gd name="connsiteY25" fmla="*/ 307298 h 1177883"/>
                <a:gd name="connsiteX26" fmla="*/ 2959485 w 3217388"/>
                <a:gd name="connsiteY26" fmla="*/ 274533 h 1177883"/>
                <a:gd name="connsiteX27" fmla="*/ 2759189 w 3217388"/>
                <a:gd name="connsiteY27" fmla="*/ 385975 h 1177883"/>
                <a:gd name="connsiteX28" fmla="*/ 2759189 w 3217388"/>
                <a:gd name="connsiteY28" fmla="*/ 4403 h 1177883"/>
                <a:gd name="connsiteX29" fmla="*/ 2580567 w 3217388"/>
                <a:gd name="connsiteY29" fmla="*/ 4403 h 1177883"/>
                <a:gd name="connsiteX30" fmla="*/ 2580567 w 3217388"/>
                <a:gd name="connsiteY30" fmla="*/ 947283 h 1177883"/>
                <a:gd name="connsiteX31" fmla="*/ 2759094 w 3217388"/>
                <a:gd name="connsiteY31" fmla="*/ 947283 h 1177883"/>
                <a:gd name="connsiteX32" fmla="*/ 2759094 w 3217388"/>
                <a:gd name="connsiteY32" fmla="*/ 598097 h 1177883"/>
                <a:gd name="connsiteX33" fmla="*/ 2902162 w 3217388"/>
                <a:gd name="connsiteY33" fmla="*/ 429219 h 1177883"/>
                <a:gd name="connsiteX34" fmla="*/ 3038957 w 3217388"/>
                <a:gd name="connsiteY34" fmla="*/ 598097 h 1177883"/>
                <a:gd name="connsiteX35" fmla="*/ 3038957 w 3217388"/>
                <a:gd name="connsiteY35" fmla="*/ 947283 h 1177883"/>
                <a:gd name="connsiteX36" fmla="*/ 3217388 w 3217388"/>
                <a:gd name="connsiteY36" fmla="*/ 947283 h 1177883"/>
                <a:gd name="connsiteX37" fmla="*/ 3217388 w 3217388"/>
                <a:gd name="connsiteY37" fmla="*/ 560092 h 1177883"/>
                <a:gd name="connsiteX38" fmla="*/ 3185923 w 3217388"/>
                <a:gd name="connsiteY38" fmla="*/ 403787 h 1177883"/>
                <a:gd name="connsiteX39" fmla="*/ 1731282 w 3217388"/>
                <a:gd name="connsiteY39" fmla="*/ 100701 h 1177883"/>
                <a:gd name="connsiteX40" fmla="*/ 1615972 w 3217388"/>
                <a:gd name="connsiteY40" fmla="*/ 216906 h 1177883"/>
                <a:gd name="connsiteX41" fmla="*/ 1507221 w 3217388"/>
                <a:gd name="connsiteY41" fmla="*/ 156803 h 1177883"/>
                <a:gd name="connsiteX42" fmla="*/ 1560836 w 3217388"/>
                <a:gd name="connsiteY42" fmla="*/ 8499 h 1177883"/>
                <a:gd name="connsiteX43" fmla="*/ 1731187 w 3217388"/>
                <a:gd name="connsiteY43" fmla="*/ 100606 h 1177883"/>
                <a:gd name="connsiteX44" fmla="*/ 1731187 w 3217388"/>
                <a:gd name="connsiteY44" fmla="*/ 100606 h 1177883"/>
                <a:gd name="connsiteX45" fmla="*/ 243274 w 3217388"/>
                <a:gd name="connsiteY45" fmla="*/ 1020912 h 1177883"/>
                <a:gd name="connsiteX46" fmla="*/ 250974 w 3217388"/>
                <a:gd name="connsiteY46" fmla="*/ 1046439 h 1177883"/>
                <a:gd name="connsiteX47" fmla="*/ 217798 w 3217388"/>
                <a:gd name="connsiteY47" fmla="*/ 1047010 h 1177883"/>
                <a:gd name="connsiteX48" fmla="*/ 198975 w 3217388"/>
                <a:gd name="connsiteY48" fmla="*/ 1012625 h 1177883"/>
                <a:gd name="connsiteX49" fmla="*/ 243274 w 3217388"/>
                <a:gd name="connsiteY49" fmla="*/ 1020912 h 1177883"/>
                <a:gd name="connsiteX50" fmla="*/ 848820 w 3217388"/>
                <a:gd name="connsiteY50" fmla="*/ 564283 h 1177883"/>
                <a:gd name="connsiteX51" fmla="*/ 826290 w 3217388"/>
                <a:gd name="connsiteY51" fmla="*/ 650103 h 1177883"/>
                <a:gd name="connsiteX52" fmla="*/ 712121 w 3217388"/>
                <a:gd name="connsiteY52" fmla="*/ 716302 h 1177883"/>
                <a:gd name="connsiteX53" fmla="*/ 683507 w 3217388"/>
                <a:gd name="connsiteY53" fmla="*/ 719255 h 1177883"/>
                <a:gd name="connsiteX54" fmla="*/ 564489 w 3217388"/>
                <a:gd name="connsiteY54" fmla="*/ 646103 h 1177883"/>
                <a:gd name="connsiteX55" fmla="*/ 631223 w 3217388"/>
                <a:gd name="connsiteY55" fmla="*/ 446173 h 1177883"/>
                <a:gd name="connsiteX56" fmla="*/ 765451 w 3217388"/>
                <a:gd name="connsiteY56" fmla="*/ 454841 h 1177883"/>
                <a:gd name="connsiteX57" fmla="*/ 848915 w 3217388"/>
                <a:gd name="connsiteY57" fmla="*/ 563997 h 1177883"/>
                <a:gd name="connsiteX58" fmla="*/ 848915 w 3217388"/>
                <a:gd name="connsiteY58" fmla="*/ 564188 h 1177883"/>
                <a:gd name="connsiteX59" fmla="*/ 808039 w 3217388"/>
                <a:gd name="connsiteY59" fmla="*/ 570760 h 1177883"/>
                <a:gd name="connsiteX60" fmla="*/ 718680 w 3217388"/>
                <a:gd name="connsiteY60" fmla="*/ 484749 h 1177883"/>
                <a:gd name="connsiteX61" fmla="*/ 692158 w 3217388"/>
                <a:gd name="connsiteY61" fmla="*/ 481511 h 1177883"/>
                <a:gd name="connsiteX62" fmla="*/ 624759 w 3217388"/>
                <a:gd name="connsiteY62" fmla="*/ 514182 h 1177883"/>
                <a:gd name="connsiteX63" fmla="*/ 612211 w 3217388"/>
                <a:gd name="connsiteY63" fmla="*/ 626291 h 1177883"/>
                <a:gd name="connsiteX64" fmla="*/ 684933 w 3217388"/>
                <a:gd name="connsiteY64" fmla="*/ 671058 h 1177883"/>
                <a:gd name="connsiteX65" fmla="*/ 788076 w 3217388"/>
                <a:gd name="connsiteY65" fmla="*/ 630006 h 1177883"/>
                <a:gd name="connsiteX66" fmla="*/ 807943 w 3217388"/>
                <a:gd name="connsiteY66" fmla="*/ 570665 h 1177883"/>
                <a:gd name="connsiteX67" fmla="*/ 893024 w 3217388"/>
                <a:gd name="connsiteY67" fmla="*/ 502656 h 1177883"/>
                <a:gd name="connsiteX68" fmla="*/ 838173 w 3217388"/>
                <a:gd name="connsiteY68" fmla="*/ 782977 h 1177883"/>
                <a:gd name="connsiteX69" fmla="*/ 677043 w 3217388"/>
                <a:gd name="connsiteY69" fmla="*/ 846414 h 1177883"/>
                <a:gd name="connsiteX70" fmla="*/ 622097 w 3217388"/>
                <a:gd name="connsiteY70" fmla="*/ 840508 h 1177883"/>
                <a:gd name="connsiteX71" fmla="*/ 418569 w 3217388"/>
                <a:gd name="connsiteY71" fmla="*/ 675059 h 1177883"/>
                <a:gd name="connsiteX72" fmla="*/ 419710 w 3217388"/>
                <a:gd name="connsiteY72" fmla="*/ 475224 h 1177883"/>
                <a:gd name="connsiteX73" fmla="*/ 569147 w 3217388"/>
                <a:gd name="connsiteY73" fmla="*/ 334254 h 1177883"/>
                <a:gd name="connsiteX74" fmla="*/ 753663 w 3217388"/>
                <a:gd name="connsiteY74" fmla="*/ 342922 h 1177883"/>
                <a:gd name="connsiteX75" fmla="*/ 893024 w 3217388"/>
                <a:gd name="connsiteY75" fmla="*/ 502561 h 1177883"/>
                <a:gd name="connsiteX76" fmla="*/ 880381 w 3217388"/>
                <a:gd name="connsiteY76" fmla="*/ 507323 h 1177883"/>
                <a:gd name="connsiteX77" fmla="*/ 880381 w 3217388"/>
                <a:gd name="connsiteY77" fmla="*/ 507323 h 1177883"/>
                <a:gd name="connsiteX78" fmla="*/ 670198 w 3217388"/>
                <a:gd name="connsiteY78" fmla="*/ 370449 h 1177883"/>
                <a:gd name="connsiteX79" fmla="*/ 669153 w 3217388"/>
                <a:gd name="connsiteY79" fmla="*/ 370449 h 1177883"/>
                <a:gd name="connsiteX80" fmla="*/ 485588 w 3217388"/>
                <a:gd name="connsiteY80" fmla="*/ 460746 h 1177883"/>
                <a:gd name="connsiteX81" fmla="*/ 448704 w 3217388"/>
                <a:gd name="connsiteY81" fmla="*/ 664391 h 1177883"/>
                <a:gd name="connsiteX82" fmla="*/ 557170 w 3217388"/>
                <a:gd name="connsiteY82" fmla="*/ 793264 h 1177883"/>
                <a:gd name="connsiteX83" fmla="*/ 734270 w 3217388"/>
                <a:gd name="connsiteY83" fmla="*/ 794121 h 1177883"/>
                <a:gd name="connsiteX84" fmla="*/ 880381 w 3217388"/>
                <a:gd name="connsiteY84" fmla="*/ 507419 h 1177883"/>
                <a:gd name="connsiteX85" fmla="*/ 634645 w 3217388"/>
                <a:gd name="connsiteY85" fmla="*/ 996051 h 1177883"/>
                <a:gd name="connsiteX86" fmla="*/ 488535 w 3217388"/>
                <a:gd name="connsiteY86" fmla="*/ 966524 h 1177883"/>
                <a:gd name="connsiteX87" fmla="*/ 255062 w 3217388"/>
                <a:gd name="connsiteY87" fmla="*/ 426742 h 1177883"/>
                <a:gd name="connsiteX88" fmla="*/ 580460 w 3217388"/>
                <a:gd name="connsiteY88" fmla="*/ 157280 h 1177883"/>
                <a:gd name="connsiteX89" fmla="*/ 969359 w 3217388"/>
                <a:gd name="connsiteY89" fmla="*/ 317490 h 1177883"/>
                <a:gd name="connsiteX90" fmla="*/ 1014704 w 3217388"/>
                <a:gd name="connsiteY90" fmla="*/ 721255 h 1177883"/>
                <a:gd name="connsiteX91" fmla="*/ 785129 w 3217388"/>
                <a:gd name="connsiteY91" fmla="*/ 964714 h 1177883"/>
                <a:gd name="connsiteX92" fmla="*/ 634645 w 3217388"/>
                <a:gd name="connsiteY92" fmla="*/ 996051 h 1177883"/>
                <a:gd name="connsiteX93" fmla="*/ 1002631 w 3217388"/>
                <a:gd name="connsiteY93" fmla="*/ 716493 h 1177883"/>
                <a:gd name="connsiteX94" fmla="*/ 945593 w 3217388"/>
                <a:gd name="connsiteY94" fmla="*/ 359496 h 1177883"/>
                <a:gd name="connsiteX95" fmla="*/ 637212 w 3217388"/>
                <a:gd name="connsiteY95" fmla="*/ 204333 h 1177883"/>
                <a:gd name="connsiteX96" fmla="*/ 590156 w 3217388"/>
                <a:gd name="connsiteY96" fmla="*/ 207191 h 1177883"/>
                <a:gd name="connsiteX97" fmla="*/ 284151 w 3217388"/>
                <a:gd name="connsiteY97" fmla="*/ 438077 h 1177883"/>
                <a:gd name="connsiteX98" fmla="*/ 376456 w 3217388"/>
                <a:gd name="connsiteY98" fmla="*/ 851748 h 1177883"/>
                <a:gd name="connsiteX99" fmla="*/ 744632 w 3217388"/>
                <a:gd name="connsiteY99" fmla="*/ 937568 h 1177883"/>
                <a:gd name="connsiteX100" fmla="*/ 1002536 w 3217388"/>
                <a:gd name="connsiteY100" fmla="*/ 716493 h 1177883"/>
                <a:gd name="connsiteX101" fmla="*/ 1002536 w 3217388"/>
                <a:gd name="connsiteY101" fmla="*/ 716493 h 1177883"/>
                <a:gd name="connsiteX102" fmla="*/ 43834 w 3217388"/>
                <a:gd name="connsiteY102" fmla="*/ 569617 h 1177883"/>
                <a:gd name="connsiteX103" fmla="*/ 240328 w 3217388"/>
                <a:gd name="connsiteY103" fmla="*/ 192998 h 1177883"/>
                <a:gd name="connsiteX104" fmla="*/ 636451 w 3217388"/>
                <a:gd name="connsiteY104" fmla="*/ 44408 h 1177883"/>
                <a:gd name="connsiteX105" fmla="*/ 1012897 w 3217388"/>
                <a:gd name="connsiteY105" fmla="*/ 220240 h 1177883"/>
                <a:gd name="connsiteX106" fmla="*/ 1019742 w 3217388"/>
                <a:gd name="connsiteY106" fmla="*/ 223955 h 1177883"/>
                <a:gd name="connsiteX107" fmla="*/ 1027537 w 3217388"/>
                <a:gd name="connsiteY107" fmla="*/ 221288 h 1177883"/>
                <a:gd name="connsiteX108" fmla="*/ 1030674 w 3217388"/>
                <a:gd name="connsiteY108" fmla="*/ 213668 h 1177883"/>
                <a:gd name="connsiteX109" fmla="*/ 1027822 w 3217388"/>
                <a:gd name="connsiteY109" fmla="*/ 206905 h 1177883"/>
                <a:gd name="connsiteX110" fmla="*/ 565345 w 3217388"/>
                <a:gd name="connsiteY110" fmla="*/ 212 h 1177883"/>
                <a:gd name="connsiteX111" fmla="*/ 119504 w 3217388"/>
                <a:gd name="connsiteY111" fmla="*/ 229765 h 1177883"/>
                <a:gd name="connsiteX112" fmla="*/ 148402 w 3217388"/>
                <a:gd name="connsiteY112" fmla="*/ 978049 h 1177883"/>
                <a:gd name="connsiteX113" fmla="*/ 152775 w 3217388"/>
                <a:gd name="connsiteY113" fmla="*/ 982907 h 1177883"/>
                <a:gd name="connsiteX114" fmla="*/ 155057 w 3217388"/>
                <a:gd name="connsiteY114" fmla="*/ 985383 h 1177883"/>
                <a:gd name="connsiteX115" fmla="*/ 156198 w 3217388"/>
                <a:gd name="connsiteY115" fmla="*/ 986050 h 1177883"/>
                <a:gd name="connsiteX116" fmla="*/ 162852 w 3217388"/>
                <a:gd name="connsiteY116" fmla="*/ 987860 h 1177883"/>
                <a:gd name="connsiteX117" fmla="*/ 166464 w 3217388"/>
                <a:gd name="connsiteY117" fmla="*/ 987384 h 1177883"/>
                <a:gd name="connsiteX118" fmla="*/ 173974 w 3217388"/>
                <a:gd name="connsiteY118" fmla="*/ 981383 h 1177883"/>
                <a:gd name="connsiteX119" fmla="*/ 172168 w 3217388"/>
                <a:gd name="connsiteY119" fmla="*/ 967191 h 1177883"/>
                <a:gd name="connsiteX120" fmla="*/ 43929 w 3217388"/>
                <a:gd name="connsiteY120" fmla="*/ 569712 h 1177883"/>
                <a:gd name="connsiteX121" fmla="*/ 1172032 w 3217388"/>
                <a:gd name="connsiteY121" fmla="*/ 561997 h 1177883"/>
                <a:gd name="connsiteX122" fmla="*/ 1171651 w 3217388"/>
                <a:gd name="connsiteY122" fmla="*/ 559902 h 1177883"/>
                <a:gd name="connsiteX123" fmla="*/ 1159578 w 3217388"/>
                <a:gd name="connsiteY123" fmla="*/ 550853 h 1177883"/>
                <a:gd name="connsiteX124" fmla="*/ 1150738 w 3217388"/>
                <a:gd name="connsiteY124" fmla="*/ 555520 h 1177883"/>
                <a:gd name="connsiteX125" fmla="*/ 1148076 w 3217388"/>
                <a:gd name="connsiteY125" fmla="*/ 565521 h 1177883"/>
                <a:gd name="connsiteX126" fmla="*/ 1074403 w 3217388"/>
                <a:gd name="connsiteY126" fmla="*/ 861939 h 1177883"/>
                <a:gd name="connsiteX127" fmla="*/ 621241 w 3217388"/>
                <a:gd name="connsiteY127" fmla="*/ 1150642 h 1177883"/>
                <a:gd name="connsiteX128" fmla="*/ 609169 w 3217388"/>
                <a:gd name="connsiteY128" fmla="*/ 1165692 h 1177883"/>
                <a:gd name="connsiteX129" fmla="*/ 620481 w 3217388"/>
                <a:gd name="connsiteY129" fmla="*/ 1177693 h 1177883"/>
                <a:gd name="connsiteX130" fmla="*/ 621432 w 3217388"/>
                <a:gd name="connsiteY130" fmla="*/ 1177884 h 1177883"/>
                <a:gd name="connsiteX131" fmla="*/ 622382 w 3217388"/>
                <a:gd name="connsiteY131" fmla="*/ 1177884 h 1177883"/>
                <a:gd name="connsiteX132" fmla="*/ 664685 w 3217388"/>
                <a:gd name="connsiteY132" fmla="*/ 1174264 h 1177883"/>
                <a:gd name="connsiteX133" fmla="*/ 1045599 w 3217388"/>
                <a:gd name="connsiteY133" fmla="*/ 963285 h 1177883"/>
                <a:gd name="connsiteX134" fmla="*/ 1172032 w 3217388"/>
                <a:gd name="connsiteY134" fmla="*/ 561997 h 1177883"/>
                <a:gd name="connsiteX135" fmla="*/ 1170130 w 3217388"/>
                <a:gd name="connsiteY135" fmla="*/ 489226 h 1177883"/>
                <a:gd name="connsiteX136" fmla="*/ 1142657 w 3217388"/>
                <a:gd name="connsiteY136" fmla="*/ 363591 h 1177883"/>
                <a:gd name="connsiteX137" fmla="*/ 1115565 w 3217388"/>
                <a:gd name="connsiteY137" fmla="*/ 352923 h 1177883"/>
                <a:gd name="connsiteX138" fmla="*/ 1114804 w 3217388"/>
                <a:gd name="connsiteY138" fmla="*/ 389975 h 1177883"/>
                <a:gd name="connsiteX139" fmla="*/ 1145414 w 3217388"/>
                <a:gd name="connsiteY139" fmla="*/ 486559 h 1177883"/>
                <a:gd name="connsiteX140" fmla="*/ 1158913 w 3217388"/>
                <a:gd name="connsiteY140" fmla="*/ 501418 h 1177883"/>
                <a:gd name="connsiteX141" fmla="*/ 1170130 w 3217388"/>
                <a:gd name="connsiteY141" fmla="*/ 489321 h 117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217388" h="1177883">
                  <a:moveTo>
                    <a:pt x="1527089" y="295107"/>
                  </a:moveTo>
                  <a:lnTo>
                    <a:pt x="1705520" y="295107"/>
                  </a:lnTo>
                  <a:lnTo>
                    <a:pt x="1705520" y="947283"/>
                  </a:lnTo>
                  <a:lnTo>
                    <a:pt x="1527089" y="947283"/>
                  </a:lnTo>
                  <a:lnTo>
                    <a:pt x="1527089" y="295107"/>
                  </a:lnTo>
                  <a:close/>
                  <a:moveTo>
                    <a:pt x="2318481" y="4403"/>
                  </a:moveTo>
                  <a:lnTo>
                    <a:pt x="2318481" y="386070"/>
                  </a:lnTo>
                  <a:cubicBezTo>
                    <a:pt x="2295095" y="345779"/>
                    <a:pt x="2216669" y="274533"/>
                    <a:pt x="2100884" y="274533"/>
                  </a:cubicBezTo>
                  <a:cubicBezTo>
                    <a:pt x="2046888" y="274533"/>
                    <a:pt x="1991182" y="289296"/>
                    <a:pt x="1939848" y="318919"/>
                  </a:cubicBezTo>
                  <a:cubicBezTo>
                    <a:pt x="1888515" y="348542"/>
                    <a:pt x="1848494" y="389499"/>
                    <a:pt x="1819785" y="441792"/>
                  </a:cubicBezTo>
                  <a:cubicBezTo>
                    <a:pt x="1791076" y="494084"/>
                    <a:pt x="1776817" y="553710"/>
                    <a:pt x="1776817" y="620576"/>
                  </a:cubicBezTo>
                  <a:cubicBezTo>
                    <a:pt x="1776817" y="687441"/>
                    <a:pt x="1791171" y="747258"/>
                    <a:pt x="1819785" y="800027"/>
                  </a:cubicBezTo>
                  <a:cubicBezTo>
                    <a:pt x="1848399" y="852795"/>
                    <a:pt x="1888705" y="893753"/>
                    <a:pt x="1940419" y="922899"/>
                  </a:cubicBezTo>
                  <a:cubicBezTo>
                    <a:pt x="1992228" y="952046"/>
                    <a:pt x="2048409" y="966619"/>
                    <a:pt x="2111816" y="966619"/>
                  </a:cubicBezTo>
                  <a:cubicBezTo>
                    <a:pt x="2223704" y="966619"/>
                    <a:pt x="2302605" y="899182"/>
                    <a:pt x="2318481" y="864606"/>
                  </a:cubicBezTo>
                  <a:lnTo>
                    <a:pt x="2318481" y="947283"/>
                  </a:lnTo>
                  <a:cubicBezTo>
                    <a:pt x="2318481" y="947283"/>
                    <a:pt x="2496913" y="947283"/>
                    <a:pt x="2496913" y="947283"/>
                  </a:cubicBezTo>
                  <a:lnTo>
                    <a:pt x="2496913" y="4403"/>
                  </a:lnTo>
                  <a:lnTo>
                    <a:pt x="2318481" y="4403"/>
                  </a:lnTo>
                  <a:close/>
                  <a:moveTo>
                    <a:pt x="2146323" y="813648"/>
                  </a:moveTo>
                  <a:cubicBezTo>
                    <a:pt x="2030633" y="813648"/>
                    <a:pt x="1957815" y="728304"/>
                    <a:pt x="1957815" y="620576"/>
                  </a:cubicBezTo>
                  <a:cubicBezTo>
                    <a:pt x="1957815" y="512848"/>
                    <a:pt x="2030252" y="427504"/>
                    <a:pt x="2146323" y="427504"/>
                  </a:cubicBezTo>
                  <a:cubicBezTo>
                    <a:pt x="2262394" y="427504"/>
                    <a:pt x="2334832" y="512848"/>
                    <a:pt x="2334832" y="620576"/>
                  </a:cubicBezTo>
                  <a:cubicBezTo>
                    <a:pt x="2334832" y="728304"/>
                    <a:pt x="2260398" y="813648"/>
                    <a:pt x="2146323" y="813648"/>
                  </a:cubicBezTo>
                  <a:close/>
                  <a:moveTo>
                    <a:pt x="3186113" y="403787"/>
                  </a:moveTo>
                  <a:cubicBezTo>
                    <a:pt x="3165104" y="361305"/>
                    <a:pt x="3135635" y="329206"/>
                    <a:pt x="3097515" y="307298"/>
                  </a:cubicBezTo>
                  <a:cubicBezTo>
                    <a:pt x="3059395" y="285391"/>
                    <a:pt x="3013480" y="274533"/>
                    <a:pt x="2959485" y="274533"/>
                  </a:cubicBezTo>
                  <a:cubicBezTo>
                    <a:pt x="2848832" y="274533"/>
                    <a:pt x="2777441" y="350351"/>
                    <a:pt x="2759189" y="385975"/>
                  </a:cubicBezTo>
                  <a:lnTo>
                    <a:pt x="2759189" y="4403"/>
                  </a:lnTo>
                  <a:lnTo>
                    <a:pt x="2580567" y="4403"/>
                  </a:lnTo>
                  <a:lnTo>
                    <a:pt x="2580567" y="947283"/>
                  </a:lnTo>
                  <a:lnTo>
                    <a:pt x="2759094" y="947283"/>
                  </a:lnTo>
                  <a:lnTo>
                    <a:pt x="2759094" y="598097"/>
                  </a:lnTo>
                  <a:cubicBezTo>
                    <a:pt x="2759094" y="495227"/>
                    <a:pt x="2816987" y="429219"/>
                    <a:pt x="2902162" y="429219"/>
                  </a:cubicBezTo>
                  <a:cubicBezTo>
                    <a:pt x="2947792" y="429219"/>
                    <a:pt x="3038957" y="462175"/>
                    <a:pt x="3038957" y="598097"/>
                  </a:cubicBezTo>
                  <a:lnTo>
                    <a:pt x="3038957" y="947283"/>
                  </a:lnTo>
                  <a:lnTo>
                    <a:pt x="3217388" y="947283"/>
                  </a:lnTo>
                  <a:lnTo>
                    <a:pt x="3217388" y="560092"/>
                  </a:lnTo>
                  <a:cubicBezTo>
                    <a:pt x="3217388" y="498370"/>
                    <a:pt x="3206932" y="446268"/>
                    <a:pt x="3185923" y="403787"/>
                  </a:cubicBezTo>
                  <a:close/>
                  <a:moveTo>
                    <a:pt x="1731282" y="100701"/>
                  </a:moveTo>
                  <a:cubicBezTo>
                    <a:pt x="1740503" y="166900"/>
                    <a:pt x="1673104" y="211667"/>
                    <a:pt x="1615972" y="216906"/>
                  </a:cubicBezTo>
                  <a:cubicBezTo>
                    <a:pt x="1570342" y="223193"/>
                    <a:pt x="1522621" y="204333"/>
                    <a:pt x="1507221" y="156803"/>
                  </a:cubicBezTo>
                  <a:cubicBezTo>
                    <a:pt x="1489539" y="102987"/>
                    <a:pt x="1506555" y="32978"/>
                    <a:pt x="1560836" y="8499"/>
                  </a:cubicBezTo>
                  <a:cubicBezTo>
                    <a:pt x="1627474" y="-20266"/>
                    <a:pt x="1718163" y="27359"/>
                    <a:pt x="1731187" y="100606"/>
                  </a:cubicBezTo>
                  <a:lnTo>
                    <a:pt x="1731187" y="100606"/>
                  </a:lnTo>
                  <a:close/>
                  <a:moveTo>
                    <a:pt x="243274" y="1020912"/>
                  </a:moveTo>
                  <a:cubicBezTo>
                    <a:pt x="251735" y="1025864"/>
                    <a:pt x="257819" y="1034437"/>
                    <a:pt x="250974" y="1046439"/>
                  </a:cubicBezTo>
                  <a:cubicBezTo>
                    <a:pt x="244130" y="1058440"/>
                    <a:pt x="225213" y="1053297"/>
                    <a:pt x="217798" y="1047010"/>
                  </a:cubicBezTo>
                  <a:cubicBezTo>
                    <a:pt x="206961" y="1037771"/>
                    <a:pt x="194793" y="1016816"/>
                    <a:pt x="198975" y="1012625"/>
                  </a:cubicBezTo>
                  <a:cubicBezTo>
                    <a:pt x="203158" y="1008434"/>
                    <a:pt x="234814" y="1015959"/>
                    <a:pt x="243274" y="1020912"/>
                  </a:cubicBezTo>
                  <a:close/>
                  <a:moveTo>
                    <a:pt x="848820" y="564283"/>
                  </a:moveTo>
                  <a:cubicBezTo>
                    <a:pt x="853383" y="594382"/>
                    <a:pt x="845588" y="624100"/>
                    <a:pt x="826290" y="650103"/>
                  </a:cubicBezTo>
                  <a:cubicBezTo>
                    <a:pt x="800814" y="684489"/>
                    <a:pt x="757085" y="709825"/>
                    <a:pt x="712121" y="716302"/>
                  </a:cubicBezTo>
                  <a:cubicBezTo>
                    <a:pt x="702900" y="718302"/>
                    <a:pt x="693299" y="719255"/>
                    <a:pt x="683507" y="719255"/>
                  </a:cubicBezTo>
                  <a:cubicBezTo>
                    <a:pt x="635406" y="719255"/>
                    <a:pt x="583692" y="695157"/>
                    <a:pt x="564489" y="646103"/>
                  </a:cubicBezTo>
                  <a:cubicBezTo>
                    <a:pt x="536161" y="577332"/>
                    <a:pt x="556219" y="480558"/>
                    <a:pt x="631223" y="446173"/>
                  </a:cubicBezTo>
                  <a:cubicBezTo>
                    <a:pt x="672955" y="428361"/>
                    <a:pt x="721912" y="431504"/>
                    <a:pt x="765451" y="454841"/>
                  </a:cubicBezTo>
                  <a:cubicBezTo>
                    <a:pt x="809750" y="478558"/>
                    <a:pt x="840170" y="518372"/>
                    <a:pt x="848915" y="563997"/>
                  </a:cubicBezTo>
                  <a:lnTo>
                    <a:pt x="848915" y="564188"/>
                  </a:lnTo>
                  <a:close/>
                  <a:moveTo>
                    <a:pt x="808039" y="570760"/>
                  </a:moveTo>
                  <a:cubicBezTo>
                    <a:pt x="801004" y="531041"/>
                    <a:pt x="764215" y="495703"/>
                    <a:pt x="718680" y="484749"/>
                  </a:cubicBezTo>
                  <a:cubicBezTo>
                    <a:pt x="709554" y="482559"/>
                    <a:pt x="700713" y="481511"/>
                    <a:pt x="692158" y="481511"/>
                  </a:cubicBezTo>
                  <a:cubicBezTo>
                    <a:pt x="664590" y="481511"/>
                    <a:pt x="640824" y="492846"/>
                    <a:pt x="624759" y="514182"/>
                  </a:cubicBezTo>
                  <a:cubicBezTo>
                    <a:pt x="603180" y="543423"/>
                    <a:pt x="598046" y="589620"/>
                    <a:pt x="612211" y="626291"/>
                  </a:cubicBezTo>
                  <a:cubicBezTo>
                    <a:pt x="622477" y="652961"/>
                    <a:pt x="650996" y="670487"/>
                    <a:pt x="684933" y="671058"/>
                  </a:cubicBezTo>
                  <a:cubicBezTo>
                    <a:pt x="723243" y="672201"/>
                    <a:pt x="764785" y="655628"/>
                    <a:pt x="788076" y="630006"/>
                  </a:cubicBezTo>
                  <a:cubicBezTo>
                    <a:pt x="803666" y="612956"/>
                    <a:pt x="810510" y="592382"/>
                    <a:pt x="807943" y="570665"/>
                  </a:cubicBezTo>
                  <a:close/>
                  <a:moveTo>
                    <a:pt x="893024" y="502656"/>
                  </a:moveTo>
                  <a:cubicBezTo>
                    <a:pt x="924014" y="587715"/>
                    <a:pt x="919166" y="707444"/>
                    <a:pt x="838173" y="782977"/>
                  </a:cubicBezTo>
                  <a:cubicBezTo>
                    <a:pt x="794730" y="824411"/>
                    <a:pt x="737883" y="846414"/>
                    <a:pt x="677043" y="846414"/>
                  </a:cubicBezTo>
                  <a:cubicBezTo>
                    <a:pt x="658981" y="846414"/>
                    <a:pt x="640634" y="844509"/>
                    <a:pt x="622097" y="840508"/>
                  </a:cubicBezTo>
                  <a:cubicBezTo>
                    <a:pt x="530742" y="821172"/>
                    <a:pt x="452791" y="757736"/>
                    <a:pt x="418569" y="675059"/>
                  </a:cubicBezTo>
                  <a:cubicBezTo>
                    <a:pt x="391096" y="613241"/>
                    <a:pt x="391476" y="540375"/>
                    <a:pt x="419710" y="475224"/>
                  </a:cubicBezTo>
                  <a:cubicBezTo>
                    <a:pt x="448609" y="408454"/>
                    <a:pt x="503079" y="357019"/>
                    <a:pt x="569147" y="334254"/>
                  </a:cubicBezTo>
                  <a:cubicBezTo>
                    <a:pt x="631413" y="311966"/>
                    <a:pt x="695200" y="315014"/>
                    <a:pt x="753663" y="342922"/>
                  </a:cubicBezTo>
                  <a:cubicBezTo>
                    <a:pt x="817165" y="373307"/>
                    <a:pt x="867928" y="431409"/>
                    <a:pt x="893024" y="502561"/>
                  </a:cubicBezTo>
                  <a:close/>
                  <a:moveTo>
                    <a:pt x="880381" y="507323"/>
                  </a:moveTo>
                  <a:lnTo>
                    <a:pt x="880381" y="507323"/>
                  </a:lnTo>
                  <a:cubicBezTo>
                    <a:pt x="851957" y="425885"/>
                    <a:pt x="765356" y="369497"/>
                    <a:pt x="670198" y="370449"/>
                  </a:cubicBezTo>
                  <a:cubicBezTo>
                    <a:pt x="669818" y="370449"/>
                    <a:pt x="669533" y="370449"/>
                    <a:pt x="669153" y="370449"/>
                  </a:cubicBezTo>
                  <a:cubicBezTo>
                    <a:pt x="595765" y="370449"/>
                    <a:pt x="528936" y="403311"/>
                    <a:pt x="485588" y="460746"/>
                  </a:cubicBezTo>
                  <a:cubicBezTo>
                    <a:pt x="441859" y="518658"/>
                    <a:pt x="428360" y="592858"/>
                    <a:pt x="448704" y="664391"/>
                  </a:cubicBezTo>
                  <a:cubicBezTo>
                    <a:pt x="465720" y="722493"/>
                    <a:pt x="504220" y="768309"/>
                    <a:pt x="557170" y="793264"/>
                  </a:cubicBezTo>
                  <a:cubicBezTo>
                    <a:pt x="611735" y="818982"/>
                    <a:pt x="676378" y="819267"/>
                    <a:pt x="734270" y="794121"/>
                  </a:cubicBezTo>
                  <a:cubicBezTo>
                    <a:pt x="839029" y="752307"/>
                    <a:pt x="924680" y="624291"/>
                    <a:pt x="880381" y="507419"/>
                  </a:cubicBezTo>
                  <a:close/>
                  <a:moveTo>
                    <a:pt x="634645" y="996051"/>
                  </a:moveTo>
                  <a:cubicBezTo>
                    <a:pt x="585118" y="996051"/>
                    <a:pt x="535686" y="986241"/>
                    <a:pt x="488535" y="966524"/>
                  </a:cubicBezTo>
                  <a:cubicBezTo>
                    <a:pt x="287383" y="883371"/>
                    <a:pt x="180438" y="636197"/>
                    <a:pt x="255062" y="426742"/>
                  </a:cubicBezTo>
                  <a:cubicBezTo>
                    <a:pt x="305065" y="281391"/>
                    <a:pt x="426744" y="180616"/>
                    <a:pt x="580460" y="157280"/>
                  </a:cubicBezTo>
                  <a:cubicBezTo>
                    <a:pt x="733605" y="134039"/>
                    <a:pt x="878955" y="193856"/>
                    <a:pt x="969359" y="317490"/>
                  </a:cubicBezTo>
                  <a:cubicBezTo>
                    <a:pt x="1049972" y="427790"/>
                    <a:pt x="1067748" y="586286"/>
                    <a:pt x="1014704" y="721255"/>
                  </a:cubicBezTo>
                  <a:cubicBezTo>
                    <a:pt x="972876" y="831078"/>
                    <a:pt x="889127" y="919851"/>
                    <a:pt x="785129" y="964714"/>
                  </a:cubicBezTo>
                  <a:cubicBezTo>
                    <a:pt x="736647" y="985574"/>
                    <a:pt x="685599" y="996051"/>
                    <a:pt x="634645" y="996051"/>
                  </a:cubicBezTo>
                  <a:close/>
                  <a:moveTo>
                    <a:pt x="1002631" y="716493"/>
                  </a:moveTo>
                  <a:cubicBezTo>
                    <a:pt x="1047975" y="601907"/>
                    <a:pt x="1025541" y="461794"/>
                    <a:pt x="945593" y="359496"/>
                  </a:cubicBezTo>
                  <a:cubicBezTo>
                    <a:pt x="870019" y="260340"/>
                    <a:pt x="757180" y="204333"/>
                    <a:pt x="637212" y="204333"/>
                  </a:cubicBezTo>
                  <a:cubicBezTo>
                    <a:pt x="621622" y="204333"/>
                    <a:pt x="605937" y="205286"/>
                    <a:pt x="590156" y="207191"/>
                  </a:cubicBezTo>
                  <a:cubicBezTo>
                    <a:pt x="454407" y="223669"/>
                    <a:pt x="339953" y="309966"/>
                    <a:pt x="284151" y="438077"/>
                  </a:cubicBezTo>
                  <a:cubicBezTo>
                    <a:pt x="221410" y="578952"/>
                    <a:pt x="260196" y="752878"/>
                    <a:pt x="376456" y="851748"/>
                  </a:cubicBezTo>
                  <a:cubicBezTo>
                    <a:pt x="472089" y="937187"/>
                    <a:pt x="613066" y="970048"/>
                    <a:pt x="744632" y="937568"/>
                  </a:cubicBezTo>
                  <a:cubicBezTo>
                    <a:pt x="866882" y="907469"/>
                    <a:pt x="960898" y="826887"/>
                    <a:pt x="1002536" y="716493"/>
                  </a:cubicBezTo>
                  <a:lnTo>
                    <a:pt x="1002536" y="716493"/>
                  </a:lnTo>
                  <a:close/>
                  <a:moveTo>
                    <a:pt x="43834" y="569617"/>
                  </a:moveTo>
                  <a:cubicBezTo>
                    <a:pt x="57713" y="426551"/>
                    <a:pt x="127584" y="292725"/>
                    <a:pt x="240328" y="192998"/>
                  </a:cubicBezTo>
                  <a:cubicBezTo>
                    <a:pt x="352881" y="93462"/>
                    <a:pt x="493478" y="40598"/>
                    <a:pt x="636451" y="44408"/>
                  </a:cubicBezTo>
                  <a:cubicBezTo>
                    <a:pt x="781516" y="48218"/>
                    <a:pt x="915174" y="110607"/>
                    <a:pt x="1012897" y="220240"/>
                  </a:cubicBezTo>
                  <a:cubicBezTo>
                    <a:pt x="1014609" y="222335"/>
                    <a:pt x="1017080" y="223669"/>
                    <a:pt x="1019742" y="223955"/>
                  </a:cubicBezTo>
                  <a:cubicBezTo>
                    <a:pt x="1022594" y="224241"/>
                    <a:pt x="1025541" y="223288"/>
                    <a:pt x="1027537" y="221288"/>
                  </a:cubicBezTo>
                  <a:cubicBezTo>
                    <a:pt x="1029628" y="219383"/>
                    <a:pt x="1030769" y="216525"/>
                    <a:pt x="1030674" y="213668"/>
                  </a:cubicBezTo>
                  <a:cubicBezTo>
                    <a:pt x="1030674" y="211096"/>
                    <a:pt x="1029533" y="208715"/>
                    <a:pt x="1027822" y="206905"/>
                  </a:cubicBezTo>
                  <a:cubicBezTo>
                    <a:pt x="912512" y="70888"/>
                    <a:pt x="743967" y="-4264"/>
                    <a:pt x="565345" y="212"/>
                  </a:cubicBezTo>
                  <a:cubicBezTo>
                    <a:pt x="389765" y="4784"/>
                    <a:pt x="227304" y="88414"/>
                    <a:pt x="119504" y="229765"/>
                  </a:cubicBezTo>
                  <a:cubicBezTo>
                    <a:pt x="-50277" y="450459"/>
                    <a:pt x="-37824" y="772214"/>
                    <a:pt x="148402" y="978049"/>
                  </a:cubicBezTo>
                  <a:cubicBezTo>
                    <a:pt x="149828" y="979668"/>
                    <a:pt x="151349" y="981287"/>
                    <a:pt x="152775" y="982907"/>
                  </a:cubicBezTo>
                  <a:lnTo>
                    <a:pt x="155057" y="985383"/>
                  </a:lnTo>
                  <a:lnTo>
                    <a:pt x="156198" y="986050"/>
                  </a:lnTo>
                  <a:cubicBezTo>
                    <a:pt x="158194" y="987193"/>
                    <a:pt x="160570" y="987860"/>
                    <a:pt x="162852" y="987860"/>
                  </a:cubicBezTo>
                  <a:cubicBezTo>
                    <a:pt x="164088" y="987860"/>
                    <a:pt x="165228" y="987669"/>
                    <a:pt x="166464" y="987384"/>
                  </a:cubicBezTo>
                  <a:cubicBezTo>
                    <a:pt x="169696" y="986431"/>
                    <a:pt x="172453" y="984240"/>
                    <a:pt x="173974" y="981383"/>
                  </a:cubicBezTo>
                  <a:cubicBezTo>
                    <a:pt x="176351" y="976906"/>
                    <a:pt x="175685" y="971477"/>
                    <a:pt x="172168" y="967191"/>
                  </a:cubicBezTo>
                  <a:cubicBezTo>
                    <a:pt x="75300" y="856129"/>
                    <a:pt x="29765" y="714968"/>
                    <a:pt x="43929" y="569712"/>
                  </a:cubicBezTo>
                  <a:close/>
                  <a:moveTo>
                    <a:pt x="1172032" y="561997"/>
                  </a:moveTo>
                  <a:lnTo>
                    <a:pt x="1171651" y="559902"/>
                  </a:lnTo>
                  <a:cubicBezTo>
                    <a:pt x="1169940" y="554377"/>
                    <a:pt x="1164997" y="550567"/>
                    <a:pt x="1159578" y="550853"/>
                  </a:cubicBezTo>
                  <a:cubicBezTo>
                    <a:pt x="1156156" y="550948"/>
                    <a:pt x="1152924" y="552663"/>
                    <a:pt x="1150738" y="555520"/>
                  </a:cubicBezTo>
                  <a:cubicBezTo>
                    <a:pt x="1148551" y="558378"/>
                    <a:pt x="1147601" y="561902"/>
                    <a:pt x="1148076" y="565521"/>
                  </a:cubicBezTo>
                  <a:cubicBezTo>
                    <a:pt x="1151118" y="670677"/>
                    <a:pt x="1125641" y="773166"/>
                    <a:pt x="1074403" y="861939"/>
                  </a:cubicBezTo>
                  <a:cubicBezTo>
                    <a:pt x="980957" y="1028532"/>
                    <a:pt x="811746" y="1136450"/>
                    <a:pt x="621241" y="1150642"/>
                  </a:cubicBezTo>
                  <a:cubicBezTo>
                    <a:pt x="613827" y="1151595"/>
                    <a:pt x="608408" y="1158357"/>
                    <a:pt x="609169" y="1165692"/>
                  </a:cubicBezTo>
                  <a:cubicBezTo>
                    <a:pt x="609834" y="1171692"/>
                    <a:pt x="614397" y="1176550"/>
                    <a:pt x="620481" y="1177693"/>
                  </a:cubicBezTo>
                  <a:lnTo>
                    <a:pt x="621432" y="1177884"/>
                  </a:lnTo>
                  <a:lnTo>
                    <a:pt x="622382" y="1177884"/>
                  </a:lnTo>
                  <a:cubicBezTo>
                    <a:pt x="636642" y="1177217"/>
                    <a:pt x="650901" y="1175979"/>
                    <a:pt x="664685" y="1174264"/>
                  </a:cubicBezTo>
                  <a:cubicBezTo>
                    <a:pt x="816689" y="1155976"/>
                    <a:pt x="951963" y="1081014"/>
                    <a:pt x="1045599" y="963285"/>
                  </a:cubicBezTo>
                  <a:cubicBezTo>
                    <a:pt x="1135813" y="849843"/>
                    <a:pt x="1180682" y="707349"/>
                    <a:pt x="1172032" y="561997"/>
                  </a:cubicBezTo>
                  <a:close/>
                  <a:moveTo>
                    <a:pt x="1170130" y="489226"/>
                  </a:moveTo>
                  <a:cubicBezTo>
                    <a:pt x="1175073" y="468938"/>
                    <a:pt x="1167849" y="393595"/>
                    <a:pt x="1142657" y="363591"/>
                  </a:cubicBezTo>
                  <a:cubicBezTo>
                    <a:pt x="1134957" y="354352"/>
                    <a:pt x="1125831" y="346732"/>
                    <a:pt x="1115565" y="352923"/>
                  </a:cubicBezTo>
                  <a:cubicBezTo>
                    <a:pt x="1101876" y="361115"/>
                    <a:pt x="1104728" y="376069"/>
                    <a:pt x="1114804" y="389975"/>
                  </a:cubicBezTo>
                  <a:cubicBezTo>
                    <a:pt x="1131725" y="413407"/>
                    <a:pt x="1144559" y="466271"/>
                    <a:pt x="1145414" y="486559"/>
                  </a:cubicBezTo>
                  <a:cubicBezTo>
                    <a:pt x="1145794" y="495322"/>
                    <a:pt x="1151783" y="501227"/>
                    <a:pt x="1158913" y="501418"/>
                  </a:cubicBezTo>
                  <a:cubicBezTo>
                    <a:pt x="1166043" y="501513"/>
                    <a:pt x="1168039" y="497894"/>
                    <a:pt x="1170130" y="489321"/>
                  </a:cubicBezTo>
                  <a:close/>
                </a:path>
              </a:pathLst>
            </a:custGeom>
            <a:grpFill/>
            <a:ln w="9497" cap="flat">
              <a:noFill/>
              <a:prstDash val="solid"/>
              <a:miter/>
            </a:ln>
          </p:spPr>
          <p:txBody>
            <a:bodyPr rtlCol="0" anchor="ctr"/>
            <a:lstStyle/>
            <a:p>
              <a:endParaRPr lang="en-US"/>
            </a:p>
          </p:txBody>
        </p:sp>
        <p:grpSp>
          <p:nvGrpSpPr>
            <p:cNvPr id="9" name="Graphic 77">
              <a:extLst>
                <a:ext uri="{FF2B5EF4-FFF2-40B4-BE49-F238E27FC236}">
                  <a16:creationId xmlns:a16="http://schemas.microsoft.com/office/drawing/2014/main" id="{7A9F2233-0580-4D9D-E555-79AF92641D6A}"/>
                </a:ext>
              </a:extLst>
            </p:cNvPr>
            <p:cNvGrpSpPr/>
            <p:nvPr/>
          </p:nvGrpSpPr>
          <p:grpSpPr>
            <a:xfrm>
              <a:off x="6016337" y="3871817"/>
              <a:ext cx="1690870" cy="144494"/>
              <a:chOff x="6016337" y="3871817"/>
              <a:chExt cx="1690870" cy="144494"/>
            </a:xfrm>
            <a:grpFill/>
          </p:grpSpPr>
          <p:sp>
            <p:nvSpPr>
              <p:cNvPr id="31" name="Freeform 30">
                <a:extLst>
                  <a:ext uri="{FF2B5EF4-FFF2-40B4-BE49-F238E27FC236}">
                    <a16:creationId xmlns:a16="http://schemas.microsoft.com/office/drawing/2014/main" id="{5C257215-CC9E-E6C0-722F-3B99CC7211D0}"/>
                  </a:ext>
                </a:extLst>
              </p:cNvPr>
              <p:cNvSpPr/>
              <p:nvPr/>
            </p:nvSpPr>
            <p:spPr>
              <a:xfrm>
                <a:off x="6016337"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2"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BC932338-903D-554F-54B0-D77194E87927}"/>
                  </a:ext>
                </a:extLst>
              </p:cNvPr>
              <p:cNvSpPr/>
              <p:nvPr/>
            </p:nvSpPr>
            <p:spPr>
              <a:xfrm>
                <a:off x="6086303" y="3904773"/>
                <a:ext cx="70250" cy="78295"/>
              </a:xfrm>
              <a:custGeom>
                <a:avLst/>
                <a:gdLst>
                  <a:gd name="connsiteX0" fmla="*/ 0 w 70250"/>
                  <a:gd name="connsiteY0" fmla="*/ 1238 h 78295"/>
                  <a:gd name="connsiteX1" fmla="*/ 17492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1 w 70250"/>
                  <a:gd name="connsiteY8" fmla="*/ 34004 h 78295"/>
                  <a:gd name="connsiteX9" fmla="*/ 38976 w 70250"/>
                  <a:gd name="connsiteY9" fmla="*/ 14954 h 78295"/>
                  <a:gd name="connsiteX10" fmla="*/ 17492 w 70250"/>
                  <a:gd name="connsiteY10" fmla="*/ 44577 h 78295"/>
                  <a:gd name="connsiteX11" fmla="*/ 17492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2"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1" y="37624"/>
                      <a:pt x="54281" y="34004"/>
                    </a:cubicBezTo>
                    <a:cubicBezTo>
                      <a:pt x="54281" y="21050"/>
                      <a:pt x="49337" y="14954"/>
                      <a:pt x="38976" y="14954"/>
                    </a:cubicBezTo>
                    <a:cubicBezTo>
                      <a:pt x="25762" y="14954"/>
                      <a:pt x="17492" y="26194"/>
                      <a:pt x="17492" y="44577"/>
                    </a:cubicBezTo>
                    <a:lnTo>
                      <a:pt x="17492" y="78296"/>
                    </a:lnTo>
                    <a:lnTo>
                      <a:pt x="0" y="78296"/>
                    </a:lnTo>
                    <a:lnTo>
                      <a:pt x="0" y="1238"/>
                    </a:lnTo>
                    <a:close/>
                  </a:path>
                </a:pathLst>
              </a:custGeom>
              <a:grpFill/>
              <a:ln w="9497"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6E5B9C21-12EE-4D43-513B-B4B0B33CE9CF}"/>
                  </a:ext>
                </a:extLst>
              </p:cNvPr>
              <p:cNvSpPr/>
              <p:nvPr/>
            </p:nvSpPr>
            <p:spPr>
              <a:xfrm>
                <a:off x="6169197" y="3904773"/>
                <a:ext cx="74909" cy="79533"/>
              </a:xfrm>
              <a:custGeom>
                <a:avLst/>
                <a:gdLst>
                  <a:gd name="connsiteX0" fmla="*/ 95 w 74909"/>
                  <a:gd name="connsiteY0" fmla="*/ 56198 h 79533"/>
                  <a:gd name="connsiteX1" fmla="*/ 28899 w 74909"/>
                  <a:gd name="connsiteY1" fmla="*/ 35243 h 79533"/>
                  <a:gd name="connsiteX2" fmla="*/ 57418 w 74909"/>
                  <a:gd name="connsiteY2" fmla="*/ 35243 h 79533"/>
                  <a:gd name="connsiteX3" fmla="*/ 57418 w 74909"/>
                  <a:gd name="connsiteY3" fmla="*/ 29813 h 79533"/>
                  <a:gd name="connsiteX4" fmla="*/ 37169 w 74909"/>
                  <a:gd name="connsiteY4" fmla="*/ 13145 h 79533"/>
                  <a:gd name="connsiteX5" fmla="*/ 18632 w 74909"/>
                  <a:gd name="connsiteY5" fmla="*/ 26289 h 79533"/>
                  <a:gd name="connsiteX6" fmla="*/ 18822 w 74909"/>
                  <a:gd name="connsiteY6" fmla="*/ 29242 h 79533"/>
                  <a:gd name="connsiteX7" fmla="*/ 2757 w 74909"/>
                  <a:gd name="connsiteY7" fmla="*/ 29242 h 79533"/>
                  <a:gd name="connsiteX8" fmla="*/ 2472 w 74909"/>
                  <a:gd name="connsiteY8" fmla="*/ 24670 h 79533"/>
                  <a:gd name="connsiteX9" fmla="*/ 37835 w 74909"/>
                  <a:gd name="connsiteY9" fmla="*/ 0 h 79533"/>
                  <a:gd name="connsiteX10" fmla="*/ 74909 w 74909"/>
                  <a:gd name="connsiteY10" fmla="*/ 31337 h 79533"/>
                  <a:gd name="connsiteX11" fmla="*/ 74909 w 74909"/>
                  <a:gd name="connsiteY11" fmla="*/ 78296 h 79533"/>
                  <a:gd name="connsiteX12" fmla="*/ 57418 w 74909"/>
                  <a:gd name="connsiteY12" fmla="*/ 78296 h 79533"/>
                  <a:gd name="connsiteX13" fmla="*/ 58178 w 74909"/>
                  <a:gd name="connsiteY13" fmla="*/ 61246 h 79533"/>
                  <a:gd name="connsiteX14" fmla="*/ 57988 w 74909"/>
                  <a:gd name="connsiteY14" fmla="*/ 61246 h 79533"/>
                  <a:gd name="connsiteX15" fmla="*/ 29279 w 74909"/>
                  <a:gd name="connsiteY15" fmla="*/ 79534 h 79533"/>
                  <a:gd name="connsiteX16" fmla="*/ 0 w 74909"/>
                  <a:gd name="connsiteY16" fmla="*/ 56102 h 79533"/>
                  <a:gd name="connsiteX17" fmla="*/ 57418 w 74909"/>
                  <a:gd name="connsiteY17" fmla="*/ 47339 h 79533"/>
                  <a:gd name="connsiteX18" fmla="*/ 57418 w 74909"/>
                  <a:gd name="connsiteY18" fmla="*/ 45910 h 79533"/>
                  <a:gd name="connsiteX19" fmla="*/ 30515 w 74909"/>
                  <a:gd name="connsiteY19" fmla="*/ 45910 h 79533"/>
                  <a:gd name="connsiteX20" fmla="*/ 16161 w 74909"/>
                  <a:gd name="connsiteY20" fmla="*/ 55435 h 79533"/>
                  <a:gd name="connsiteX21" fmla="*/ 32987 w 74909"/>
                  <a:gd name="connsiteY21" fmla="*/ 66485 h 79533"/>
                  <a:gd name="connsiteX22" fmla="*/ 57418 w 74909"/>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09" h="79533">
                    <a:moveTo>
                      <a:pt x="95" y="56198"/>
                    </a:moveTo>
                    <a:cubicBezTo>
                      <a:pt x="95" y="44482"/>
                      <a:pt x="8366" y="35243"/>
                      <a:pt x="28899" y="35243"/>
                    </a:cubicBezTo>
                    <a:lnTo>
                      <a:pt x="57418" y="35243"/>
                    </a:lnTo>
                    <a:lnTo>
                      <a:pt x="57418" y="29813"/>
                    </a:lnTo>
                    <a:cubicBezTo>
                      <a:pt x="57418" y="18288"/>
                      <a:pt x="50763" y="13145"/>
                      <a:pt x="37169" y="13145"/>
                    </a:cubicBezTo>
                    <a:cubicBezTo>
                      <a:pt x="25287" y="13145"/>
                      <a:pt x="18632" y="17717"/>
                      <a:pt x="18632" y="26289"/>
                    </a:cubicBezTo>
                    <a:cubicBezTo>
                      <a:pt x="18632" y="26765"/>
                      <a:pt x="18632" y="28004"/>
                      <a:pt x="18822" y="29242"/>
                    </a:cubicBezTo>
                    <a:lnTo>
                      <a:pt x="2757" y="29242"/>
                    </a:lnTo>
                    <a:cubicBezTo>
                      <a:pt x="2567" y="28099"/>
                      <a:pt x="2472" y="26099"/>
                      <a:pt x="2472" y="24670"/>
                    </a:cubicBezTo>
                    <a:cubicBezTo>
                      <a:pt x="2472" y="9239"/>
                      <a:pt x="15875" y="0"/>
                      <a:pt x="37835" y="0"/>
                    </a:cubicBezTo>
                    <a:cubicBezTo>
                      <a:pt x="61220" y="0"/>
                      <a:pt x="74909" y="11049"/>
                      <a:pt x="74909" y="31337"/>
                    </a:cubicBezTo>
                    <a:lnTo>
                      <a:pt x="74909" y="78296"/>
                    </a:lnTo>
                    <a:lnTo>
                      <a:pt x="57418" y="78296"/>
                    </a:lnTo>
                    <a:cubicBezTo>
                      <a:pt x="57703" y="74581"/>
                      <a:pt x="58178" y="67532"/>
                      <a:pt x="58178" y="61246"/>
                    </a:cubicBezTo>
                    <a:lnTo>
                      <a:pt x="57988" y="61246"/>
                    </a:lnTo>
                    <a:cubicBezTo>
                      <a:pt x="55516" y="72676"/>
                      <a:pt x="46295" y="79534"/>
                      <a:pt x="29279" y="79534"/>
                    </a:cubicBezTo>
                    <a:cubicBezTo>
                      <a:pt x="12263" y="79534"/>
                      <a:pt x="0" y="71152"/>
                      <a:pt x="0" y="56102"/>
                    </a:cubicBezTo>
                    <a:close/>
                    <a:moveTo>
                      <a:pt x="57418" y="47339"/>
                    </a:moveTo>
                    <a:lnTo>
                      <a:pt x="57418" y="45910"/>
                    </a:lnTo>
                    <a:lnTo>
                      <a:pt x="30515" y="45910"/>
                    </a:lnTo>
                    <a:cubicBezTo>
                      <a:pt x="20533" y="45910"/>
                      <a:pt x="16161" y="49340"/>
                      <a:pt x="16161" y="55435"/>
                    </a:cubicBezTo>
                    <a:cubicBezTo>
                      <a:pt x="16161" y="62484"/>
                      <a:pt x="22435" y="66485"/>
                      <a:pt x="32987" y="66485"/>
                    </a:cubicBezTo>
                    <a:cubicBezTo>
                      <a:pt x="48101" y="66485"/>
                      <a:pt x="57418" y="59150"/>
                      <a:pt x="57418" y="47244"/>
                    </a:cubicBezTo>
                    <a:close/>
                  </a:path>
                </a:pathLst>
              </a:custGeom>
              <a:grpFill/>
              <a:ln w="9497"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838FAE42-E3A6-9BD2-CBEC-824E5AD13011}"/>
                  </a:ext>
                </a:extLst>
              </p:cNvPr>
              <p:cNvSpPr/>
              <p:nvPr/>
            </p:nvSpPr>
            <p:spPr>
              <a:xfrm>
                <a:off x="6260742" y="3904773"/>
                <a:ext cx="80612" cy="78390"/>
              </a:xfrm>
              <a:custGeom>
                <a:avLst/>
                <a:gdLst>
                  <a:gd name="connsiteX0" fmla="*/ 0 w 80612"/>
                  <a:gd name="connsiteY0" fmla="*/ 1238 h 78390"/>
                  <a:gd name="connsiteX1" fmla="*/ 17491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1 w 80612"/>
                  <a:gd name="connsiteY10" fmla="*/ 41053 h 78390"/>
                  <a:gd name="connsiteX11" fmla="*/ 17491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1"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1" y="24194"/>
                      <a:pt x="17491" y="41053"/>
                    </a:cubicBezTo>
                    <a:lnTo>
                      <a:pt x="17491" y="78391"/>
                    </a:lnTo>
                    <a:lnTo>
                      <a:pt x="0" y="78391"/>
                    </a:lnTo>
                    <a:lnTo>
                      <a:pt x="0" y="1333"/>
                    </a:lnTo>
                    <a:close/>
                  </a:path>
                </a:pathLst>
              </a:custGeom>
              <a:grpFill/>
              <a:ln w="9497"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32EEC5B-B374-B120-51AC-9E2C8BD23978}"/>
                  </a:ext>
                </a:extLst>
              </p:cNvPr>
              <p:cNvSpPr/>
              <p:nvPr/>
            </p:nvSpPr>
            <p:spPr>
              <a:xfrm>
                <a:off x="635561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4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3"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1"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4" y="79629"/>
                    </a:cubicBezTo>
                    <a:cubicBezTo>
                      <a:pt x="9601" y="79629"/>
                      <a:pt x="95" y="67723"/>
                      <a:pt x="95" y="52673"/>
                    </a:cubicBezTo>
                    <a:close/>
                  </a:path>
                </a:pathLst>
              </a:custGeom>
              <a:grpFill/>
              <a:ln w="9497"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098793D3-75C7-DD4D-E5B5-6B658C51246B}"/>
                  </a:ext>
                </a:extLst>
              </p:cNvPr>
              <p:cNvSpPr/>
              <p:nvPr/>
            </p:nvSpPr>
            <p:spPr>
              <a:xfrm>
                <a:off x="6436797" y="3871817"/>
                <a:ext cx="56466" cy="111252"/>
              </a:xfrm>
              <a:custGeom>
                <a:avLst/>
                <a:gdLst>
                  <a:gd name="connsiteX0" fmla="*/ 12263 w 56466"/>
                  <a:gd name="connsiteY0" fmla="*/ 48387 h 111252"/>
                  <a:gd name="connsiteX1" fmla="*/ 0 w 56466"/>
                  <a:gd name="connsiteY1" fmla="*/ 48387 h 111252"/>
                  <a:gd name="connsiteX2" fmla="*/ 0 w 56466"/>
                  <a:gd name="connsiteY2" fmla="*/ 34195 h 111252"/>
                  <a:gd name="connsiteX3" fmla="*/ 12263 w 56466"/>
                  <a:gd name="connsiteY3" fmla="*/ 34195 h 111252"/>
                  <a:gd name="connsiteX4" fmla="*/ 12263 w 56466"/>
                  <a:gd name="connsiteY4" fmla="*/ 26575 h 111252"/>
                  <a:gd name="connsiteX5" fmla="*/ 40306 w 56466"/>
                  <a:gd name="connsiteY5" fmla="*/ 0 h 111252"/>
                  <a:gd name="connsiteX6" fmla="*/ 55231 w 56466"/>
                  <a:gd name="connsiteY6" fmla="*/ 2191 h 111252"/>
                  <a:gd name="connsiteX7" fmla="*/ 55231 w 56466"/>
                  <a:gd name="connsiteY7" fmla="*/ 16097 h 111252"/>
                  <a:gd name="connsiteX8" fmla="*/ 43348 w 56466"/>
                  <a:gd name="connsiteY8" fmla="*/ 14192 h 111252"/>
                  <a:gd name="connsiteX9" fmla="*/ 29659 w 56466"/>
                  <a:gd name="connsiteY9" fmla="*/ 27337 h 111252"/>
                  <a:gd name="connsiteX10" fmla="*/ 29659 w 56466"/>
                  <a:gd name="connsiteY10" fmla="*/ 34195 h 111252"/>
                  <a:gd name="connsiteX11" fmla="*/ 56467 w 56466"/>
                  <a:gd name="connsiteY11" fmla="*/ 34195 h 111252"/>
                  <a:gd name="connsiteX12" fmla="*/ 56467 w 56466"/>
                  <a:gd name="connsiteY12" fmla="*/ 48387 h 111252"/>
                  <a:gd name="connsiteX13" fmla="*/ 29659 w 56466"/>
                  <a:gd name="connsiteY13" fmla="*/ 48387 h 111252"/>
                  <a:gd name="connsiteX14" fmla="*/ 29659 w 56466"/>
                  <a:gd name="connsiteY14" fmla="*/ 111252 h 111252"/>
                  <a:gd name="connsiteX15" fmla="*/ 12168 w 56466"/>
                  <a:gd name="connsiteY15" fmla="*/ 111252 h 111252"/>
                  <a:gd name="connsiteX16" fmla="*/ 12168 w 56466"/>
                  <a:gd name="connsiteY16" fmla="*/ 48387 h 11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466" h="111252">
                    <a:moveTo>
                      <a:pt x="12263" y="48387"/>
                    </a:moveTo>
                    <a:lnTo>
                      <a:pt x="0" y="48387"/>
                    </a:lnTo>
                    <a:lnTo>
                      <a:pt x="0" y="34195"/>
                    </a:lnTo>
                    <a:lnTo>
                      <a:pt x="12263" y="34195"/>
                    </a:lnTo>
                    <a:lnTo>
                      <a:pt x="12263" y="26575"/>
                    </a:lnTo>
                    <a:cubicBezTo>
                      <a:pt x="12263" y="9430"/>
                      <a:pt x="23670" y="0"/>
                      <a:pt x="40306" y="0"/>
                    </a:cubicBezTo>
                    <a:cubicBezTo>
                      <a:pt x="47151" y="0"/>
                      <a:pt x="52759" y="1238"/>
                      <a:pt x="55231" y="2191"/>
                    </a:cubicBezTo>
                    <a:lnTo>
                      <a:pt x="55231" y="16097"/>
                    </a:lnTo>
                    <a:cubicBezTo>
                      <a:pt x="52759" y="15335"/>
                      <a:pt x="48672" y="14192"/>
                      <a:pt x="43348" y="14192"/>
                    </a:cubicBezTo>
                    <a:cubicBezTo>
                      <a:pt x="34507" y="14192"/>
                      <a:pt x="29659" y="18860"/>
                      <a:pt x="29659" y="27337"/>
                    </a:cubicBezTo>
                    <a:lnTo>
                      <a:pt x="29659" y="34195"/>
                    </a:lnTo>
                    <a:lnTo>
                      <a:pt x="56467" y="34195"/>
                    </a:lnTo>
                    <a:lnTo>
                      <a:pt x="56467" y="48387"/>
                    </a:lnTo>
                    <a:lnTo>
                      <a:pt x="29659" y="48387"/>
                    </a:lnTo>
                    <a:lnTo>
                      <a:pt x="29659" y="111252"/>
                    </a:lnTo>
                    <a:lnTo>
                      <a:pt x="12168" y="111252"/>
                    </a:lnTo>
                    <a:lnTo>
                      <a:pt x="12168" y="48387"/>
                    </a:lnTo>
                    <a:close/>
                  </a:path>
                </a:pathLst>
              </a:custGeom>
              <a:grpFill/>
              <a:ln w="949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DEC6EDDD-901C-0F5B-C9AE-5E9A7EEC1BCB}"/>
                  </a:ext>
                </a:extLst>
              </p:cNvPr>
              <p:cNvSpPr/>
              <p:nvPr/>
            </p:nvSpPr>
            <p:spPr>
              <a:xfrm>
                <a:off x="6497732" y="3904773"/>
                <a:ext cx="80517" cy="79533"/>
              </a:xfrm>
              <a:custGeom>
                <a:avLst/>
                <a:gdLst>
                  <a:gd name="connsiteX0" fmla="*/ 0 w 80517"/>
                  <a:gd name="connsiteY0" fmla="*/ 39910 h 79533"/>
                  <a:gd name="connsiteX1" fmla="*/ 40211 w 80517"/>
                  <a:gd name="connsiteY1" fmla="*/ 0 h 79533"/>
                  <a:gd name="connsiteX2" fmla="*/ 80518 w 80517"/>
                  <a:gd name="connsiteY2" fmla="*/ 39910 h 79533"/>
                  <a:gd name="connsiteX3" fmla="*/ 40211 w 80517"/>
                  <a:gd name="connsiteY3" fmla="*/ 79534 h 79533"/>
                  <a:gd name="connsiteX4" fmla="*/ 0 w 80517"/>
                  <a:gd name="connsiteY4" fmla="*/ 39910 h 79533"/>
                  <a:gd name="connsiteX5" fmla="*/ 63121 w 80517"/>
                  <a:gd name="connsiteY5" fmla="*/ 39910 h 79533"/>
                  <a:gd name="connsiteX6" fmla="*/ 40211 w 80517"/>
                  <a:gd name="connsiteY6" fmla="*/ 14288 h 79533"/>
                  <a:gd name="connsiteX7" fmla="*/ 17492 w 80517"/>
                  <a:gd name="connsiteY7" fmla="*/ 39910 h 79533"/>
                  <a:gd name="connsiteX8" fmla="*/ 40211 w 80517"/>
                  <a:gd name="connsiteY8" fmla="*/ 65151 h 79533"/>
                  <a:gd name="connsiteX9" fmla="*/ 63121 w 80517"/>
                  <a:gd name="connsiteY9" fmla="*/ 39910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17" h="79533">
                    <a:moveTo>
                      <a:pt x="0" y="39910"/>
                    </a:moveTo>
                    <a:cubicBezTo>
                      <a:pt x="0" y="15240"/>
                      <a:pt x="15780" y="0"/>
                      <a:pt x="40211" y="0"/>
                    </a:cubicBezTo>
                    <a:cubicBezTo>
                      <a:pt x="64642" y="0"/>
                      <a:pt x="80518" y="15335"/>
                      <a:pt x="80518" y="39910"/>
                    </a:cubicBezTo>
                    <a:cubicBezTo>
                      <a:pt x="80518" y="64484"/>
                      <a:pt x="64737" y="79534"/>
                      <a:pt x="40211" y="79534"/>
                    </a:cubicBezTo>
                    <a:cubicBezTo>
                      <a:pt x="15685" y="79534"/>
                      <a:pt x="0" y="64389"/>
                      <a:pt x="0" y="39910"/>
                    </a:cubicBezTo>
                    <a:close/>
                    <a:moveTo>
                      <a:pt x="63121" y="39910"/>
                    </a:moveTo>
                    <a:cubicBezTo>
                      <a:pt x="63121" y="24098"/>
                      <a:pt x="54376" y="14288"/>
                      <a:pt x="40211" y="14288"/>
                    </a:cubicBezTo>
                    <a:cubicBezTo>
                      <a:pt x="26047" y="14288"/>
                      <a:pt x="17492" y="24098"/>
                      <a:pt x="17492" y="39910"/>
                    </a:cubicBezTo>
                    <a:cubicBezTo>
                      <a:pt x="17492" y="55721"/>
                      <a:pt x="26047" y="65151"/>
                      <a:pt x="40211" y="65151"/>
                    </a:cubicBezTo>
                    <a:cubicBezTo>
                      <a:pt x="54376" y="65151"/>
                      <a:pt x="63121" y="55435"/>
                      <a:pt x="63121" y="39910"/>
                    </a:cubicBezTo>
                    <a:close/>
                  </a:path>
                </a:pathLst>
              </a:custGeom>
              <a:grpFill/>
              <a:ln w="9497"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30BADD50-4056-F104-1C12-673BE324C267}"/>
                  </a:ext>
                </a:extLst>
              </p:cNvPr>
              <p:cNvSpPr/>
              <p:nvPr/>
            </p:nvSpPr>
            <p:spPr>
              <a:xfrm>
                <a:off x="6593174" y="3904773"/>
                <a:ext cx="70250" cy="78295"/>
              </a:xfrm>
              <a:custGeom>
                <a:avLst/>
                <a:gdLst>
                  <a:gd name="connsiteX0" fmla="*/ 0 w 70250"/>
                  <a:gd name="connsiteY0" fmla="*/ 1238 h 78295"/>
                  <a:gd name="connsiteX1" fmla="*/ 17491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0 w 70250"/>
                  <a:gd name="connsiteY8" fmla="*/ 34004 h 78295"/>
                  <a:gd name="connsiteX9" fmla="*/ 38975 w 70250"/>
                  <a:gd name="connsiteY9" fmla="*/ 14954 h 78295"/>
                  <a:gd name="connsiteX10" fmla="*/ 17491 w 70250"/>
                  <a:gd name="connsiteY10" fmla="*/ 44577 h 78295"/>
                  <a:gd name="connsiteX11" fmla="*/ 17491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1"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8975" y="14954"/>
                    </a:cubicBezTo>
                    <a:cubicBezTo>
                      <a:pt x="25762" y="14954"/>
                      <a:pt x="17491" y="26194"/>
                      <a:pt x="17491" y="44577"/>
                    </a:cubicBezTo>
                    <a:lnTo>
                      <a:pt x="17491" y="78296"/>
                    </a:lnTo>
                    <a:lnTo>
                      <a:pt x="0" y="78296"/>
                    </a:lnTo>
                    <a:lnTo>
                      <a:pt x="0" y="1238"/>
                    </a:lnTo>
                    <a:close/>
                  </a:path>
                </a:pathLst>
              </a:custGeom>
              <a:grpFill/>
              <a:ln w="9497"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D3472F8A-847F-E5FE-AA51-027CF785CFE4}"/>
                  </a:ext>
                </a:extLst>
              </p:cNvPr>
              <p:cNvSpPr/>
              <p:nvPr/>
            </p:nvSpPr>
            <p:spPr>
              <a:xfrm>
                <a:off x="6678445"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293"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2"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B182A506-4997-AC1D-1793-C8EBAB0B7F39}"/>
                  </a:ext>
                </a:extLst>
              </p:cNvPr>
              <p:cNvSpPr/>
              <p:nvPr/>
            </p:nvSpPr>
            <p:spPr>
              <a:xfrm>
                <a:off x="6819708" y="3879818"/>
                <a:ext cx="17871" cy="103250"/>
              </a:xfrm>
              <a:custGeom>
                <a:avLst/>
                <a:gdLst>
                  <a:gd name="connsiteX0" fmla="*/ 0 w 17871"/>
                  <a:gd name="connsiteY0" fmla="*/ 0 h 103250"/>
                  <a:gd name="connsiteX1" fmla="*/ 17872 w 17871"/>
                  <a:gd name="connsiteY1" fmla="*/ 0 h 103250"/>
                  <a:gd name="connsiteX2" fmla="*/ 17872 w 17871"/>
                  <a:gd name="connsiteY2" fmla="*/ 17145 h 103250"/>
                  <a:gd name="connsiteX3" fmla="*/ 0 w 17871"/>
                  <a:gd name="connsiteY3" fmla="*/ 17145 h 103250"/>
                  <a:gd name="connsiteX4" fmla="*/ 0 w 17871"/>
                  <a:gd name="connsiteY4" fmla="*/ 0 h 103250"/>
                  <a:gd name="connsiteX5" fmla="*/ 190 w 17871"/>
                  <a:gd name="connsiteY5" fmla="*/ 26194 h 103250"/>
                  <a:gd name="connsiteX6" fmla="*/ 17682 w 17871"/>
                  <a:gd name="connsiteY6" fmla="*/ 26194 h 103250"/>
                  <a:gd name="connsiteX7" fmla="*/ 17682 w 17871"/>
                  <a:gd name="connsiteY7" fmla="*/ 103251 h 103250"/>
                  <a:gd name="connsiteX8" fmla="*/ 190 w 17871"/>
                  <a:gd name="connsiteY8" fmla="*/ 103251 h 103250"/>
                  <a:gd name="connsiteX9" fmla="*/ 190 w 17871"/>
                  <a:gd name="connsiteY9" fmla="*/ 26194 h 10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71" h="103250">
                    <a:moveTo>
                      <a:pt x="0" y="0"/>
                    </a:moveTo>
                    <a:lnTo>
                      <a:pt x="17872" y="0"/>
                    </a:lnTo>
                    <a:lnTo>
                      <a:pt x="17872" y="17145"/>
                    </a:lnTo>
                    <a:lnTo>
                      <a:pt x="0" y="17145"/>
                    </a:lnTo>
                    <a:lnTo>
                      <a:pt x="0" y="0"/>
                    </a:lnTo>
                    <a:close/>
                    <a:moveTo>
                      <a:pt x="190" y="26194"/>
                    </a:moveTo>
                    <a:lnTo>
                      <a:pt x="17682" y="26194"/>
                    </a:lnTo>
                    <a:lnTo>
                      <a:pt x="17682" y="103251"/>
                    </a:lnTo>
                    <a:lnTo>
                      <a:pt x="190" y="103251"/>
                    </a:lnTo>
                    <a:lnTo>
                      <a:pt x="190" y="26194"/>
                    </a:lnTo>
                    <a:close/>
                  </a:path>
                </a:pathLst>
              </a:custGeom>
              <a:grpFill/>
              <a:ln w="9497"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F98AF2A8-9CA4-1E7A-6C12-1C43C9E6280B}"/>
                  </a:ext>
                </a:extLst>
              </p:cNvPr>
              <p:cNvSpPr/>
              <p:nvPr/>
            </p:nvSpPr>
            <p:spPr>
              <a:xfrm>
                <a:off x="6855546" y="3904773"/>
                <a:ext cx="80612" cy="78390"/>
              </a:xfrm>
              <a:custGeom>
                <a:avLst/>
                <a:gdLst>
                  <a:gd name="connsiteX0" fmla="*/ 0 w 80612"/>
                  <a:gd name="connsiteY0" fmla="*/ 1238 h 78390"/>
                  <a:gd name="connsiteX1" fmla="*/ 17492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2 w 80612"/>
                  <a:gd name="connsiteY10" fmla="*/ 41053 h 78390"/>
                  <a:gd name="connsiteX11" fmla="*/ 17492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2"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2" y="24194"/>
                      <a:pt x="17492" y="41053"/>
                    </a:cubicBezTo>
                    <a:lnTo>
                      <a:pt x="17492" y="78391"/>
                    </a:lnTo>
                    <a:lnTo>
                      <a:pt x="0" y="78391"/>
                    </a:lnTo>
                    <a:lnTo>
                      <a:pt x="0" y="1333"/>
                    </a:lnTo>
                    <a:close/>
                  </a:path>
                </a:pathLst>
              </a:custGeom>
              <a:grpFill/>
              <a:ln w="9497" cap="flat">
                <a:noFill/>
                <a:prstDash val="solid"/>
                <a:miter/>
              </a:ln>
            </p:spPr>
            <p:txBody>
              <a:bodyPr rtlCol="0" anchor="ctr"/>
              <a:lstStyle/>
              <a:p>
                <a:endParaRPr lang="en-US"/>
              </a:p>
            </p:txBody>
          </p:sp>
          <p:sp>
            <p:nvSpPr>
              <p:cNvPr id="42" name="Freeform 41">
                <a:extLst>
                  <a:ext uri="{FF2B5EF4-FFF2-40B4-BE49-F238E27FC236}">
                    <a16:creationId xmlns:a16="http://schemas.microsoft.com/office/drawing/2014/main" id="{E120418C-91A6-D9CC-FFE2-3B2C7F960F72}"/>
                  </a:ext>
                </a:extLst>
              </p:cNvPr>
              <p:cNvSpPr/>
              <p:nvPr/>
            </p:nvSpPr>
            <p:spPr>
              <a:xfrm>
                <a:off x="6950133" y="3890581"/>
                <a:ext cx="82133" cy="125730"/>
              </a:xfrm>
              <a:custGeom>
                <a:avLst/>
                <a:gdLst>
                  <a:gd name="connsiteX0" fmla="*/ 82039 w 82133"/>
                  <a:gd name="connsiteY0" fmla="*/ 99822 h 125730"/>
                  <a:gd name="connsiteX1" fmla="*/ 41542 w 82133"/>
                  <a:gd name="connsiteY1" fmla="*/ 125730 h 125730"/>
                  <a:gd name="connsiteX2" fmla="*/ 0 w 82133"/>
                  <a:gd name="connsiteY2" fmla="*/ 103918 h 125730"/>
                  <a:gd name="connsiteX3" fmla="*/ 14925 w 82133"/>
                  <a:gd name="connsiteY3" fmla="*/ 89916 h 125730"/>
                  <a:gd name="connsiteX4" fmla="*/ 14925 w 82133"/>
                  <a:gd name="connsiteY4" fmla="*/ 89725 h 125730"/>
                  <a:gd name="connsiteX5" fmla="*/ 8175 w 82133"/>
                  <a:gd name="connsiteY5" fmla="*/ 77057 h 125730"/>
                  <a:gd name="connsiteX6" fmla="*/ 15305 w 82133"/>
                  <a:gd name="connsiteY6" fmla="*/ 63913 h 125730"/>
                  <a:gd name="connsiteX7" fmla="*/ 15305 w 82133"/>
                  <a:gd name="connsiteY7" fmla="*/ 63627 h 125730"/>
                  <a:gd name="connsiteX8" fmla="*/ 3422 w 82133"/>
                  <a:gd name="connsiteY8" fmla="*/ 41624 h 125730"/>
                  <a:gd name="connsiteX9" fmla="*/ 37740 w 82133"/>
                  <a:gd name="connsiteY9" fmla="*/ 14192 h 125730"/>
                  <a:gd name="connsiteX10" fmla="*/ 59224 w 82133"/>
                  <a:gd name="connsiteY10" fmla="*/ 19145 h 125730"/>
                  <a:gd name="connsiteX11" fmla="*/ 59414 w 82133"/>
                  <a:gd name="connsiteY11" fmla="*/ 18955 h 125730"/>
                  <a:gd name="connsiteX12" fmla="*/ 55706 w 82133"/>
                  <a:gd name="connsiteY12" fmla="*/ 10192 h 125730"/>
                  <a:gd name="connsiteX13" fmla="*/ 70821 w 82133"/>
                  <a:gd name="connsiteY13" fmla="*/ 0 h 125730"/>
                  <a:gd name="connsiteX14" fmla="*/ 78616 w 82133"/>
                  <a:gd name="connsiteY14" fmla="*/ 762 h 125730"/>
                  <a:gd name="connsiteX15" fmla="*/ 78616 w 82133"/>
                  <a:gd name="connsiteY15" fmla="*/ 13049 h 125730"/>
                  <a:gd name="connsiteX16" fmla="*/ 73483 w 82133"/>
                  <a:gd name="connsiteY16" fmla="*/ 12287 h 125730"/>
                  <a:gd name="connsiteX17" fmla="*/ 65878 w 82133"/>
                  <a:gd name="connsiteY17" fmla="*/ 18669 h 125730"/>
                  <a:gd name="connsiteX18" fmla="*/ 67589 w 82133"/>
                  <a:gd name="connsiteY18" fmla="*/ 26479 h 125730"/>
                  <a:gd name="connsiteX19" fmla="*/ 72152 w 82133"/>
                  <a:gd name="connsiteY19" fmla="*/ 41434 h 125730"/>
                  <a:gd name="connsiteX20" fmla="*/ 37930 w 82133"/>
                  <a:gd name="connsiteY20" fmla="*/ 68866 h 125730"/>
                  <a:gd name="connsiteX21" fmla="*/ 24336 w 82133"/>
                  <a:gd name="connsiteY21" fmla="*/ 67151 h 125730"/>
                  <a:gd name="connsiteX22" fmla="*/ 22435 w 82133"/>
                  <a:gd name="connsiteY22" fmla="*/ 73057 h 125730"/>
                  <a:gd name="connsiteX23" fmla="*/ 31180 w 82133"/>
                  <a:gd name="connsiteY23" fmla="*/ 80105 h 125730"/>
                  <a:gd name="connsiteX24" fmla="*/ 56087 w 82133"/>
                  <a:gd name="connsiteY24" fmla="*/ 80105 h 125730"/>
                  <a:gd name="connsiteX25" fmla="*/ 82134 w 82133"/>
                  <a:gd name="connsiteY25" fmla="*/ 99631 h 125730"/>
                  <a:gd name="connsiteX26" fmla="*/ 64547 w 82133"/>
                  <a:gd name="connsiteY26" fmla="*/ 101822 h 125730"/>
                  <a:gd name="connsiteX27" fmla="*/ 52379 w 82133"/>
                  <a:gd name="connsiteY27" fmla="*/ 93821 h 125730"/>
                  <a:gd name="connsiteX28" fmla="*/ 31466 w 82133"/>
                  <a:gd name="connsiteY28" fmla="*/ 93821 h 125730"/>
                  <a:gd name="connsiteX29" fmla="*/ 17111 w 82133"/>
                  <a:gd name="connsiteY29" fmla="*/ 102394 h 125730"/>
                  <a:gd name="connsiteX30" fmla="*/ 41257 w 82133"/>
                  <a:gd name="connsiteY30" fmla="*/ 113348 h 125730"/>
                  <a:gd name="connsiteX31" fmla="*/ 64452 w 82133"/>
                  <a:gd name="connsiteY31" fmla="*/ 101822 h 125730"/>
                  <a:gd name="connsiteX32" fmla="*/ 20153 w 82133"/>
                  <a:gd name="connsiteY32" fmla="*/ 41624 h 125730"/>
                  <a:gd name="connsiteX33" fmla="*/ 37740 w 82133"/>
                  <a:gd name="connsiteY33" fmla="*/ 56579 h 125730"/>
                  <a:gd name="connsiteX34" fmla="*/ 55326 w 82133"/>
                  <a:gd name="connsiteY34" fmla="*/ 41624 h 125730"/>
                  <a:gd name="connsiteX35" fmla="*/ 37740 w 82133"/>
                  <a:gd name="connsiteY35" fmla="*/ 26670 h 125730"/>
                  <a:gd name="connsiteX36" fmla="*/ 20153 w 82133"/>
                  <a:gd name="connsiteY36" fmla="*/ 41624 h 12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133" h="125730">
                    <a:moveTo>
                      <a:pt x="82039" y="99822"/>
                    </a:moveTo>
                    <a:cubicBezTo>
                      <a:pt x="82039" y="116015"/>
                      <a:pt x="66924" y="125730"/>
                      <a:pt x="41542" y="125730"/>
                    </a:cubicBezTo>
                    <a:cubicBezTo>
                      <a:pt x="16160" y="125730"/>
                      <a:pt x="0" y="117729"/>
                      <a:pt x="0" y="103918"/>
                    </a:cubicBezTo>
                    <a:cubicBezTo>
                      <a:pt x="0" y="96107"/>
                      <a:pt x="5799" y="90297"/>
                      <a:pt x="14925" y="89916"/>
                    </a:cubicBezTo>
                    <a:lnTo>
                      <a:pt x="14925" y="89725"/>
                    </a:lnTo>
                    <a:cubicBezTo>
                      <a:pt x="10552" y="86773"/>
                      <a:pt x="8175" y="82582"/>
                      <a:pt x="8175" y="77057"/>
                    </a:cubicBezTo>
                    <a:cubicBezTo>
                      <a:pt x="8175" y="70485"/>
                      <a:pt x="11122" y="66008"/>
                      <a:pt x="15305" y="63913"/>
                    </a:cubicBezTo>
                    <a:lnTo>
                      <a:pt x="15305" y="63627"/>
                    </a:lnTo>
                    <a:cubicBezTo>
                      <a:pt x="7700" y="58960"/>
                      <a:pt x="3422" y="51340"/>
                      <a:pt x="3422" y="41624"/>
                    </a:cubicBezTo>
                    <a:cubicBezTo>
                      <a:pt x="3422" y="24765"/>
                      <a:pt x="16541" y="14192"/>
                      <a:pt x="37740" y="14192"/>
                    </a:cubicBezTo>
                    <a:cubicBezTo>
                      <a:pt x="46485" y="14192"/>
                      <a:pt x="53615" y="15907"/>
                      <a:pt x="59224" y="19145"/>
                    </a:cubicBezTo>
                    <a:lnTo>
                      <a:pt x="59414" y="18955"/>
                    </a:lnTo>
                    <a:cubicBezTo>
                      <a:pt x="57037" y="16478"/>
                      <a:pt x="55706" y="13525"/>
                      <a:pt x="55706" y="10192"/>
                    </a:cubicBezTo>
                    <a:cubicBezTo>
                      <a:pt x="55706" y="3905"/>
                      <a:pt x="61600" y="0"/>
                      <a:pt x="70821" y="0"/>
                    </a:cubicBezTo>
                    <a:cubicBezTo>
                      <a:pt x="74529" y="0"/>
                      <a:pt x="76715" y="286"/>
                      <a:pt x="78616" y="762"/>
                    </a:cubicBezTo>
                    <a:lnTo>
                      <a:pt x="78616" y="13049"/>
                    </a:lnTo>
                    <a:cubicBezTo>
                      <a:pt x="77380" y="12573"/>
                      <a:pt x="75669" y="12287"/>
                      <a:pt x="73483" y="12287"/>
                    </a:cubicBezTo>
                    <a:cubicBezTo>
                      <a:pt x="68350" y="12287"/>
                      <a:pt x="65878" y="14478"/>
                      <a:pt x="65878" y="18669"/>
                    </a:cubicBezTo>
                    <a:cubicBezTo>
                      <a:pt x="65878" y="20860"/>
                      <a:pt x="66638" y="23527"/>
                      <a:pt x="67589" y="26479"/>
                    </a:cubicBezTo>
                    <a:cubicBezTo>
                      <a:pt x="70536" y="30575"/>
                      <a:pt x="72152" y="35719"/>
                      <a:pt x="72152" y="41434"/>
                    </a:cubicBezTo>
                    <a:cubicBezTo>
                      <a:pt x="72152" y="58483"/>
                      <a:pt x="59034" y="68866"/>
                      <a:pt x="37930" y="68866"/>
                    </a:cubicBezTo>
                    <a:cubicBezTo>
                      <a:pt x="32987" y="68866"/>
                      <a:pt x="28423" y="68199"/>
                      <a:pt x="24336" y="67151"/>
                    </a:cubicBezTo>
                    <a:cubicBezTo>
                      <a:pt x="23385" y="68199"/>
                      <a:pt x="22435" y="70390"/>
                      <a:pt x="22435" y="73057"/>
                    </a:cubicBezTo>
                    <a:cubicBezTo>
                      <a:pt x="22435" y="77438"/>
                      <a:pt x="25572" y="80105"/>
                      <a:pt x="31180" y="80105"/>
                    </a:cubicBezTo>
                    <a:lnTo>
                      <a:pt x="56087" y="80105"/>
                    </a:lnTo>
                    <a:cubicBezTo>
                      <a:pt x="72627" y="80105"/>
                      <a:pt x="82134" y="87249"/>
                      <a:pt x="82134" y="99631"/>
                    </a:cubicBezTo>
                    <a:close/>
                    <a:moveTo>
                      <a:pt x="64547" y="101822"/>
                    </a:moveTo>
                    <a:cubicBezTo>
                      <a:pt x="64547" y="96679"/>
                      <a:pt x="60650" y="93821"/>
                      <a:pt x="52379" y="93821"/>
                    </a:cubicBezTo>
                    <a:lnTo>
                      <a:pt x="31466" y="93821"/>
                    </a:lnTo>
                    <a:cubicBezTo>
                      <a:pt x="22720" y="93821"/>
                      <a:pt x="17111" y="96488"/>
                      <a:pt x="17111" y="102394"/>
                    </a:cubicBezTo>
                    <a:cubicBezTo>
                      <a:pt x="17111" y="109728"/>
                      <a:pt x="26427" y="113348"/>
                      <a:pt x="41257" y="113348"/>
                    </a:cubicBezTo>
                    <a:cubicBezTo>
                      <a:pt x="57608" y="113348"/>
                      <a:pt x="64452" y="108680"/>
                      <a:pt x="64452" y="101822"/>
                    </a:cubicBezTo>
                    <a:close/>
                    <a:moveTo>
                      <a:pt x="20153" y="41624"/>
                    </a:moveTo>
                    <a:cubicBezTo>
                      <a:pt x="20153" y="50864"/>
                      <a:pt x="26902" y="56579"/>
                      <a:pt x="37740" y="56579"/>
                    </a:cubicBezTo>
                    <a:cubicBezTo>
                      <a:pt x="48577" y="56579"/>
                      <a:pt x="55326" y="50768"/>
                      <a:pt x="55326" y="41624"/>
                    </a:cubicBezTo>
                    <a:cubicBezTo>
                      <a:pt x="55326" y="32480"/>
                      <a:pt x="48672" y="26670"/>
                      <a:pt x="37740" y="26670"/>
                    </a:cubicBezTo>
                    <a:cubicBezTo>
                      <a:pt x="26808" y="26670"/>
                      <a:pt x="20153" y="32480"/>
                      <a:pt x="20153" y="41624"/>
                    </a:cubicBezTo>
                    <a:close/>
                  </a:path>
                </a:pathLst>
              </a:custGeom>
              <a:grpFill/>
              <a:ln w="9497"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4DBE09BF-87A3-C5DC-AFB9-244CE800E1B5}"/>
                  </a:ext>
                </a:extLst>
              </p:cNvPr>
              <p:cNvSpPr/>
              <p:nvPr/>
            </p:nvSpPr>
            <p:spPr>
              <a:xfrm>
                <a:off x="7081699"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388"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1"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US"/>
              </a:p>
            </p:txBody>
          </p:sp>
          <p:sp>
            <p:nvSpPr>
              <p:cNvPr id="44" name="Freeform 43">
                <a:extLst>
                  <a:ext uri="{FF2B5EF4-FFF2-40B4-BE49-F238E27FC236}">
                    <a16:creationId xmlns:a16="http://schemas.microsoft.com/office/drawing/2014/main" id="{010C0541-F54D-AE4C-B14A-3D05FFE9E056}"/>
                  </a:ext>
                </a:extLst>
              </p:cNvPr>
              <p:cNvSpPr/>
              <p:nvPr/>
            </p:nvSpPr>
            <p:spPr>
              <a:xfrm>
                <a:off x="7220394" y="3904773"/>
                <a:ext cx="74813" cy="79533"/>
              </a:xfrm>
              <a:custGeom>
                <a:avLst/>
                <a:gdLst>
                  <a:gd name="connsiteX0" fmla="*/ 0 w 74813"/>
                  <a:gd name="connsiteY0" fmla="*/ 56198 h 79533"/>
                  <a:gd name="connsiteX1" fmla="*/ 28804 w 74813"/>
                  <a:gd name="connsiteY1" fmla="*/ 35243 h 79533"/>
                  <a:gd name="connsiteX2" fmla="*/ 57322 w 74813"/>
                  <a:gd name="connsiteY2" fmla="*/ 35243 h 79533"/>
                  <a:gd name="connsiteX3" fmla="*/ 57322 w 74813"/>
                  <a:gd name="connsiteY3" fmla="*/ 29813 h 79533"/>
                  <a:gd name="connsiteX4" fmla="*/ 37074 w 74813"/>
                  <a:gd name="connsiteY4" fmla="*/ 13145 h 79533"/>
                  <a:gd name="connsiteX5" fmla="*/ 18537 w 74813"/>
                  <a:gd name="connsiteY5" fmla="*/ 26289 h 79533"/>
                  <a:gd name="connsiteX6" fmla="*/ 18727 w 74813"/>
                  <a:gd name="connsiteY6" fmla="*/ 29242 h 79533"/>
                  <a:gd name="connsiteX7" fmla="*/ 2662 w 74813"/>
                  <a:gd name="connsiteY7" fmla="*/ 29242 h 79533"/>
                  <a:gd name="connsiteX8" fmla="*/ 2377 w 74813"/>
                  <a:gd name="connsiteY8" fmla="*/ 24670 h 79533"/>
                  <a:gd name="connsiteX9" fmla="*/ 37740 w 74813"/>
                  <a:gd name="connsiteY9" fmla="*/ 0 h 79533"/>
                  <a:gd name="connsiteX10" fmla="*/ 74814 w 74813"/>
                  <a:gd name="connsiteY10" fmla="*/ 31337 h 79533"/>
                  <a:gd name="connsiteX11" fmla="*/ 74814 w 74813"/>
                  <a:gd name="connsiteY11" fmla="*/ 78296 h 79533"/>
                  <a:gd name="connsiteX12" fmla="*/ 57322 w 74813"/>
                  <a:gd name="connsiteY12" fmla="*/ 78296 h 79533"/>
                  <a:gd name="connsiteX13" fmla="*/ 58083 w 74813"/>
                  <a:gd name="connsiteY13" fmla="*/ 61246 h 79533"/>
                  <a:gd name="connsiteX14" fmla="*/ 57893 w 74813"/>
                  <a:gd name="connsiteY14" fmla="*/ 61246 h 79533"/>
                  <a:gd name="connsiteX15" fmla="*/ 29279 w 74813"/>
                  <a:gd name="connsiteY15" fmla="*/ 79534 h 79533"/>
                  <a:gd name="connsiteX16" fmla="*/ 0 w 74813"/>
                  <a:gd name="connsiteY16" fmla="*/ 56102 h 79533"/>
                  <a:gd name="connsiteX17" fmla="*/ 57322 w 74813"/>
                  <a:gd name="connsiteY17" fmla="*/ 47339 h 79533"/>
                  <a:gd name="connsiteX18" fmla="*/ 57322 w 74813"/>
                  <a:gd name="connsiteY18" fmla="*/ 45910 h 79533"/>
                  <a:gd name="connsiteX19" fmla="*/ 30420 w 74813"/>
                  <a:gd name="connsiteY19" fmla="*/ 45910 h 79533"/>
                  <a:gd name="connsiteX20" fmla="*/ 16066 w 74813"/>
                  <a:gd name="connsiteY20" fmla="*/ 55435 h 79533"/>
                  <a:gd name="connsiteX21" fmla="*/ 32891 w 74813"/>
                  <a:gd name="connsiteY21" fmla="*/ 66485 h 79533"/>
                  <a:gd name="connsiteX22" fmla="*/ 57322 w 74813"/>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813" h="79533">
                    <a:moveTo>
                      <a:pt x="0" y="56198"/>
                    </a:moveTo>
                    <a:cubicBezTo>
                      <a:pt x="0" y="44482"/>
                      <a:pt x="8270" y="35243"/>
                      <a:pt x="28804" y="35243"/>
                    </a:cubicBezTo>
                    <a:lnTo>
                      <a:pt x="57322" y="35243"/>
                    </a:lnTo>
                    <a:lnTo>
                      <a:pt x="57322" y="29813"/>
                    </a:lnTo>
                    <a:cubicBezTo>
                      <a:pt x="57322" y="18288"/>
                      <a:pt x="50668" y="13145"/>
                      <a:pt x="37074" y="13145"/>
                    </a:cubicBezTo>
                    <a:cubicBezTo>
                      <a:pt x="25287" y="13145"/>
                      <a:pt x="18537" y="17717"/>
                      <a:pt x="18537" y="26289"/>
                    </a:cubicBezTo>
                    <a:cubicBezTo>
                      <a:pt x="18537" y="26765"/>
                      <a:pt x="18537" y="28004"/>
                      <a:pt x="18727" y="29242"/>
                    </a:cubicBezTo>
                    <a:lnTo>
                      <a:pt x="2662" y="29242"/>
                    </a:lnTo>
                    <a:cubicBezTo>
                      <a:pt x="2472" y="28099"/>
                      <a:pt x="2377" y="26099"/>
                      <a:pt x="2377" y="24670"/>
                    </a:cubicBezTo>
                    <a:cubicBezTo>
                      <a:pt x="2377" y="9239"/>
                      <a:pt x="15780" y="0"/>
                      <a:pt x="37740" y="0"/>
                    </a:cubicBezTo>
                    <a:cubicBezTo>
                      <a:pt x="61125" y="0"/>
                      <a:pt x="74814" y="11049"/>
                      <a:pt x="74814" y="31337"/>
                    </a:cubicBezTo>
                    <a:lnTo>
                      <a:pt x="74814" y="78296"/>
                    </a:lnTo>
                    <a:lnTo>
                      <a:pt x="57322" y="78296"/>
                    </a:lnTo>
                    <a:cubicBezTo>
                      <a:pt x="57608" y="74581"/>
                      <a:pt x="58083" y="67532"/>
                      <a:pt x="58083" y="61246"/>
                    </a:cubicBezTo>
                    <a:lnTo>
                      <a:pt x="57893" y="61246"/>
                    </a:lnTo>
                    <a:cubicBezTo>
                      <a:pt x="55421" y="72676"/>
                      <a:pt x="46200" y="79534"/>
                      <a:pt x="29279" y="79534"/>
                    </a:cubicBezTo>
                    <a:cubicBezTo>
                      <a:pt x="12358" y="79534"/>
                      <a:pt x="0" y="71152"/>
                      <a:pt x="0" y="56102"/>
                    </a:cubicBezTo>
                    <a:close/>
                    <a:moveTo>
                      <a:pt x="57322" y="47339"/>
                    </a:moveTo>
                    <a:lnTo>
                      <a:pt x="57322" y="45910"/>
                    </a:lnTo>
                    <a:lnTo>
                      <a:pt x="30420" y="45910"/>
                    </a:lnTo>
                    <a:cubicBezTo>
                      <a:pt x="20438" y="45910"/>
                      <a:pt x="16066" y="49340"/>
                      <a:pt x="16066" y="55435"/>
                    </a:cubicBezTo>
                    <a:cubicBezTo>
                      <a:pt x="16066" y="62484"/>
                      <a:pt x="22340" y="66485"/>
                      <a:pt x="32891" y="66485"/>
                    </a:cubicBezTo>
                    <a:cubicBezTo>
                      <a:pt x="48006" y="66485"/>
                      <a:pt x="57322" y="59150"/>
                      <a:pt x="57322" y="47244"/>
                    </a:cubicBezTo>
                    <a:close/>
                  </a:path>
                </a:pathLst>
              </a:custGeom>
              <a:grpFill/>
              <a:ln w="9497"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0E76778D-4F77-CD33-9E6B-C82EF5B03585}"/>
                  </a:ext>
                </a:extLst>
              </p:cNvPr>
              <p:cNvSpPr/>
              <p:nvPr/>
            </p:nvSpPr>
            <p:spPr>
              <a:xfrm>
                <a:off x="7311844" y="3904773"/>
                <a:ext cx="70251" cy="78295"/>
              </a:xfrm>
              <a:custGeom>
                <a:avLst/>
                <a:gdLst>
                  <a:gd name="connsiteX0" fmla="*/ 0 w 70251"/>
                  <a:gd name="connsiteY0" fmla="*/ 1238 h 78295"/>
                  <a:gd name="connsiteX1" fmla="*/ 17491 w 70251"/>
                  <a:gd name="connsiteY1" fmla="*/ 1238 h 78295"/>
                  <a:gd name="connsiteX2" fmla="*/ 16826 w 70251"/>
                  <a:gd name="connsiteY2" fmla="*/ 23432 h 78295"/>
                  <a:gd name="connsiteX3" fmla="*/ 17016 w 70251"/>
                  <a:gd name="connsiteY3" fmla="*/ 23432 h 78295"/>
                  <a:gd name="connsiteX4" fmla="*/ 44394 w 70251"/>
                  <a:gd name="connsiteY4" fmla="*/ 0 h 78295"/>
                  <a:gd name="connsiteX5" fmla="*/ 70251 w 70251"/>
                  <a:gd name="connsiteY5" fmla="*/ 30099 h 78295"/>
                  <a:gd name="connsiteX6" fmla="*/ 69490 w 70251"/>
                  <a:gd name="connsiteY6" fmla="*/ 44482 h 78295"/>
                  <a:gd name="connsiteX7" fmla="*/ 53615 w 70251"/>
                  <a:gd name="connsiteY7" fmla="*/ 44482 h 78295"/>
                  <a:gd name="connsiteX8" fmla="*/ 54280 w 70251"/>
                  <a:gd name="connsiteY8" fmla="*/ 34004 h 78295"/>
                  <a:gd name="connsiteX9" fmla="*/ 39071 w 70251"/>
                  <a:gd name="connsiteY9" fmla="*/ 14954 h 78295"/>
                  <a:gd name="connsiteX10" fmla="*/ 17587 w 70251"/>
                  <a:gd name="connsiteY10" fmla="*/ 44577 h 78295"/>
                  <a:gd name="connsiteX11" fmla="*/ 17587 w 70251"/>
                  <a:gd name="connsiteY11" fmla="*/ 78296 h 78295"/>
                  <a:gd name="connsiteX12" fmla="*/ 95 w 70251"/>
                  <a:gd name="connsiteY12" fmla="*/ 78296 h 78295"/>
                  <a:gd name="connsiteX13" fmla="*/ 95 w 70251"/>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1" h="78295">
                    <a:moveTo>
                      <a:pt x="0" y="1238"/>
                    </a:moveTo>
                    <a:lnTo>
                      <a:pt x="17491" y="1238"/>
                    </a:lnTo>
                    <a:lnTo>
                      <a:pt x="16826" y="23432"/>
                    </a:lnTo>
                    <a:lnTo>
                      <a:pt x="17016" y="23432"/>
                    </a:lnTo>
                    <a:cubicBezTo>
                      <a:pt x="20629"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9071" y="14954"/>
                    </a:cubicBezTo>
                    <a:cubicBezTo>
                      <a:pt x="25857" y="14954"/>
                      <a:pt x="17587" y="26194"/>
                      <a:pt x="17587" y="44577"/>
                    </a:cubicBezTo>
                    <a:lnTo>
                      <a:pt x="17587" y="78296"/>
                    </a:lnTo>
                    <a:lnTo>
                      <a:pt x="95" y="78296"/>
                    </a:lnTo>
                    <a:lnTo>
                      <a:pt x="95" y="1238"/>
                    </a:lnTo>
                    <a:close/>
                  </a:path>
                </a:pathLst>
              </a:custGeom>
              <a:grpFill/>
              <a:ln w="9497" cap="flat">
                <a:noFill/>
                <a:prstDash val="solid"/>
                <a:miter/>
              </a:ln>
            </p:spPr>
            <p:txBody>
              <a:bodyPr rtlCol="0" anchor="ctr"/>
              <a:lstStyle/>
              <a:p>
                <a:endParaRPr lang="en-US"/>
              </a:p>
            </p:txBody>
          </p:sp>
          <p:sp>
            <p:nvSpPr>
              <p:cNvPr id="46" name="Freeform 45">
                <a:extLst>
                  <a:ext uri="{FF2B5EF4-FFF2-40B4-BE49-F238E27FC236}">
                    <a16:creationId xmlns:a16="http://schemas.microsoft.com/office/drawing/2014/main" id="{B132FE3C-6126-9368-DA5D-1BB1D286FEA4}"/>
                  </a:ext>
                </a:extLst>
              </p:cNvPr>
              <p:cNvSpPr/>
              <p:nvPr/>
            </p:nvSpPr>
            <p:spPr>
              <a:xfrm>
                <a:off x="7397495" y="3874865"/>
                <a:ext cx="83749" cy="108204"/>
              </a:xfrm>
              <a:custGeom>
                <a:avLst/>
                <a:gdLst>
                  <a:gd name="connsiteX0" fmla="*/ 0 w 83749"/>
                  <a:gd name="connsiteY0" fmla="*/ 95 h 108204"/>
                  <a:gd name="connsiteX1" fmla="*/ 17491 w 83749"/>
                  <a:gd name="connsiteY1" fmla="*/ 95 h 108204"/>
                  <a:gd name="connsiteX2" fmla="*/ 17491 w 83749"/>
                  <a:gd name="connsiteY2" fmla="*/ 71533 h 108204"/>
                  <a:gd name="connsiteX3" fmla="*/ 17681 w 83749"/>
                  <a:gd name="connsiteY3" fmla="*/ 71533 h 108204"/>
                  <a:gd name="connsiteX4" fmla="*/ 59129 w 83749"/>
                  <a:gd name="connsiteY4" fmla="*/ 31147 h 108204"/>
                  <a:gd name="connsiteX5" fmla="*/ 81753 w 83749"/>
                  <a:gd name="connsiteY5" fmla="*/ 31147 h 108204"/>
                  <a:gd name="connsiteX6" fmla="*/ 45725 w 83749"/>
                  <a:gd name="connsiteY6" fmla="*/ 64675 h 108204"/>
                  <a:gd name="connsiteX7" fmla="*/ 83750 w 83749"/>
                  <a:gd name="connsiteY7" fmla="*/ 108204 h 108204"/>
                  <a:gd name="connsiteX8" fmla="*/ 60079 w 83749"/>
                  <a:gd name="connsiteY8" fmla="*/ 108204 h 108204"/>
                  <a:gd name="connsiteX9" fmla="*/ 32987 w 83749"/>
                  <a:gd name="connsiteY9" fmla="*/ 75724 h 108204"/>
                  <a:gd name="connsiteX10" fmla="*/ 17587 w 83749"/>
                  <a:gd name="connsiteY10" fmla="*/ 89916 h 108204"/>
                  <a:gd name="connsiteX11" fmla="*/ 17587 w 83749"/>
                  <a:gd name="connsiteY11" fmla="*/ 108204 h 108204"/>
                  <a:gd name="connsiteX12" fmla="*/ 95 w 83749"/>
                  <a:gd name="connsiteY12" fmla="*/ 108204 h 108204"/>
                  <a:gd name="connsiteX13" fmla="*/ 95 w 83749"/>
                  <a:gd name="connsiteY13" fmla="*/ 0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49" h="108204">
                    <a:moveTo>
                      <a:pt x="0" y="95"/>
                    </a:moveTo>
                    <a:lnTo>
                      <a:pt x="17491" y="95"/>
                    </a:lnTo>
                    <a:lnTo>
                      <a:pt x="17491" y="71533"/>
                    </a:lnTo>
                    <a:lnTo>
                      <a:pt x="17681" y="71533"/>
                    </a:lnTo>
                    <a:lnTo>
                      <a:pt x="59129" y="31147"/>
                    </a:lnTo>
                    <a:lnTo>
                      <a:pt x="81753" y="31147"/>
                    </a:lnTo>
                    <a:lnTo>
                      <a:pt x="45725" y="64675"/>
                    </a:lnTo>
                    <a:lnTo>
                      <a:pt x="83750" y="108204"/>
                    </a:lnTo>
                    <a:lnTo>
                      <a:pt x="60079" y="108204"/>
                    </a:lnTo>
                    <a:lnTo>
                      <a:pt x="32987" y="75724"/>
                    </a:lnTo>
                    <a:lnTo>
                      <a:pt x="17587" y="89916"/>
                    </a:lnTo>
                    <a:lnTo>
                      <a:pt x="17587" y="108204"/>
                    </a:lnTo>
                    <a:lnTo>
                      <a:pt x="95" y="108204"/>
                    </a:lnTo>
                    <a:lnTo>
                      <a:pt x="95" y="0"/>
                    </a:lnTo>
                    <a:close/>
                  </a:path>
                </a:pathLst>
              </a:custGeom>
              <a:grpFill/>
              <a:ln w="9497"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2C0B5C92-16E9-B775-81DA-091B46B8917E}"/>
                  </a:ext>
                </a:extLst>
              </p:cNvPr>
              <p:cNvSpPr/>
              <p:nvPr/>
            </p:nvSpPr>
            <p:spPr>
              <a:xfrm>
                <a:off x="7484762" y="3904868"/>
                <a:ext cx="75194" cy="79533"/>
              </a:xfrm>
              <a:custGeom>
                <a:avLst/>
                <a:gdLst>
                  <a:gd name="connsiteX0" fmla="*/ 75099 w 75194"/>
                  <a:gd name="connsiteY0" fmla="*/ 43148 h 79533"/>
                  <a:gd name="connsiteX1" fmla="*/ 17491 w 75194"/>
                  <a:gd name="connsiteY1" fmla="*/ 43148 h 79533"/>
                  <a:gd name="connsiteX2" fmla="*/ 39736 w 75194"/>
                  <a:gd name="connsiteY2" fmla="*/ 65913 h 79533"/>
                  <a:gd name="connsiteX3" fmla="*/ 59414 w 75194"/>
                  <a:gd name="connsiteY3" fmla="*/ 51911 h 79533"/>
                  <a:gd name="connsiteX4" fmla="*/ 75194 w 75194"/>
                  <a:gd name="connsiteY4" fmla="*/ 51911 h 79533"/>
                  <a:gd name="connsiteX5" fmla="*/ 39546 w 75194"/>
                  <a:gd name="connsiteY5" fmla="*/ 79534 h 79533"/>
                  <a:gd name="connsiteX6" fmla="*/ 0 w 75194"/>
                  <a:gd name="connsiteY6" fmla="*/ 40386 h 79533"/>
                  <a:gd name="connsiteX7" fmla="*/ 39546 w 75194"/>
                  <a:gd name="connsiteY7" fmla="*/ 0 h 79533"/>
                  <a:gd name="connsiteX8" fmla="*/ 75194 w 75194"/>
                  <a:gd name="connsiteY8" fmla="*/ 36957 h 79533"/>
                  <a:gd name="connsiteX9" fmla="*/ 75194 w 75194"/>
                  <a:gd name="connsiteY9" fmla="*/ 43244 h 79533"/>
                  <a:gd name="connsiteX10" fmla="*/ 59319 w 75194"/>
                  <a:gd name="connsiteY10" fmla="*/ 31433 h 79533"/>
                  <a:gd name="connsiteX11" fmla="*/ 39546 w 75194"/>
                  <a:gd name="connsiteY11" fmla="*/ 13525 h 79533"/>
                  <a:gd name="connsiteX12" fmla="*/ 17872 w 75194"/>
                  <a:gd name="connsiteY12" fmla="*/ 32575 h 79533"/>
                  <a:gd name="connsiteX13" fmla="*/ 59319 w 75194"/>
                  <a:gd name="connsiteY13" fmla="*/ 32575 h 79533"/>
                  <a:gd name="connsiteX14" fmla="*/ 59319 w 75194"/>
                  <a:gd name="connsiteY14" fmla="*/ 31528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194" h="79533">
                    <a:moveTo>
                      <a:pt x="75099" y="43148"/>
                    </a:moveTo>
                    <a:lnTo>
                      <a:pt x="17491" y="43148"/>
                    </a:lnTo>
                    <a:cubicBezTo>
                      <a:pt x="18442" y="58007"/>
                      <a:pt x="26712" y="65913"/>
                      <a:pt x="39736" y="65913"/>
                    </a:cubicBezTo>
                    <a:cubicBezTo>
                      <a:pt x="50953" y="65913"/>
                      <a:pt x="58558" y="60960"/>
                      <a:pt x="59414" y="51911"/>
                    </a:cubicBezTo>
                    <a:lnTo>
                      <a:pt x="75194" y="51911"/>
                    </a:lnTo>
                    <a:cubicBezTo>
                      <a:pt x="74529" y="69056"/>
                      <a:pt x="60555" y="79534"/>
                      <a:pt x="39546" y="79534"/>
                    </a:cubicBezTo>
                    <a:cubicBezTo>
                      <a:pt x="15210" y="79534"/>
                      <a:pt x="0" y="64579"/>
                      <a:pt x="0" y="40386"/>
                    </a:cubicBezTo>
                    <a:cubicBezTo>
                      <a:pt x="0" y="16193"/>
                      <a:pt x="15305" y="0"/>
                      <a:pt x="39546" y="0"/>
                    </a:cubicBezTo>
                    <a:cubicBezTo>
                      <a:pt x="61315" y="0"/>
                      <a:pt x="75194" y="12954"/>
                      <a:pt x="75194" y="36957"/>
                    </a:cubicBezTo>
                    <a:lnTo>
                      <a:pt x="75194" y="43244"/>
                    </a:lnTo>
                    <a:close/>
                    <a:moveTo>
                      <a:pt x="59319" y="31433"/>
                    </a:moveTo>
                    <a:cubicBezTo>
                      <a:pt x="59319" y="19907"/>
                      <a:pt x="52189" y="13525"/>
                      <a:pt x="39546" y="13525"/>
                    </a:cubicBezTo>
                    <a:cubicBezTo>
                      <a:pt x="26903" y="13525"/>
                      <a:pt x="19963" y="19812"/>
                      <a:pt x="17872" y="32575"/>
                    </a:cubicBezTo>
                    <a:lnTo>
                      <a:pt x="59319" y="32575"/>
                    </a:lnTo>
                    <a:lnTo>
                      <a:pt x="59319" y="31528"/>
                    </a:lnTo>
                    <a:close/>
                  </a:path>
                </a:pathLst>
              </a:custGeom>
              <a:grpFill/>
              <a:ln w="9497"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836A7DFA-3099-DBCD-9C0F-8BCFF969D273}"/>
                  </a:ext>
                </a:extLst>
              </p:cNvPr>
              <p:cNvSpPr/>
              <p:nvPr/>
            </p:nvSpPr>
            <p:spPr>
              <a:xfrm>
                <a:off x="7567751"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1"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302979C7-3D04-579F-F501-7A5B02C926B9}"/>
                  </a:ext>
                </a:extLst>
              </p:cNvPr>
              <p:cNvSpPr/>
              <p:nvPr/>
            </p:nvSpPr>
            <p:spPr>
              <a:xfrm>
                <a:off x="763334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3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2"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0"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3" y="79629"/>
                    </a:cubicBezTo>
                    <a:cubicBezTo>
                      <a:pt x="9601" y="79629"/>
                      <a:pt x="95" y="67723"/>
                      <a:pt x="95" y="52673"/>
                    </a:cubicBezTo>
                    <a:close/>
                  </a:path>
                </a:pathLst>
              </a:custGeom>
              <a:grpFill/>
              <a:ln w="9497" cap="flat">
                <a:noFill/>
                <a:prstDash val="solid"/>
                <a:miter/>
              </a:ln>
            </p:spPr>
            <p:txBody>
              <a:bodyPr rtlCol="0" anchor="ctr"/>
              <a:lstStyle/>
              <a:p>
                <a:endParaRPr lang="en-US"/>
              </a:p>
            </p:txBody>
          </p:sp>
        </p:grpSp>
      </p:grpSp>
      <p:sp>
        <p:nvSpPr>
          <p:cNvPr id="8" name="Graphic 8">
            <a:extLst>
              <a:ext uri="{FF2B5EF4-FFF2-40B4-BE49-F238E27FC236}">
                <a16:creationId xmlns:a16="http://schemas.microsoft.com/office/drawing/2014/main" id="{A36D3B19-7533-C1F6-01CA-25CC48B61A1C}"/>
              </a:ext>
            </a:extLst>
          </p:cNvPr>
          <p:cNvSpPr>
            <a:spLocks noChangeAspect="1"/>
          </p:cNvSpPr>
          <p:nvPr userDrawn="1"/>
        </p:nvSpPr>
        <p:spPr>
          <a:xfrm>
            <a:off x="6895086"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US"/>
          </a:p>
        </p:txBody>
      </p:sp>
    </p:spTree>
    <p:extLst>
      <p:ext uri="{BB962C8B-B14F-4D97-AF65-F5344CB8AC3E}">
        <p14:creationId xmlns:p14="http://schemas.microsoft.com/office/powerpoint/2010/main" val="4091441506"/>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 Slide (without image)">
    <p:spTree>
      <p:nvGrpSpPr>
        <p:cNvPr id="1" name=""/>
        <p:cNvGrpSpPr/>
        <p:nvPr/>
      </p:nvGrpSpPr>
      <p:grpSpPr>
        <a:xfrm>
          <a:off x="0" y="0"/>
          <a:ext cx="0" cy="0"/>
          <a:chOff x="0" y="0"/>
          <a:chExt cx="0" cy="0"/>
        </a:xfrm>
      </p:grpSpPr>
      <p:sp>
        <p:nvSpPr>
          <p:cNvPr id="15" name="Text Placeholder 11">
            <a:extLst>
              <a:ext uri="{FF2B5EF4-FFF2-40B4-BE49-F238E27FC236}">
                <a16:creationId xmlns:a16="http://schemas.microsoft.com/office/drawing/2014/main" id="{140D1306-286B-D86B-C6B5-BC2A0E54B29C}"/>
              </a:ext>
            </a:extLst>
          </p:cNvPr>
          <p:cNvSpPr>
            <a:spLocks noGrp="1"/>
          </p:cNvSpPr>
          <p:nvPr>
            <p:ph type="body" sz="quarter" idx="16" hasCustomPrompt="1"/>
          </p:nvPr>
        </p:nvSpPr>
        <p:spPr>
          <a:xfrm>
            <a:off x="658812" y="2181109"/>
            <a:ext cx="10874375" cy="1868632"/>
          </a:xfrm>
        </p:spPr>
        <p:txBody>
          <a:bodyPr anchor="b">
            <a:normAutofit/>
          </a:bodyPr>
          <a:lstStyle>
            <a:lvl1pPr marL="0" indent="0">
              <a:lnSpc>
                <a:spcPct val="90000"/>
              </a:lnSpc>
              <a:spcBef>
                <a:spcPts val="0"/>
              </a:spcBef>
              <a:spcAft>
                <a:spcPts val="0"/>
              </a:spcAft>
              <a:buNone/>
              <a:defRPr sz="6500" b="1">
                <a:solidFill>
                  <a:srgbClr val="FFFFFF"/>
                </a:solidFill>
              </a:defRPr>
            </a:lvl1pPr>
          </a:lstStyle>
          <a:p>
            <a:pPr lvl="0"/>
            <a:r>
              <a:rPr lang="en-GB"/>
              <a:t>Presentation title goes in this space here</a:t>
            </a:r>
            <a:endParaRPr lang="en-NL"/>
          </a:p>
        </p:txBody>
      </p:sp>
      <p:sp>
        <p:nvSpPr>
          <p:cNvPr id="16" name="Text Placeholder 11">
            <a:extLst>
              <a:ext uri="{FF2B5EF4-FFF2-40B4-BE49-F238E27FC236}">
                <a16:creationId xmlns:a16="http://schemas.microsoft.com/office/drawing/2014/main" id="{74A8F2DB-B148-88A1-2854-99FF5E6E5E58}"/>
              </a:ext>
            </a:extLst>
          </p:cNvPr>
          <p:cNvSpPr>
            <a:spLocks noGrp="1"/>
          </p:cNvSpPr>
          <p:nvPr>
            <p:ph type="body" sz="quarter" idx="17" hasCustomPrompt="1"/>
          </p:nvPr>
        </p:nvSpPr>
        <p:spPr>
          <a:xfrm>
            <a:off x="658813" y="4217046"/>
            <a:ext cx="5113337" cy="626878"/>
          </a:xfrm>
        </p:spPr>
        <p:txBody>
          <a:bodyPr>
            <a:normAutofit/>
          </a:bodyPr>
          <a:lstStyle>
            <a:lvl1pPr marL="0" indent="0">
              <a:buNone/>
              <a:defRPr sz="2800" b="0">
                <a:solidFill>
                  <a:srgbClr val="47D985"/>
                </a:solidFill>
              </a:defRPr>
            </a:lvl1pPr>
          </a:lstStyle>
          <a:p>
            <a:pPr lvl="0"/>
            <a:r>
              <a:rPr lang="en-GB"/>
              <a:t>25.08.2022</a:t>
            </a:r>
            <a:endParaRPr lang="en-NL"/>
          </a:p>
        </p:txBody>
      </p:sp>
      <p:grpSp>
        <p:nvGrpSpPr>
          <p:cNvPr id="3" name="Graphic 77">
            <a:extLst>
              <a:ext uri="{FF2B5EF4-FFF2-40B4-BE49-F238E27FC236}">
                <a16:creationId xmlns:a16="http://schemas.microsoft.com/office/drawing/2014/main" id="{B236B6E2-581E-7D17-E8AF-8287B907D0A5}"/>
              </a:ext>
            </a:extLst>
          </p:cNvPr>
          <p:cNvGrpSpPr>
            <a:grpSpLocks noChangeAspect="1"/>
          </p:cNvGrpSpPr>
          <p:nvPr userDrawn="1"/>
        </p:nvGrpSpPr>
        <p:grpSpPr>
          <a:xfrm>
            <a:off x="658812" y="5373113"/>
            <a:ext cx="2549217" cy="933156"/>
            <a:chOff x="4489439" y="2838428"/>
            <a:chExt cx="3217768" cy="1177883"/>
          </a:xfrm>
          <a:solidFill>
            <a:schemeClr val="bg1"/>
          </a:solidFill>
        </p:grpSpPr>
        <p:sp>
          <p:nvSpPr>
            <p:cNvPr id="4" name="Freeform 3">
              <a:extLst>
                <a:ext uri="{FF2B5EF4-FFF2-40B4-BE49-F238E27FC236}">
                  <a16:creationId xmlns:a16="http://schemas.microsoft.com/office/drawing/2014/main" id="{DDB12923-20E4-FB24-75D5-DA6F6F3F51E3}"/>
                </a:ext>
              </a:extLst>
            </p:cNvPr>
            <p:cNvSpPr/>
            <p:nvPr/>
          </p:nvSpPr>
          <p:spPr>
            <a:xfrm>
              <a:off x="4489439" y="2838428"/>
              <a:ext cx="3217388" cy="1177883"/>
            </a:xfrm>
            <a:custGeom>
              <a:avLst/>
              <a:gdLst>
                <a:gd name="connsiteX0" fmla="*/ 1527089 w 3217388"/>
                <a:gd name="connsiteY0" fmla="*/ 295107 h 1177883"/>
                <a:gd name="connsiteX1" fmla="*/ 1705520 w 3217388"/>
                <a:gd name="connsiteY1" fmla="*/ 295107 h 1177883"/>
                <a:gd name="connsiteX2" fmla="*/ 1705520 w 3217388"/>
                <a:gd name="connsiteY2" fmla="*/ 947283 h 1177883"/>
                <a:gd name="connsiteX3" fmla="*/ 1527089 w 3217388"/>
                <a:gd name="connsiteY3" fmla="*/ 947283 h 1177883"/>
                <a:gd name="connsiteX4" fmla="*/ 1527089 w 3217388"/>
                <a:gd name="connsiteY4" fmla="*/ 295107 h 1177883"/>
                <a:gd name="connsiteX5" fmla="*/ 2318481 w 3217388"/>
                <a:gd name="connsiteY5" fmla="*/ 4403 h 1177883"/>
                <a:gd name="connsiteX6" fmla="*/ 2318481 w 3217388"/>
                <a:gd name="connsiteY6" fmla="*/ 386070 h 1177883"/>
                <a:gd name="connsiteX7" fmla="*/ 2100884 w 3217388"/>
                <a:gd name="connsiteY7" fmla="*/ 274533 h 1177883"/>
                <a:gd name="connsiteX8" fmla="*/ 1939848 w 3217388"/>
                <a:gd name="connsiteY8" fmla="*/ 318919 h 1177883"/>
                <a:gd name="connsiteX9" fmla="*/ 1819785 w 3217388"/>
                <a:gd name="connsiteY9" fmla="*/ 441792 h 1177883"/>
                <a:gd name="connsiteX10" fmla="*/ 1776817 w 3217388"/>
                <a:gd name="connsiteY10" fmla="*/ 620576 h 1177883"/>
                <a:gd name="connsiteX11" fmla="*/ 1819785 w 3217388"/>
                <a:gd name="connsiteY11" fmla="*/ 800027 h 1177883"/>
                <a:gd name="connsiteX12" fmla="*/ 1940419 w 3217388"/>
                <a:gd name="connsiteY12" fmla="*/ 922899 h 1177883"/>
                <a:gd name="connsiteX13" fmla="*/ 2111816 w 3217388"/>
                <a:gd name="connsiteY13" fmla="*/ 966619 h 1177883"/>
                <a:gd name="connsiteX14" fmla="*/ 2318481 w 3217388"/>
                <a:gd name="connsiteY14" fmla="*/ 864606 h 1177883"/>
                <a:gd name="connsiteX15" fmla="*/ 2318481 w 3217388"/>
                <a:gd name="connsiteY15" fmla="*/ 947283 h 1177883"/>
                <a:gd name="connsiteX16" fmla="*/ 2496913 w 3217388"/>
                <a:gd name="connsiteY16" fmla="*/ 947283 h 1177883"/>
                <a:gd name="connsiteX17" fmla="*/ 2496913 w 3217388"/>
                <a:gd name="connsiteY17" fmla="*/ 4403 h 1177883"/>
                <a:gd name="connsiteX18" fmla="*/ 2318481 w 3217388"/>
                <a:gd name="connsiteY18" fmla="*/ 4403 h 1177883"/>
                <a:gd name="connsiteX19" fmla="*/ 2146323 w 3217388"/>
                <a:gd name="connsiteY19" fmla="*/ 813648 h 1177883"/>
                <a:gd name="connsiteX20" fmla="*/ 1957815 w 3217388"/>
                <a:gd name="connsiteY20" fmla="*/ 620576 h 1177883"/>
                <a:gd name="connsiteX21" fmla="*/ 2146323 w 3217388"/>
                <a:gd name="connsiteY21" fmla="*/ 427504 h 1177883"/>
                <a:gd name="connsiteX22" fmla="*/ 2334832 w 3217388"/>
                <a:gd name="connsiteY22" fmla="*/ 620576 h 1177883"/>
                <a:gd name="connsiteX23" fmla="*/ 2146323 w 3217388"/>
                <a:gd name="connsiteY23" fmla="*/ 813648 h 1177883"/>
                <a:gd name="connsiteX24" fmla="*/ 3186113 w 3217388"/>
                <a:gd name="connsiteY24" fmla="*/ 403787 h 1177883"/>
                <a:gd name="connsiteX25" fmla="*/ 3097515 w 3217388"/>
                <a:gd name="connsiteY25" fmla="*/ 307298 h 1177883"/>
                <a:gd name="connsiteX26" fmla="*/ 2959485 w 3217388"/>
                <a:gd name="connsiteY26" fmla="*/ 274533 h 1177883"/>
                <a:gd name="connsiteX27" fmla="*/ 2759189 w 3217388"/>
                <a:gd name="connsiteY27" fmla="*/ 385975 h 1177883"/>
                <a:gd name="connsiteX28" fmla="*/ 2759189 w 3217388"/>
                <a:gd name="connsiteY28" fmla="*/ 4403 h 1177883"/>
                <a:gd name="connsiteX29" fmla="*/ 2580567 w 3217388"/>
                <a:gd name="connsiteY29" fmla="*/ 4403 h 1177883"/>
                <a:gd name="connsiteX30" fmla="*/ 2580567 w 3217388"/>
                <a:gd name="connsiteY30" fmla="*/ 947283 h 1177883"/>
                <a:gd name="connsiteX31" fmla="*/ 2759094 w 3217388"/>
                <a:gd name="connsiteY31" fmla="*/ 947283 h 1177883"/>
                <a:gd name="connsiteX32" fmla="*/ 2759094 w 3217388"/>
                <a:gd name="connsiteY32" fmla="*/ 598097 h 1177883"/>
                <a:gd name="connsiteX33" fmla="*/ 2902162 w 3217388"/>
                <a:gd name="connsiteY33" fmla="*/ 429219 h 1177883"/>
                <a:gd name="connsiteX34" fmla="*/ 3038957 w 3217388"/>
                <a:gd name="connsiteY34" fmla="*/ 598097 h 1177883"/>
                <a:gd name="connsiteX35" fmla="*/ 3038957 w 3217388"/>
                <a:gd name="connsiteY35" fmla="*/ 947283 h 1177883"/>
                <a:gd name="connsiteX36" fmla="*/ 3217388 w 3217388"/>
                <a:gd name="connsiteY36" fmla="*/ 947283 h 1177883"/>
                <a:gd name="connsiteX37" fmla="*/ 3217388 w 3217388"/>
                <a:gd name="connsiteY37" fmla="*/ 560092 h 1177883"/>
                <a:gd name="connsiteX38" fmla="*/ 3185923 w 3217388"/>
                <a:gd name="connsiteY38" fmla="*/ 403787 h 1177883"/>
                <a:gd name="connsiteX39" fmla="*/ 1731282 w 3217388"/>
                <a:gd name="connsiteY39" fmla="*/ 100701 h 1177883"/>
                <a:gd name="connsiteX40" fmla="*/ 1615972 w 3217388"/>
                <a:gd name="connsiteY40" fmla="*/ 216906 h 1177883"/>
                <a:gd name="connsiteX41" fmla="*/ 1507221 w 3217388"/>
                <a:gd name="connsiteY41" fmla="*/ 156803 h 1177883"/>
                <a:gd name="connsiteX42" fmla="*/ 1560836 w 3217388"/>
                <a:gd name="connsiteY42" fmla="*/ 8499 h 1177883"/>
                <a:gd name="connsiteX43" fmla="*/ 1731187 w 3217388"/>
                <a:gd name="connsiteY43" fmla="*/ 100606 h 1177883"/>
                <a:gd name="connsiteX44" fmla="*/ 1731187 w 3217388"/>
                <a:gd name="connsiteY44" fmla="*/ 100606 h 1177883"/>
                <a:gd name="connsiteX45" fmla="*/ 243274 w 3217388"/>
                <a:gd name="connsiteY45" fmla="*/ 1020912 h 1177883"/>
                <a:gd name="connsiteX46" fmla="*/ 250974 w 3217388"/>
                <a:gd name="connsiteY46" fmla="*/ 1046439 h 1177883"/>
                <a:gd name="connsiteX47" fmla="*/ 217798 w 3217388"/>
                <a:gd name="connsiteY47" fmla="*/ 1047010 h 1177883"/>
                <a:gd name="connsiteX48" fmla="*/ 198975 w 3217388"/>
                <a:gd name="connsiteY48" fmla="*/ 1012625 h 1177883"/>
                <a:gd name="connsiteX49" fmla="*/ 243274 w 3217388"/>
                <a:gd name="connsiteY49" fmla="*/ 1020912 h 1177883"/>
                <a:gd name="connsiteX50" fmla="*/ 848820 w 3217388"/>
                <a:gd name="connsiteY50" fmla="*/ 564283 h 1177883"/>
                <a:gd name="connsiteX51" fmla="*/ 826290 w 3217388"/>
                <a:gd name="connsiteY51" fmla="*/ 650103 h 1177883"/>
                <a:gd name="connsiteX52" fmla="*/ 712121 w 3217388"/>
                <a:gd name="connsiteY52" fmla="*/ 716302 h 1177883"/>
                <a:gd name="connsiteX53" fmla="*/ 683507 w 3217388"/>
                <a:gd name="connsiteY53" fmla="*/ 719255 h 1177883"/>
                <a:gd name="connsiteX54" fmla="*/ 564489 w 3217388"/>
                <a:gd name="connsiteY54" fmla="*/ 646103 h 1177883"/>
                <a:gd name="connsiteX55" fmla="*/ 631223 w 3217388"/>
                <a:gd name="connsiteY55" fmla="*/ 446173 h 1177883"/>
                <a:gd name="connsiteX56" fmla="*/ 765451 w 3217388"/>
                <a:gd name="connsiteY56" fmla="*/ 454841 h 1177883"/>
                <a:gd name="connsiteX57" fmla="*/ 848915 w 3217388"/>
                <a:gd name="connsiteY57" fmla="*/ 563997 h 1177883"/>
                <a:gd name="connsiteX58" fmla="*/ 848915 w 3217388"/>
                <a:gd name="connsiteY58" fmla="*/ 564188 h 1177883"/>
                <a:gd name="connsiteX59" fmla="*/ 808039 w 3217388"/>
                <a:gd name="connsiteY59" fmla="*/ 570760 h 1177883"/>
                <a:gd name="connsiteX60" fmla="*/ 718680 w 3217388"/>
                <a:gd name="connsiteY60" fmla="*/ 484749 h 1177883"/>
                <a:gd name="connsiteX61" fmla="*/ 692158 w 3217388"/>
                <a:gd name="connsiteY61" fmla="*/ 481511 h 1177883"/>
                <a:gd name="connsiteX62" fmla="*/ 624759 w 3217388"/>
                <a:gd name="connsiteY62" fmla="*/ 514182 h 1177883"/>
                <a:gd name="connsiteX63" fmla="*/ 612211 w 3217388"/>
                <a:gd name="connsiteY63" fmla="*/ 626291 h 1177883"/>
                <a:gd name="connsiteX64" fmla="*/ 684933 w 3217388"/>
                <a:gd name="connsiteY64" fmla="*/ 671058 h 1177883"/>
                <a:gd name="connsiteX65" fmla="*/ 788076 w 3217388"/>
                <a:gd name="connsiteY65" fmla="*/ 630006 h 1177883"/>
                <a:gd name="connsiteX66" fmla="*/ 807943 w 3217388"/>
                <a:gd name="connsiteY66" fmla="*/ 570665 h 1177883"/>
                <a:gd name="connsiteX67" fmla="*/ 893024 w 3217388"/>
                <a:gd name="connsiteY67" fmla="*/ 502656 h 1177883"/>
                <a:gd name="connsiteX68" fmla="*/ 838173 w 3217388"/>
                <a:gd name="connsiteY68" fmla="*/ 782977 h 1177883"/>
                <a:gd name="connsiteX69" fmla="*/ 677043 w 3217388"/>
                <a:gd name="connsiteY69" fmla="*/ 846414 h 1177883"/>
                <a:gd name="connsiteX70" fmla="*/ 622097 w 3217388"/>
                <a:gd name="connsiteY70" fmla="*/ 840508 h 1177883"/>
                <a:gd name="connsiteX71" fmla="*/ 418569 w 3217388"/>
                <a:gd name="connsiteY71" fmla="*/ 675059 h 1177883"/>
                <a:gd name="connsiteX72" fmla="*/ 419710 w 3217388"/>
                <a:gd name="connsiteY72" fmla="*/ 475224 h 1177883"/>
                <a:gd name="connsiteX73" fmla="*/ 569147 w 3217388"/>
                <a:gd name="connsiteY73" fmla="*/ 334254 h 1177883"/>
                <a:gd name="connsiteX74" fmla="*/ 753663 w 3217388"/>
                <a:gd name="connsiteY74" fmla="*/ 342922 h 1177883"/>
                <a:gd name="connsiteX75" fmla="*/ 893024 w 3217388"/>
                <a:gd name="connsiteY75" fmla="*/ 502561 h 1177883"/>
                <a:gd name="connsiteX76" fmla="*/ 880381 w 3217388"/>
                <a:gd name="connsiteY76" fmla="*/ 507323 h 1177883"/>
                <a:gd name="connsiteX77" fmla="*/ 880381 w 3217388"/>
                <a:gd name="connsiteY77" fmla="*/ 507323 h 1177883"/>
                <a:gd name="connsiteX78" fmla="*/ 670198 w 3217388"/>
                <a:gd name="connsiteY78" fmla="*/ 370449 h 1177883"/>
                <a:gd name="connsiteX79" fmla="*/ 669153 w 3217388"/>
                <a:gd name="connsiteY79" fmla="*/ 370449 h 1177883"/>
                <a:gd name="connsiteX80" fmla="*/ 485588 w 3217388"/>
                <a:gd name="connsiteY80" fmla="*/ 460746 h 1177883"/>
                <a:gd name="connsiteX81" fmla="*/ 448704 w 3217388"/>
                <a:gd name="connsiteY81" fmla="*/ 664391 h 1177883"/>
                <a:gd name="connsiteX82" fmla="*/ 557170 w 3217388"/>
                <a:gd name="connsiteY82" fmla="*/ 793264 h 1177883"/>
                <a:gd name="connsiteX83" fmla="*/ 734270 w 3217388"/>
                <a:gd name="connsiteY83" fmla="*/ 794121 h 1177883"/>
                <a:gd name="connsiteX84" fmla="*/ 880381 w 3217388"/>
                <a:gd name="connsiteY84" fmla="*/ 507419 h 1177883"/>
                <a:gd name="connsiteX85" fmla="*/ 634645 w 3217388"/>
                <a:gd name="connsiteY85" fmla="*/ 996051 h 1177883"/>
                <a:gd name="connsiteX86" fmla="*/ 488535 w 3217388"/>
                <a:gd name="connsiteY86" fmla="*/ 966524 h 1177883"/>
                <a:gd name="connsiteX87" fmla="*/ 255062 w 3217388"/>
                <a:gd name="connsiteY87" fmla="*/ 426742 h 1177883"/>
                <a:gd name="connsiteX88" fmla="*/ 580460 w 3217388"/>
                <a:gd name="connsiteY88" fmla="*/ 157280 h 1177883"/>
                <a:gd name="connsiteX89" fmla="*/ 969359 w 3217388"/>
                <a:gd name="connsiteY89" fmla="*/ 317490 h 1177883"/>
                <a:gd name="connsiteX90" fmla="*/ 1014704 w 3217388"/>
                <a:gd name="connsiteY90" fmla="*/ 721255 h 1177883"/>
                <a:gd name="connsiteX91" fmla="*/ 785129 w 3217388"/>
                <a:gd name="connsiteY91" fmla="*/ 964714 h 1177883"/>
                <a:gd name="connsiteX92" fmla="*/ 634645 w 3217388"/>
                <a:gd name="connsiteY92" fmla="*/ 996051 h 1177883"/>
                <a:gd name="connsiteX93" fmla="*/ 1002631 w 3217388"/>
                <a:gd name="connsiteY93" fmla="*/ 716493 h 1177883"/>
                <a:gd name="connsiteX94" fmla="*/ 945593 w 3217388"/>
                <a:gd name="connsiteY94" fmla="*/ 359496 h 1177883"/>
                <a:gd name="connsiteX95" fmla="*/ 637212 w 3217388"/>
                <a:gd name="connsiteY95" fmla="*/ 204333 h 1177883"/>
                <a:gd name="connsiteX96" fmla="*/ 590156 w 3217388"/>
                <a:gd name="connsiteY96" fmla="*/ 207191 h 1177883"/>
                <a:gd name="connsiteX97" fmla="*/ 284151 w 3217388"/>
                <a:gd name="connsiteY97" fmla="*/ 438077 h 1177883"/>
                <a:gd name="connsiteX98" fmla="*/ 376456 w 3217388"/>
                <a:gd name="connsiteY98" fmla="*/ 851748 h 1177883"/>
                <a:gd name="connsiteX99" fmla="*/ 744632 w 3217388"/>
                <a:gd name="connsiteY99" fmla="*/ 937568 h 1177883"/>
                <a:gd name="connsiteX100" fmla="*/ 1002536 w 3217388"/>
                <a:gd name="connsiteY100" fmla="*/ 716493 h 1177883"/>
                <a:gd name="connsiteX101" fmla="*/ 1002536 w 3217388"/>
                <a:gd name="connsiteY101" fmla="*/ 716493 h 1177883"/>
                <a:gd name="connsiteX102" fmla="*/ 43834 w 3217388"/>
                <a:gd name="connsiteY102" fmla="*/ 569617 h 1177883"/>
                <a:gd name="connsiteX103" fmla="*/ 240328 w 3217388"/>
                <a:gd name="connsiteY103" fmla="*/ 192998 h 1177883"/>
                <a:gd name="connsiteX104" fmla="*/ 636451 w 3217388"/>
                <a:gd name="connsiteY104" fmla="*/ 44408 h 1177883"/>
                <a:gd name="connsiteX105" fmla="*/ 1012897 w 3217388"/>
                <a:gd name="connsiteY105" fmla="*/ 220240 h 1177883"/>
                <a:gd name="connsiteX106" fmla="*/ 1019742 w 3217388"/>
                <a:gd name="connsiteY106" fmla="*/ 223955 h 1177883"/>
                <a:gd name="connsiteX107" fmla="*/ 1027537 w 3217388"/>
                <a:gd name="connsiteY107" fmla="*/ 221288 h 1177883"/>
                <a:gd name="connsiteX108" fmla="*/ 1030674 w 3217388"/>
                <a:gd name="connsiteY108" fmla="*/ 213668 h 1177883"/>
                <a:gd name="connsiteX109" fmla="*/ 1027822 w 3217388"/>
                <a:gd name="connsiteY109" fmla="*/ 206905 h 1177883"/>
                <a:gd name="connsiteX110" fmla="*/ 565345 w 3217388"/>
                <a:gd name="connsiteY110" fmla="*/ 212 h 1177883"/>
                <a:gd name="connsiteX111" fmla="*/ 119504 w 3217388"/>
                <a:gd name="connsiteY111" fmla="*/ 229765 h 1177883"/>
                <a:gd name="connsiteX112" fmla="*/ 148402 w 3217388"/>
                <a:gd name="connsiteY112" fmla="*/ 978049 h 1177883"/>
                <a:gd name="connsiteX113" fmla="*/ 152775 w 3217388"/>
                <a:gd name="connsiteY113" fmla="*/ 982907 h 1177883"/>
                <a:gd name="connsiteX114" fmla="*/ 155057 w 3217388"/>
                <a:gd name="connsiteY114" fmla="*/ 985383 h 1177883"/>
                <a:gd name="connsiteX115" fmla="*/ 156198 w 3217388"/>
                <a:gd name="connsiteY115" fmla="*/ 986050 h 1177883"/>
                <a:gd name="connsiteX116" fmla="*/ 162852 w 3217388"/>
                <a:gd name="connsiteY116" fmla="*/ 987860 h 1177883"/>
                <a:gd name="connsiteX117" fmla="*/ 166464 w 3217388"/>
                <a:gd name="connsiteY117" fmla="*/ 987384 h 1177883"/>
                <a:gd name="connsiteX118" fmla="*/ 173974 w 3217388"/>
                <a:gd name="connsiteY118" fmla="*/ 981383 h 1177883"/>
                <a:gd name="connsiteX119" fmla="*/ 172168 w 3217388"/>
                <a:gd name="connsiteY119" fmla="*/ 967191 h 1177883"/>
                <a:gd name="connsiteX120" fmla="*/ 43929 w 3217388"/>
                <a:gd name="connsiteY120" fmla="*/ 569712 h 1177883"/>
                <a:gd name="connsiteX121" fmla="*/ 1172032 w 3217388"/>
                <a:gd name="connsiteY121" fmla="*/ 561997 h 1177883"/>
                <a:gd name="connsiteX122" fmla="*/ 1171651 w 3217388"/>
                <a:gd name="connsiteY122" fmla="*/ 559902 h 1177883"/>
                <a:gd name="connsiteX123" fmla="*/ 1159578 w 3217388"/>
                <a:gd name="connsiteY123" fmla="*/ 550853 h 1177883"/>
                <a:gd name="connsiteX124" fmla="*/ 1150738 w 3217388"/>
                <a:gd name="connsiteY124" fmla="*/ 555520 h 1177883"/>
                <a:gd name="connsiteX125" fmla="*/ 1148076 w 3217388"/>
                <a:gd name="connsiteY125" fmla="*/ 565521 h 1177883"/>
                <a:gd name="connsiteX126" fmla="*/ 1074403 w 3217388"/>
                <a:gd name="connsiteY126" fmla="*/ 861939 h 1177883"/>
                <a:gd name="connsiteX127" fmla="*/ 621241 w 3217388"/>
                <a:gd name="connsiteY127" fmla="*/ 1150642 h 1177883"/>
                <a:gd name="connsiteX128" fmla="*/ 609169 w 3217388"/>
                <a:gd name="connsiteY128" fmla="*/ 1165692 h 1177883"/>
                <a:gd name="connsiteX129" fmla="*/ 620481 w 3217388"/>
                <a:gd name="connsiteY129" fmla="*/ 1177693 h 1177883"/>
                <a:gd name="connsiteX130" fmla="*/ 621432 w 3217388"/>
                <a:gd name="connsiteY130" fmla="*/ 1177884 h 1177883"/>
                <a:gd name="connsiteX131" fmla="*/ 622382 w 3217388"/>
                <a:gd name="connsiteY131" fmla="*/ 1177884 h 1177883"/>
                <a:gd name="connsiteX132" fmla="*/ 664685 w 3217388"/>
                <a:gd name="connsiteY132" fmla="*/ 1174264 h 1177883"/>
                <a:gd name="connsiteX133" fmla="*/ 1045599 w 3217388"/>
                <a:gd name="connsiteY133" fmla="*/ 963285 h 1177883"/>
                <a:gd name="connsiteX134" fmla="*/ 1172032 w 3217388"/>
                <a:gd name="connsiteY134" fmla="*/ 561997 h 1177883"/>
                <a:gd name="connsiteX135" fmla="*/ 1170130 w 3217388"/>
                <a:gd name="connsiteY135" fmla="*/ 489226 h 1177883"/>
                <a:gd name="connsiteX136" fmla="*/ 1142657 w 3217388"/>
                <a:gd name="connsiteY136" fmla="*/ 363591 h 1177883"/>
                <a:gd name="connsiteX137" fmla="*/ 1115565 w 3217388"/>
                <a:gd name="connsiteY137" fmla="*/ 352923 h 1177883"/>
                <a:gd name="connsiteX138" fmla="*/ 1114804 w 3217388"/>
                <a:gd name="connsiteY138" fmla="*/ 389975 h 1177883"/>
                <a:gd name="connsiteX139" fmla="*/ 1145414 w 3217388"/>
                <a:gd name="connsiteY139" fmla="*/ 486559 h 1177883"/>
                <a:gd name="connsiteX140" fmla="*/ 1158913 w 3217388"/>
                <a:gd name="connsiteY140" fmla="*/ 501418 h 1177883"/>
                <a:gd name="connsiteX141" fmla="*/ 1170130 w 3217388"/>
                <a:gd name="connsiteY141" fmla="*/ 489321 h 117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217388" h="1177883">
                  <a:moveTo>
                    <a:pt x="1527089" y="295107"/>
                  </a:moveTo>
                  <a:lnTo>
                    <a:pt x="1705520" y="295107"/>
                  </a:lnTo>
                  <a:lnTo>
                    <a:pt x="1705520" y="947283"/>
                  </a:lnTo>
                  <a:lnTo>
                    <a:pt x="1527089" y="947283"/>
                  </a:lnTo>
                  <a:lnTo>
                    <a:pt x="1527089" y="295107"/>
                  </a:lnTo>
                  <a:close/>
                  <a:moveTo>
                    <a:pt x="2318481" y="4403"/>
                  </a:moveTo>
                  <a:lnTo>
                    <a:pt x="2318481" y="386070"/>
                  </a:lnTo>
                  <a:cubicBezTo>
                    <a:pt x="2295095" y="345779"/>
                    <a:pt x="2216669" y="274533"/>
                    <a:pt x="2100884" y="274533"/>
                  </a:cubicBezTo>
                  <a:cubicBezTo>
                    <a:pt x="2046888" y="274533"/>
                    <a:pt x="1991182" y="289296"/>
                    <a:pt x="1939848" y="318919"/>
                  </a:cubicBezTo>
                  <a:cubicBezTo>
                    <a:pt x="1888515" y="348542"/>
                    <a:pt x="1848494" y="389499"/>
                    <a:pt x="1819785" y="441792"/>
                  </a:cubicBezTo>
                  <a:cubicBezTo>
                    <a:pt x="1791076" y="494084"/>
                    <a:pt x="1776817" y="553710"/>
                    <a:pt x="1776817" y="620576"/>
                  </a:cubicBezTo>
                  <a:cubicBezTo>
                    <a:pt x="1776817" y="687441"/>
                    <a:pt x="1791171" y="747258"/>
                    <a:pt x="1819785" y="800027"/>
                  </a:cubicBezTo>
                  <a:cubicBezTo>
                    <a:pt x="1848399" y="852795"/>
                    <a:pt x="1888705" y="893753"/>
                    <a:pt x="1940419" y="922899"/>
                  </a:cubicBezTo>
                  <a:cubicBezTo>
                    <a:pt x="1992228" y="952046"/>
                    <a:pt x="2048409" y="966619"/>
                    <a:pt x="2111816" y="966619"/>
                  </a:cubicBezTo>
                  <a:cubicBezTo>
                    <a:pt x="2223704" y="966619"/>
                    <a:pt x="2302605" y="899182"/>
                    <a:pt x="2318481" y="864606"/>
                  </a:cubicBezTo>
                  <a:lnTo>
                    <a:pt x="2318481" y="947283"/>
                  </a:lnTo>
                  <a:cubicBezTo>
                    <a:pt x="2318481" y="947283"/>
                    <a:pt x="2496913" y="947283"/>
                    <a:pt x="2496913" y="947283"/>
                  </a:cubicBezTo>
                  <a:lnTo>
                    <a:pt x="2496913" y="4403"/>
                  </a:lnTo>
                  <a:lnTo>
                    <a:pt x="2318481" y="4403"/>
                  </a:lnTo>
                  <a:close/>
                  <a:moveTo>
                    <a:pt x="2146323" y="813648"/>
                  </a:moveTo>
                  <a:cubicBezTo>
                    <a:pt x="2030633" y="813648"/>
                    <a:pt x="1957815" y="728304"/>
                    <a:pt x="1957815" y="620576"/>
                  </a:cubicBezTo>
                  <a:cubicBezTo>
                    <a:pt x="1957815" y="512848"/>
                    <a:pt x="2030252" y="427504"/>
                    <a:pt x="2146323" y="427504"/>
                  </a:cubicBezTo>
                  <a:cubicBezTo>
                    <a:pt x="2262394" y="427504"/>
                    <a:pt x="2334832" y="512848"/>
                    <a:pt x="2334832" y="620576"/>
                  </a:cubicBezTo>
                  <a:cubicBezTo>
                    <a:pt x="2334832" y="728304"/>
                    <a:pt x="2260398" y="813648"/>
                    <a:pt x="2146323" y="813648"/>
                  </a:cubicBezTo>
                  <a:close/>
                  <a:moveTo>
                    <a:pt x="3186113" y="403787"/>
                  </a:moveTo>
                  <a:cubicBezTo>
                    <a:pt x="3165104" y="361305"/>
                    <a:pt x="3135635" y="329206"/>
                    <a:pt x="3097515" y="307298"/>
                  </a:cubicBezTo>
                  <a:cubicBezTo>
                    <a:pt x="3059395" y="285391"/>
                    <a:pt x="3013480" y="274533"/>
                    <a:pt x="2959485" y="274533"/>
                  </a:cubicBezTo>
                  <a:cubicBezTo>
                    <a:pt x="2848832" y="274533"/>
                    <a:pt x="2777441" y="350351"/>
                    <a:pt x="2759189" y="385975"/>
                  </a:cubicBezTo>
                  <a:lnTo>
                    <a:pt x="2759189" y="4403"/>
                  </a:lnTo>
                  <a:lnTo>
                    <a:pt x="2580567" y="4403"/>
                  </a:lnTo>
                  <a:lnTo>
                    <a:pt x="2580567" y="947283"/>
                  </a:lnTo>
                  <a:lnTo>
                    <a:pt x="2759094" y="947283"/>
                  </a:lnTo>
                  <a:lnTo>
                    <a:pt x="2759094" y="598097"/>
                  </a:lnTo>
                  <a:cubicBezTo>
                    <a:pt x="2759094" y="495227"/>
                    <a:pt x="2816987" y="429219"/>
                    <a:pt x="2902162" y="429219"/>
                  </a:cubicBezTo>
                  <a:cubicBezTo>
                    <a:pt x="2947792" y="429219"/>
                    <a:pt x="3038957" y="462175"/>
                    <a:pt x="3038957" y="598097"/>
                  </a:cubicBezTo>
                  <a:lnTo>
                    <a:pt x="3038957" y="947283"/>
                  </a:lnTo>
                  <a:lnTo>
                    <a:pt x="3217388" y="947283"/>
                  </a:lnTo>
                  <a:lnTo>
                    <a:pt x="3217388" y="560092"/>
                  </a:lnTo>
                  <a:cubicBezTo>
                    <a:pt x="3217388" y="498370"/>
                    <a:pt x="3206932" y="446268"/>
                    <a:pt x="3185923" y="403787"/>
                  </a:cubicBezTo>
                  <a:close/>
                  <a:moveTo>
                    <a:pt x="1731282" y="100701"/>
                  </a:moveTo>
                  <a:cubicBezTo>
                    <a:pt x="1740503" y="166900"/>
                    <a:pt x="1673104" y="211667"/>
                    <a:pt x="1615972" y="216906"/>
                  </a:cubicBezTo>
                  <a:cubicBezTo>
                    <a:pt x="1570342" y="223193"/>
                    <a:pt x="1522621" y="204333"/>
                    <a:pt x="1507221" y="156803"/>
                  </a:cubicBezTo>
                  <a:cubicBezTo>
                    <a:pt x="1489539" y="102987"/>
                    <a:pt x="1506555" y="32978"/>
                    <a:pt x="1560836" y="8499"/>
                  </a:cubicBezTo>
                  <a:cubicBezTo>
                    <a:pt x="1627474" y="-20266"/>
                    <a:pt x="1718163" y="27359"/>
                    <a:pt x="1731187" y="100606"/>
                  </a:cubicBezTo>
                  <a:lnTo>
                    <a:pt x="1731187" y="100606"/>
                  </a:lnTo>
                  <a:close/>
                  <a:moveTo>
                    <a:pt x="243274" y="1020912"/>
                  </a:moveTo>
                  <a:cubicBezTo>
                    <a:pt x="251735" y="1025864"/>
                    <a:pt x="257819" y="1034437"/>
                    <a:pt x="250974" y="1046439"/>
                  </a:cubicBezTo>
                  <a:cubicBezTo>
                    <a:pt x="244130" y="1058440"/>
                    <a:pt x="225213" y="1053297"/>
                    <a:pt x="217798" y="1047010"/>
                  </a:cubicBezTo>
                  <a:cubicBezTo>
                    <a:pt x="206961" y="1037771"/>
                    <a:pt x="194793" y="1016816"/>
                    <a:pt x="198975" y="1012625"/>
                  </a:cubicBezTo>
                  <a:cubicBezTo>
                    <a:pt x="203158" y="1008434"/>
                    <a:pt x="234814" y="1015959"/>
                    <a:pt x="243274" y="1020912"/>
                  </a:cubicBezTo>
                  <a:close/>
                  <a:moveTo>
                    <a:pt x="848820" y="564283"/>
                  </a:moveTo>
                  <a:cubicBezTo>
                    <a:pt x="853383" y="594382"/>
                    <a:pt x="845588" y="624100"/>
                    <a:pt x="826290" y="650103"/>
                  </a:cubicBezTo>
                  <a:cubicBezTo>
                    <a:pt x="800814" y="684489"/>
                    <a:pt x="757085" y="709825"/>
                    <a:pt x="712121" y="716302"/>
                  </a:cubicBezTo>
                  <a:cubicBezTo>
                    <a:pt x="702900" y="718302"/>
                    <a:pt x="693299" y="719255"/>
                    <a:pt x="683507" y="719255"/>
                  </a:cubicBezTo>
                  <a:cubicBezTo>
                    <a:pt x="635406" y="719255"/>
                    <a:pt x="583692" y="695157"/>
                    <a:pt x="564489" y="646103"/>
                  </a:cubicBezTo>
                  <a:cubicBezTo>
                    <a:pt x="536161" y="577332"/>
                    <a:pt x="556219" y="480558"/>
                    <a:pt x="631223" y="446173"/>
                  </a:cubicBezTo>
                  <a:cubicBezTo>
                    <a:pt x="672955" y="428361"/>
                    <a:pt x="721912" y="431504"/>
                    <a:pt x="765451" y="454841"/>
                  </a:cubicBezTo>
                  <a:cubicBezTo>
                    <a:pt x="809750" y="478558"/>
                    <a:pt x="840170" y="518372"/>
                    <a:pt x="848915" y="563997"/>
                  </a:cubicBezTo>
                  <a:lnTo>
                    <a:pt x="848915" y="564188"/>
                  </a:lnTo>
                  <a:close/>
                  <a:moveTo>
                    <a:pt x="808039" y="570760"/>
                  </a:moveTo>
                  <a:cubicBezTo>
                    <a:pt x="801004" y="531041"/>
                    <a:pt x="764215" y="495703"/>
                    <a:pt x="718680" y="484749"/>
                  </a:cubicBezTo>
                  <a:cubicBezTo>
                    <a:pt x="709554" y="482559"/>
                    <a:pt x="700713" y="481511"/>
                    <a:pt x="692158" y="481511"/>
                  </a:cubicBezTo>
                  <a:cubicBezTo>
                    <a:pt x="664590" y="481511"/>
                    <a:pt x="640824" y="492846"/>
                    <a:pt x="624759" y="514182"/>
                  </a:cubicBezTo>
                  <a:cubicBezTo>
                    <a:pt x="603180" y="543423"/>
                    <a:pt x="598046" y="589620"/>
                    <a:pt x="612211" y="626291"/>
                  </a:cubicBezTo>
                  <a:cubicBezTo>
                    <a:pt x="622477" y="652961"/>
                    <a:pt x="650996" y="670487"/>
                    <a:pt x="684933" y="671058"/>
                  </a:cubicBezTo>
                  <a:cubicBezTo>
                    <a:pt x="723243" y="672201"/>
                    <a:pt x="764785" y="655628"/>
                    <a:pt x="788076" y="630006"/>
                  </a:cubicBezTo>
                  <a:cubicBezTo>
                    <a:pt x="803666" y="612956"/>
                    <a:pt x="810510" y="592382"/>
                    <a:pt x="807943" y="570665"/>
                  </a:cubicBezTo>
                  <a:close/>
                  <a:moveTo>
                    <a:pt x="893024" y="502656"/>
                  </a:moveTo>
                  <a:cubicBezTo>
                    <a:pt x="924014" y="587715"/>
                    <a:pt x="919166" y="707444"/>
                    <a:pt x="838173" y="782977"/>
                  </a:cubicBezTo>
                  <a:cubicBezTo>
                    <a:pt x="794730" y="824411"/>
                    <a:pt x="737883" y="846414"/>
                    <a:pt x="677043" y="846414"/>
                  </a:cubicBezTo>
                  <a:cubicBezTo>
                    <a:pt x="658981" y="846414"/>
                    <a:pt x="640634" y="844509"/>
                    <a:pt x="622097" y="840508"/>
                  </a:cubicBezTo>
                  <a:cubicBezTo>
                    <a:pt x="530742" y="821172"/>
                    <a:pt x="452791" y="757736"/>
                    <a:pt x="418569" y="675059"/>
                  </a:cubicBezTo>
                  <a:cubicBezTo>
                    <a:pt x="391096" y="613241"/>
                    <a:pt x="391476" y="540375"/>
                    <a:pt x="419710" y="475224"/>
                  </a:cubicBezTo>
                  <a:cubicBezTo>
                    <a:pt x="448609" y="408454"/>
                    <a:pt x="503079" y="357019"/>
                    <a:pt x="569147" y="334254"/>
                  </a:cubicBezTo>
                  <a:cubicBezTo>
                    <a:pt x="631413" y="311966"/>
                    <a:pt x="695200" y="315014"/>
                    <a:pt x="753663" y="342922"/>
                  </a:cubicBezTo>
                  <a:cubicBezTo>
                    <a:pt x="817165" y="373307"/>
                    <a:pt x="867928" y="431409"/>
                    <a:pt x="893024" y="502561"/>
                  </a:cubicBezTo>
                  <a:close/>
                  <a:moveTo>
                    <a:pt x="880381" y="507323"/>
                  </a:moveTo>
                  <a:lnTo>
                    <a:pt x="880381" y="507323"/>
                  </a:lnTo>
                  <a:cubicBezTo>
                    <a:pt x="851957" y="425885"/>
                    <a:pt x="765356" y="369497"/>
                    <a:pt x="670198" y="370449"/>
                  </a:cubicBezTo>
                  <a:cubicBezTo>
                    <a:pt x="669818" y="370449"/>
                    <a:pt x="669533" y="370449"/>
                    <a:pt x="669153" y="370449"/>
                  </a:cubicBezTo>
                  <a:cubicBezTo>
                    <a:pt x="595765" y="370449"/>
                    <a:pt x="528936" y="403311"/>
                    <a:pt x="485588" y="460746"/>
                  </a:cubicBezTo>
                  <a:cubicBezTo>
                    <a:pt x="441859" y="518658"/>
                    <a:pt x="428360" y="592858"/>
                    <a:pt x="448704" y="664391"/>
                  </a:cubicBezTo>
                  <a:cubicBezTo>
                    <a:pt x="465720" y="722493"/>
                    <a:pt x="504220" y="768309"/>
                    <a:pt x="557170" y="793264"/>
                  </a:cubicBezTo>
                  <a:cubicBezTo>
                    <a:pt x="611735" y="818982"/>
                    <a:pt x="676378" y="819267"/>
                    <a:pt x="734270" y="794121"/>
                  </a:cubicBezTo>
                  <a:cubicBezTo>
                    <a:pt x="839029" y="752307"/>
                    <a:pt x="924680" y="624291"/>
                    <a:pt x="880381" y="507419"/>
                  </a:cubicBezTo>
                  <a:close/>
                  <a:moveTo>
                    <a:pt x="634645" y="996051"/>
                  </a:moveTo>
                  <a:cubicBezTo>
                    <a:pt x="585118" y="996051"/>
                    <a:pt x="535686" y="986241"/>
                    <a:pt x="488535" y="966524"/>
                  </a:cubicBezTo>
                  <a:cubicBezTo>
                    <a:pt x="287383" y="883371"/>
                    <a:pt x="180438" y="636197"/>
                    <a:pt x="255062" y="426742"/>
                  </a:cubicBezTo>
                  <a:cubicBezTo>
                    <a:pt x="305065" y="281391"/>
                    <a:pt x="426744" y="180616"/>
                    <a:pt x="580460" y="157280"/>
                  </a:cubicBezTo>
                  <a:cubicBezTo>
                    <a:pt x="733605" y="134039"/>
                    <a:pt x="878955" y="193856"/>
                    <a:pt x="969359" y="317490"/>
                  </a:cubicBezTo>
                  <a:cubicBezTo>
                    <a:pt x="1049972" y="427790"/>
                    <a:pt x="1067748" y="586286"/>
                    <a:pt x="1014704" y="721255"/>
                  </a:cubicBezTo>
                  <a:cubicBezTo>
                    <a:pt x="972876" y="831078"/>
                    <a:pt x="889127" y="919851"/>
                    <a:pt x="785129" y="964714"/>
                  </a:cubicBezTo>
                  <a:cubicBezTo>
                    <a:pt x="736647" y="985574"/>
                    <a:pt x="685599" y="996051"/>
                    <a:pt x="634645" y="996051"/>
                  </a:cubicBezTo>
                  <a:close/>
                  <a:moveTo>
                    <a:pt x="1002631" y="716493"/>
                  </a:moveTo>
                  <a:cubicBezTo>
                    <a:pt x="1047975" y="601907"/>
                    <a:pt x="1025541" y="461794"/>
                    <a:pt x="945593" y="359496"/>
                  </a:cubicBezTo>
                  <a:cubicBezTo>
                    <a:pt x="870019" y="260340"/>
                    <a:pt x="757180" y="204333"/>
                    <a:pt x="637212" y="204333"/>
                  </a:cubicBezTo>
                  <a:cubicBezTo>
                    <a:pt x="621622" y="204333"/>
                    <a:pt x="605937" y="205286"/>
                    <a:pt x="590156" y="207191"/>
                  </a:cubicBezTo>
                  <a:cubicBezTo>
                    <a:pt x="454407" y="223669"/>
                    <a:pt x="339953" y="309966"/>
                    <a:pt x="284151" y="438077"/>
                  </a:cubicBezTo>
                  <a:cubicBezTo>
                    <a:pt x="221410" y="578952"/>
                    <a:pt x="260196" y="752878"/>
                    <a:pt x="376456" y="851748"/>
                  </a:cubicBezTo>
                  <a:cubicBezTo>
                    <a:pt x="472089" y="937187"/>
                    <a:pt x="613066" y="970048"/>
                    <a:pt x="744632" y="937568"/>
                  </a:cubicBezTo>
                  <a:cubicBezTo>
                    <a:pt x="866882" y="907469"/>
                    <a:pt x="960898" y="826887"/>
                    <a:pt x="1002536" y="716493"/>
                  </a:cubicBezTo>
                  <a:lnTo>
                    <a:pt x="1002536" y="716493"/>
                  </a:lnTo>
                  <a:close/>
                  <a:moveTo>
                    <a:pt x="43834" y="569617"/>
                  </a:moveTo>
                  <a:cubicBezTo>
                    <a:pt x="57713" y="426551"/>
                    <a:pt x="127584" y="292725"/>
                    <a:pt x="240328" y="192998"/>
                  </a:cubicBezTo>
                  <a:cubicBezTo>
                    <a:pt x="352881" y="93462"/>
                    <a:pt x="493478" y="40598"/>
                    <a:pt x="636451" y="44408"/>
                  </a:cubicBezTo>
                  <a:cubicBezTo>
                    <a:pt x="781516" y="48218"/>
                    <a:pt x="915174" y="110607"/>
                    <a:pt x="1012897" y="220240"/>
                  </a:cubicBezTo>
                  <a:cubicBezTo>
                    <a:pt x="1014609" y="222335"/>
                    <a:pt x="1017080" y="223669"/>
                    <a:pt x="1019742" y="223955"/>
                  </a:cubicBezTo>
                  <a:cubicBezTo>
                    <a:pt x="1022594" y="224241"/>
                    <a:pt x="1025541" y="223288"/>
                    <a:pt x="1027537" y="221288"/>
                  </a:cubicBezTo>
                  <a:cubicBezTo>
                    <a:pt x="1029628" y="219383"/>
                    <a:pt x="1030769" y="216525"/>
                    <a:pt x="1030674" y="213668"/>
                  </a:cubicBezTo>
                  <a:cubicBezTo>
                    <a:pt x="1030674" y="211096"/>
                    <a:pt x="1029533" y="208715"/>
                    <a:pt x="1027822" y="206905"/>
                  </a:cubicBezTo>
                  <a:cubicBezTo>
                    <a:pt x="912512" y="70888"/>
                    <a:pt x="743967" y="-4264"/>
                    <a:pt x="565345" y="212"/>
                  </a:cubicBezTo>
                  <a:cubicBezTo>
                    <a:pt x="389765" y="4784"/>
                    <a:pt x="227304" y="88414"/>
                    <a:pt x="119504" y="229765"/>
                  </a:cubicBezTo>
                  <a:cubicBezTo>
                    <a:pt x="-50277" y="450459"/>
                    <a:pt x="-37824" y="772214"/>
                    <a:pt x="148402" y="978049"/>
                  </a:cubicBezTo>
                  <a:cubicBezTo>
                    <a:pt x="149828" y="979668"/>
                    <a:pt x="151349" y="981287"/>
                    <a:pt x="152775" y="982907"/>
                  </a:cubicBezTo>
                  <a:lnTo>
                    <a:pt x="155057" y="985383"/>
                  </a:lnTo>
                  <a:lnTo>
                    <a:pt x="156198" y="986050"/>
                  </a:lnTo>
                  <a:cubicBezTo>
                    <a:pt x="158194" y="987193"/>
                    <a:pt x="160570" y="987860"/>
                    <a:pt x="162852" y="987860"/>
                  </a:cubicBezTo>
                  <a:cubicBezTo>
                    <a:pt x="164088" y="987860"/>
                    <a:pt x="165228" y="987669"/>
                    <a:pt x="166464" y="987384"/>
                  </a:cubicBezTo>
                  <a:cubicBezTo>
                    <a:pt x="169696" y="986431"/>
                    <a:pt x="172453" y="984240"/>
                    <a:pt x="173974" y="981383"/>
                  </a:cubicBezTo>
                  <a:cubicBezTo>
                    <a:pt x="176351" y="976906"/>
                    <a:pt x="175685" y="971477"/>
                    <a:pt x="172168" y="967191"/>
                  </a:cubicBezTo>
                  <a:cubicBezTo>
                    <a:pt x="75300" y="856129"/>
                    <a:pt x="29765" y="714968"/>
                    <a:pt x="43929" y="569712"/>
                  </a:cubicBezTo>
                  <a:close/>
                  <a:moveTo>
                    <a:pt x="1172032" y="561997"/>
                  </a:moveTo>
                  <a:lnTo>
                    <a:pt x="1171651" y="559902"/>
                  </a:lnTo>
                  <a:cubicBezTo>
                    <a:pt x="1169940" y="554377"/>
                    <a:pt x="1164997" y="550567"/>
                    <a:pt x="1159578" y="550853"/>
                  </a:cubicBezTo>
                  <a:cubicBezTo>
                    <a:pt x="1156156" y="550948"/>
                    <a:pt x="1152924" y="552663"/>
                    <a:pt x="1150738" y="555520"/>
                  </a:cubicBezTo>
                  <a:cubicBezTo>
                    <a:pt x="1148551" y="558378"/>
                    <a:pt x="1147601" y="561902"/>
                    <a:pt x="1148076" y="565521"/>
                  </a:cubicBezTo>
                  <a:cubicBezTo>
                    <a:pt x="1151118" y="670677"/>
                    <a:pt x="1125641" y="773166"/>
                    <a:pt x="1074403" y="861939"/>
                  </a:cubicBezTo>
                  <a:cubicBezTo>
                    <a:pt x="980957" y="1028532"/>
                    <a:pt x="811746" y="1136450"/>
                    <a:pt x="621241" y="1150642"/>
                  </a:cubicBezTo>
                  <a:cubicBezTo>
                    <a:pt x="613827" y="1151595"/>
                    <a:pt x="608408" y="1158357"/>
                    <a:pt x="609169" y="1165692"/>
                  </a:cubicBezTo>
                  <a:cubicBezTo>
                    <a:pt x="609834" y="1171692"/>
                    <a:pt x="614397" y="1176550"/>
                    <a:pt x="620481" y="1177693"/>
                  </a:cubicBezTo>
                  <a:lnTo>
                    <a:pt x="621432" y="1177884"/>
                  </a:lnTo>
                  <a:lnTo>
                    <a:pt x="622382" y="1177884"/>
                  </a:lnTo>
                  <a:cubicBezTo>
                    <a:pt x="636642" y="1177217"/>
                    <a:pt x="650901" y="1175979"/>
                    <a:pt x="664685" y="1174264"/>
                  </a:cubicBezTo>
                  <a:cubicBezTo>
                    <a:pt x="816689" y="1155976"/>
                    <a:pt x="951963" y="1081014"/>
                    <a:pt x="1045599" y="963285"/>
                  </a:cubicBezTo>
                  <a:cubicBezTo>
                    <a:pt x="1135813" y="849843"/>
                    <a:pt x="1180682" y="707349"/>
                    <a:pt x="1172032" y="561997"/>
                  </a:cubicBezTo>
                  <a:close/>
                  <a:moveTo>
                    <a:pt x="1170130" y="489226"/>
                  </a:moveTo>
                  <a:cubicBezTo>
                    <a:pt x="1175073" y="468938"/>
                    <a:pt x="1167849" y="393595"/>
                    <a:pt x="1142657" y="363591"/>
                  </a:cubicBezTo>
                  <a:cubicBezTo>
                    <a:pt x="1134957" y="354352"/>
                    <a:pt x="1125831" y="346732"/>
                    <a:pt x="1115565" y="352923"/>
                  </a:cubicBezTo>
                  <a:cubicBezTo>
                    <a:pt x="1101876" y="361115"/>
                    <a:pt x="1104728" y="376069"/>
                    <a:pt x="1114804" y="389975"/>
                  </a:cubicBezTo>
                  <a:cubicBezTo>
                    <a:pt x="1131725" y="413407"/>
                    <a:pt x="1144559" y="466271"/>
                    <a:pt x="1145414" y="486559"/>
                  </a:cubicBezTo>
                  <a:cubicBezTo>
                    <a:pt x="1145794" y="495322"/>
                    <a:pt x="1151783" y="501227"/>
                    <a:pt x="1158913" y="501418"/>
                  </a:cubicBezTo>
                  <a:cubicBezTo>
                    <a:pt x="1166043" y="501513"/>
                    <a:pt x="1168039" y="497894"/>
                    <a:pt x="1170130" y="489321"/>
                  </a:cubicBezTo>
                  <a:close/>
                </a:path>
              </a:pathLst>
            </a:custGeom>
            <a:grpFill/>
            <a:ln w="9497" cap="flat">
              <a:noFill/>
              <a:prstDash val="solid"/>
              <a:miter/>
            </a:ln>
          </p:spPr>
          <p:txBody>
            <a:bodyPr rtlCol="0" anchor="ctr"/>
            <a:lstStyle/>
            <a:p>
              <a:endParaRPr lang="en-US"/>
            </a:p>
          </p:txBody>
        </p:sp>
        <p:grpSp>
          <p:nvGrpSpPr>
            <p:cNvPr id="5" name="Graphic 77">
              <a:extLst>
                <a:ext uri="{FF2B5EF4-FFF2-40B4-BE49-F238E27FC236}">
                  <a16:creationId xmlns:a16="http://schemas.microsoft.com/office/drawing/2014/main" id="{CC0B7127-0889-8C25-3A6C-00E88D38CB89}"/>
                </a:ext>
              </a:extLst>
            </p:cNvPr>
            <p:cNvGrpSpPr/>
            <p:nvPr/>
          </p:nvGrpSpPr>
          <p:grpSpPr>
            <a:xfrm>
              <a:off x="6016337" y="3871817"/>
              <a:ext cx="1690870" cy="144494"/>
              <a:chOff x="6016337" y="3871817"/>
              <a:chExt cx="1690870" cy="144494"/>
            </a:xfrm>
            <a:grpFill/>
          </p:grpSpPr>
          <p:sp>
            <p:nvSpPr>
              <p:cNvPr id="6" name="Freeform 5">
                <a:extLst>
                  <a:ext uri="{FF2B5EF4-FFF2-40B4-BE49-F238E27FC236}">
                    <a16:creationId xmlns:a16="http://schemas.microsoft.com/office/drawing/2014/main" id="{8D928278-F450-34A3-84E9-754AE4AFDBE9}"/>
                  </a:ext>
                </a:extLst>
              </p:cNvPr>
              <p:cNvSpPr/>
              <p:nvPr/>
            </p:nvSpPr>
            <p:spPr>
              <a:xfrm>
                <a:off x="6016337"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2"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1BBF2E5D-E3BE-1FDF-E8C3-A6990C02407A}"/>
                  </a:ext>
                </a:extLst>
              </p:cNvPr>
              <p:cNvSpPr/>
              <p:nvPr/>
            </p:nvSpPr>
            <p:spPr>
              <a:xfrm>
                <a:off x="6086303" y="3904773"/>
                <a:ext cx="70250" cy="78295"/>
              </a:xfrm>
              <a:custGeom>
                <a:avLst/>
                <a:gdLst>
                  <a:gd name="connsiteX0" fmla="*/ 0 w 70250"/>
                  <a:gd name="connsiteY0" fmla="*/ 1238 h 78295"/>
                  <a:gd name="connsiteX1" fmla="*/ 17492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1 w 70250"/>
                  <a:gd name="connsiteY8" fmla="*/ 34004 h 78295"/>
                  <a:gd name="connsiteX9" fmla="*/ 38976 w 70250"/>
                  <a:gd name="connsiteY9" fmla="*/ 14954 h 78295"/>
                  <a:gd name="connsiteX10" fmla="*/ 17492 w 70250"/>
                  <a:gd name="connsiteY10" fmla="*/ 44577 h 78295"/>
                  <a:gd name="connsiteX11" fmla="*/ 17492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2"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1" y="37624"/>
                      <a:pt x="54281" y="34004"/>
                    </a:cubicBezTo>
                    <a:cubicBezTo>
                      <a:pt x="54281" y="21050"/>
                      <a:pt x="49337" y="14954"/>
                      <a:pt x="38976" y="14954"/>
                    </a:cubicBezTo>
                    <a:cubicBezTo>
                      <a:pt x="25762" y="14954"/>
                      <a:pt x="17492" y="26194"/>
                      <a:pt x="17492" y="44577"/>
                    </a:cubicBezTo>
                    <a:lnTo>
                      <a:pt x="17492" y="78296"/>
                    </a:lnTo>
                    <a:lnTo>
                      <a:pt x="0" y="78296"/>
                    </a:lnTo>
                    <a:lnTo>
                      <a:pt x="0" y="1238"/>
                    </a:lnTo>
                    <a:close/>
                  </a:path>
                </a:pathLst>
              </a:custGeom>
              <a:grpFill/>
              <a:ln w="9497"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6F0A3BAF-C7D1-7F04-2828-76A41B7E24FE}"/>
                  </a:ext>
                </a:extLst>
              </p:cNvPr>
              <p:cNvSpPr/>
              <p:nvPr/>
            </p:nvSpPr>
            <p:spPr>
              <a:xfrm>
                <a:off x="6169197" y="3904773"/>
                <a:ext cx="74909" cy="79533"/>
              </a:xfrm>
              <a:custGeom>
                <a:avLst/>
                <a:gdLst>
                  <a:gd name="connsiteX0" fmla="*/ 95 w 74909"/>
                  <a:gd name="connsiteY0" fmla="*/ 56198 h 79533"/>
                  <a:gd name="connsiteX1" fmla="*/ 28899 w 74909"/>
                  <a:gd name="connsiteY1" fmla="*/ 35243 h 79533"/>
                  <a:gd name="connsiteX2" fmla="*/ 57418 w 74909"/>
                  <a:gd name="connsiteY2" fmla="*/ 35243 h 79533"/>
                  <a:gd name="connsiteX3" fmla="*/ 57418 w 74909"/>
                  <a:gd name="connsiteY3" fmla="*/ 29813 h 79533"/>
                  <a:gd name="connsiteX4" fmla="*/ 37169 w 74909"/>
                  <a:gd name="connsiteY4" fmla="*/ 13145 h 79533"/>
                  <a:gd name="connsiteX5" fmla="*/ 18632 w 74909"/>
                  <a:gd name="connsiteY5" fmla="*/ 26289 h 79533"/>
                  <a:gd name="connsiteX6" fmla="*/ 18822 w 74909"/>
                  <a:gd name="connsiteY6" fmla="*/ 29242 h 79533"/>
                  <a:gd name="connsiteX7" fmla="*/ 2757 w 74909"/>
                  <a:gd name="connsiteY7" fmla="*/ 29242 h 79533"/>
                  <a:gd name="connsiteX8" fmla="*/ 2472 w 74909"/>
                  <a:gd name="connsiteY8" fmla="*/ 24670 h 79533"/>
                  <a:gd name="connsiteX9" fmla="*/ 37835 w 74909"/>
                  <a:gd name="connsiteY9" fmla="*/ 0 h 79533"/>
                  <a:gd name="connsiteX10" fmla="*/ 74909 w 74909"/>
                  <a:gd name="connsiteY10" fmla="*/ 31337 h 79533"/>
                  <a:gd name="connsiteX11" fmla="*/ 74909 w 74909"/>
                  <a:gd name="connsiteY11" fmla="*/ 78296 h 79533"/>
                  <a:gd name="connsiteX12" fmla="*/ 57418 w 74909"/>
                  <a:gd name="connsiteY12" fmla="*/ 78296 h 79533"/>
                  <a:gd name="connsiteX13" fmla="*/ 58178 w 74909"/>
                  <a:gd name="connsiteY13" fmla="*/ 61246 h 79533"/>
                  <a:gd name="connsiteX14" fmla="*/ 57988 w 74909"/>
                  <a:gd name="connsiteY14" fmla="*/ 61246 h 79533"/>
                  <a:gd name="connsiteX15" fmla="*/ 29279 w 74909"/>
                  <a:gd name="connsiteY15" fmla="*/ 79534 h 79533"/>
                  <a:gd name="connsiteX16" fmla="*/ 0 w 74909"/>
                  <a:gd name="connsiteY16" fmla="*/ 56102 h 79533"/>
                  <a:gd name="connsiteX17" fmla="*/ 57418 w 74909"/>
                  <a:gd name="connsiteY17" fmla="*/ 47339 h 79533"/>
                  <a:gd name="connsiteX18" fmla="*/ 57418 w 74909"/>
                  <a:gd name="connsiteY18" fmla="*/ 45910 h 79533"/>
                  <a:gd name="connsiteX19" fmla="*/ 30515 w 74909"/>
                  <a:gd name="connsiteY19" fmla="*/ 45910 h 79533"/>
                  <a:gd name="connsiteX20" fmla="*/ 16161 w 74909"/>
                  <a:gd name="connsiteY20" fmla="*/ 55435 h 79533"/>
                  <a:gd name="connsiteX21" fmla="*/ 32987 w 74909"/>
                  <a:gd name="connsiteY21" fmla="*/ 66485 h 79533"/>
                  <a:gd name="connsiteX22" fmla="*/ 57418 w 74909"/>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09" h="79533">
                    <a:moveTo>
                      <a:pt x="95" y="56198"/>
                    </a:moveTo>
                    <a:cubicBezTo>
                      <a:pt x="95" y="44482"/>
                      <a:pt x="8366" y="35243"/>
                      <a:pt x="28899" y="35243"/>
                    </a:cubicBezTo>
                    <a:lnTo>
                      <a:pt x="57418" y="35243"/>
                    </a:lnTo>
                    <a:lnTo>
                      <a:pt x="57418" y="29813"/>
                    </a:lnTo>
                    <a:cubicBezTo>
                      <a:pt x="57418" y="18288"/>
                      <a:pt x="50763" y="13145"/>
                      <a:pt x="37169" y="13145"/>
                    </a:cubicBezTo>
                    <a:cubicBezTo>
                      <a:pt x="25287" y="13145"/>
                      <a:pt x="18632" y="17717"/>
                      <a:pt x="18632" y="26289"/>
                    </a:cubicBezTo>
                    <a:cubicBezTo>
                      <a:pt x="18632" y="26765"/>
                      <a:pt x="18632" y="28004"/>
                      <a:pt x="18822" y="29242"/>
                    </a:cubicBezTo>
                    <a:lnTo>
                      <a:pt x="2757" y="29242"/>
                    </a:lnTo>
                    <a:cubicBezTo>
                      <a:pt x="2567" y="28099"/>
                      <a:pt x="2472" y="26099"/>
                      <a:pt x="2472" y="24670"/>
                    </a:cubicBezTo>
                    <a:cubicBezTo>
                      <a:pt x="2472" y="9239"/>
                      <a:pt x="15875" y="0"/>
                      <a:pt x="37835" y="0"/>
                    </a:cubicBezTo>
                    <a:cubicBezTo>
                      <a:pt x="61220" y="0"/>
                      <a:pt x="74909" y="11049"/>
                      <a:pt x="74909" y="31337"/>
                    </a:cubicBezTo>
                    <a:lnTo>
                      <a:pt x="74909" y="78296"/>
                    </a:lnTo>
                    <a:lnTo>
                      <a:pt x="57418" y="78296"/>
                    </a:lnTo>
                    <a:cubicBezTo>
                      <a:pt x="57703" y="74581"/>
                      <a:pt x="58178" y="67532"/>
                      <a:pt x="58178" y="61246"/>
                    </a:cubicBezTo>
                    <a:lnTo>
                      <a:pt x="57988" y="61246"/>
                    </a:lnTo>
                    <a:cubicBezTo>
                      <a:pt x="55516" y="72676"/>
                      <a:pt x="46295" y="79534"/>
                      <a:pt x="29279" y="79534"/>
                    </a:cubicBezTo>
                    <a:cubicBezTo>
                      <a:pt x="12263" y="79534"/>
                      <a:pt x="0" y="71152"/>
                      <a:pt x="0" y="56102"/>
                    </a:cubicBezTo>
                    <a:close/>
                    <a:moveTo>
                      <a:pt x="57418" y="47339"/>
                    </a:moveTo>
                    <a:lnTo>
                      <a:pt x="57418" y="45910"/>
                    </a:lnTo>
                    <a:lnTo>
                      <a:pt x="30515" y="45910"/>
                    </a:lnTo>
                    <a:cubicBezTo>
                      <a:pt x="20533" y="45910"/>
                      <a:pt x="16161" y="49340"/>
                      <a:pt x="16161" y="55435"/>
                    </a:cubicBezTo>
                    <a:cubicBezTo>
                      <a:pt x="16161" y="62484"/>
                      <a:pt x="22435" y="66485"/>
                      <a:pt x="32987" y="66485"/>
                    </a:cubicBezTo>
                    <a:cubicBezTo>
                      <a:pt x="48101" y="66485"/>
                      <a:pt x="57418" y="59150"/>
                      <a:pt x="57418" y="47244"/>
                    </a:cubicBezTo>
                    <a:close/>
                  </a:path>
                </a:pathLst>
              </a:custGeom>
              <a:grpFill/>
              <a:ln w="949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8213F81-CFC8-3B40-3171-A13BB2B2DBA7}"/>
                  </a:ext>
                </a:extLst>
              </p:cNvPr>
              <p:cNvSpPr/>
              <p:nvPr/>
            </p:nvSpPr>
            <p:spPr>
              <a:xfrm>
                <a:off x="6260742" y="3904773"/>
                <a:ext cx="80612" cy="78390"/>
              </a:xfrm>
              <a:custGeom>
                <a:avLst/>
                <a:gdLst>
                  <a:gd name="connsiteX0" fmla="*/ 0 w 80612"/>
                  <a:gd name="connsiteY0" fmla="*/ 1238 h 78390"/>
                  <a:gd name="connsiteX1" fmla="*/ 17491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1 w 80612"/>
                  <a:gd name="connsiteY10" fmla="*/ 41053 h 78390"/>
                  <a:gd name="connsiteX11" fmla="*/ 17491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1"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1" y="24194"/>
                      <a:pt x="17491" y="41053"/>
                    </a:cubicBezTo>
                    <a:lnTo>
                      <a:pt x="17491" y="78391"/>
                    </a:lnTo>
                    <a:lnTo>
                      <a:pt x="0" y="78391"/>
                    </a:lnTo>
                    <a:lnTo>
                      <a:pt x="0" y="1333"/>
                    </a:lnTo>
                    <a:close/>
                  </a:path>
                </a:pathLst>
              </a:custGeom>
              <a:grpFill/>
              <a:ln w="9497"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ADBC5EDC-846C-CD37-1986-27BF8C66A596}"/>
                  </a:ext>
                </a:extLst>
              </p:cNvPr>
              <p:cNvSpPr/>
              <p:nvPr/>
            </p:nvSpPr>
            <p:spPr>
              <a:xfrm>
                <a:off x="635561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4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3"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1"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4" y="79629"/>
                    </a:cubicBezTo>
                    <a:cubicBezTo>
                      <a:pt x="9601" y="79629"/>
                      <a:pt x="95" y="67723"/>
                      <a:pt x="95" y="52673"/>
                    </a:cubicBezTo>
                    <a:close/>
                  </a:path>
                </a:pathLst>
              </a:custGeom>
              <a:grpFill/>
              <a:ln w="9497"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AF626316-B8AB-E00F-0031-243D126EA095}"/>
                  </a:ext>
                </a:extLst>
              </p:cNvPr>
              <p:cNvSpPr/>
              <p:nvPr/>
            </p:nvSpPr>
            <p:spPr>
              <a:xfrm>
                <a:off x="6436797" y="3871817"/>
                <a:ext cx="56466" cy="111252"/>
              </a:xfrm>
              <a:custGeom>
                <a:avLst/>
                <a:gdLst>
                  <a:gd name="connsiteX0" fmla="*/ 12263 w 56466"/>
                  <a:gd name="connsiteY0" fmla="*/ 48387 h 111252"/>
                  <a:gd name="connsiteX1" fmla="*/ 0 w 56466"/>
                  <a:gd name="connsiteY1" fmla="*/ 48387 h 111252"/>
                  <a:gd name="connsiteX2" fmla="*/ 0 w 56466"/>
                  <a:gd name="connsiteY2" fmla="*/ 34195 h 111252"/>
                  <a:gd name="connsiteX3" fmla="*/ 12263 w 56466"/>
                  <a:gd name="connsiteY3" fmla="*/ 34195 h 111252"/>
                  <a:gd name="connsiteX4" fmla="*/ 12263 w 56466"/>
                  <a:gd name="connsiteY4" fmla="*/ 26575 h 111252"/>
                  <a:gd name="connsiteX5" fmla="*/ 40306 w 56466"/>
                  <a:gd name="connsiteY5" fmla="*/ 0 h 111252"/>
                  <a:gd name="connsiteX6" fmla="*/ 55231 w 56466"/>
                  <a:gd name="connsiteY6" fmla="*/ 2191 h 111252"/>
                  <a:gd name="connsiteX7" fmla="*/ 55231 w 56466"/>
                  <a:gd name="connsiteY7" fmla="*/ 16097 h 111252"/>
                  <a:gd name="connsiteX8" fmla="*/ 43348 w 56466"/>
                  <a:gd name="connsiteY8" fmla="*/ 14192 h 111252"/>
                  <a:gd name="connsiteX9" fmla="*/ 29659 w 56466"/>
                  <a:gd name="connsiteY9" fmla="*/ 27337 h 111252"/>
                  <a:gd name="connsiteX10" fmla="*/ 29659 w 56466"/>
                  <a:gd name="connsiteY10" fmla="*/ 34195 h 111252"/>
                  <a:gd name="connsiteX11" fmla="*/ 56467 w 56466"/>
                  <a:gd name="connsiteY11" fmla="*/ 34195 h 111252"/>
                  <a:gd name="connsiteX12" fmla="*/ 56467 w 56466"/>
                  <a:gd name="connsiteY12" fmla="*/ 48387 h 111252"/>
                  <a:gd name="connsiteX13" fmla="*/ 29659 w 56466"/>
                  <a:gd name="connsiteY13" fmla="*/ 48387 h 111252"/>
                  <a:gd name="connsiteX14" fmla="*/ 29659 w 56466"/>
                  <a:gd name="connsiteY14" fmla="*/ 111252 h 111252"/>
                  <a:gd name="connsiteX15" fmla="*/ 12168 w 56466"/>
                  <a:gd name="connsiteY15" fmla="*/ 111252 h 111252"/>
                  <a:gd name="connsiteX16" fmla="*/ 12168 w 56466"/>
                  <a:gd name="connsiteY16" fmla="*/ 48387 h 11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466" h="111252">
                    <a:moveTo>
                      <a:pt x="12263" y="48387"/>
                    </a:moveTo>
                    <a:lnTo>
                      <a:pt x="0" y="48387"/>
                    </a:lnTo>
                    <a:lnTo>
                      <a:pt x="0" y="34195"/>
                    </a:lnTo>
                    <a:lnTo>
                      <a:pt x="12263" y="34195"/>
                    </a:lnTo>
                    <a:lnTo>
                      <a:pt x="12263" y="26575"/>
                    </a:lnTo>
                    <a:cubicBezTo>
                      <a:pt x="12263" y="9430"/>
                      <a:pt x="23670" y="0"/>
                      <a:pt x="40306" y="0"/>
                    </a:cubicBezTo>
                    <a:cubicBezTo>
                      <a:pt x="47151" y="0"/>
                      <a:pt x="52759" y="1238"/>
                      <a:pt x="55231" y="2191"/>
                    </a:cubicBezTo>
                    <a:lnTo>
                      <a:pt x="55231" y="16097"/>
                    </a:lnTo>
                    <a:cubicBezTo>
                      <a:pt x="52759" y="15335"/>
                      <a:pt x="48672" y="14192"/>
                      <a:pt x="43348" y="14192"/>
                    </a:cubicBezTo>
                    <a:cubicBezTo>
                      <a:pt x="34507" y="14192"/>
                      <a:pt x="29659" y="18860"/>
                      <a:pt x="29659" y="27337"/>
                    </a:cubicBezTo>
                    <a:lnTo>
                      <a:pt x="29659" y="34195"/>
                    </a:lnTo>
                    <a:lnTo>
                      <a:pt x="56467" y="34195"/>
                    </a:lnTo>
                    <a:lnTo>
                      <a:pt x="56467" y="48387"/>
                    </a:lnTo>
                    <a:lnTo>
                      <a:pt x="29659" y="48387"/>
                    </a:lnTo>
                    <a:lnTo>
                      <a:pt x="29659" y="111252"/>
                    </a:lnTo>
                    <a:lnTo>
                      <a:pt x="12168" y="111252"/>
                    </a:lnTo>
                    <a:lnTo>
                      <a:pt x="12168" y="48387"/>
                    </a:lnTo>
                    <a:close/>
                  </a:path>
                </a:pathLst>
              </a:custGeom>
              <a:grpFill/>
              <a:ln w="9497"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2D7CBE2F-CF8C-AE9A-CC94-D7B10A30328E}"/>
                  </a:ext>
                </a:extLst>
              </p:cNvPr>
              <p:cNvSpPr/>
              <p:nvPr/>
            </p:nvSpPr>
            <p:spPr>
              <a:xfrm>
                <a:off x="6497732" y="3904773"/>
                <a:ext cx="80517" cy="79533"/>
              </a:xfrm>
              <a:custGeom>
                <a:avLst/>
                <a:gdLst>
                  <a:gd name="connsiteX0" fmla="*/ 0 w 80517"/>
                  <a:gd name="connsiteY0" fmla="*/ 39910 h 79533"/>
                  <a:gd name="connsiteX1" fmla="*/ 40211 w 80517"/>
                  <a:gd name="connsiteY1" fmla="*/ 0 h 79533"/>
                  <a:gd name="connsiteX2" fmla="*/ 80518 w 80517"/>
                  <a:gd name="connsiteY2" fmla="*/ 39910 h 79533"/>
                  <a:gd name="connsiteX3" fmla="*/ 40211 w 80517"/>
                  <a:gd name="connsiteY3" fmla="*/ 79534 h 79533"/>
                  <a:gd name="connsiteX4" fmla="*/ 0 w 80517"/>
                  <a:gd name="connsiteY4" fmla="*/ 39910 h 79533"/>
                  <a:gd name="connsiteX5" fmla="*/ 63121 w 80517"/>
                  <a:gd name="connsiteY5" fmla="*/ 39910 h 79533"/>
                  <a:gd name="connsiteX6" fmla="*/ 40211 w 80517"/>
                  <a:gd name="connsiteY6" fmla="*/ 14288 h 79533"/>
                  <a:gd name="connsiteX7" fmla="*/ 17492 w 80517"/>
                  <a:gd name="connsiteY7" fmla="*/ 39910 h 79533"/>
                  <a:gd name="connsiteX8" fmla="*/ 40211 w 80517"/>
                  <a:gd name="connsiteY8" fmla="*/ 65151 h 79533"/>
                  <a:gd name="connsiteX9" fmla="*/ 63121 w 80517"/>
                  <a:gd name="connsiteY9" fmla="*/ 39910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17" h="79533">
                    <a:moveTo>
                      <a:pt x="0" y="39910"/>
                    </a:moveTo>
                    <a:cubicBezTo>
                      <a:pt x="0" y="15240"/>
                      <a:pt x="15780" y="0"/>
                      <a:pt x="40211" y="0"/>
                    </a:cubicBezTo>
                    <a:cubicBezTo>
                      <a:pt x="64642" y="0"/>
                      <a:pt x="80518" y="15335"/>
                      <a:pt x="80518" y="39910"/>
                    </a:cubicBezTo>
                    <a:cubicBezTo>
                      <a:pt x="80518" y="64484"/>
                      <a:pt x="64737" y="79534"/>
                      <a:pt x="40211" y="79534"/>
                    </a:cubicBezTo>
                    <a:cubicBezTo>
                      <a:pt x="15685" y="79534"/>
                      <a:pt x="0" y="64389"/>
                      <a:pt x="0" y="39910"/>
                    </a:cubicBezTo>
                    <a:close/>
                    <a:moveTo>
                      <a:pt x="63121" y="39910"/>
                    </a:moveTo>
                    <a:cubicBezTo>
                      <a:pt x="63121" y="24098"/>
                      <a:pt x="54376" y="14288"/>
                      <a:pt x="40211" y="14288"/>
                    </a:cubicBezTo>
                    <a:cubicBezTo>
                      <a:pt x="26047" y="14288"/>
                      <a:pt x="17492" y="24098"/>
                      <a:pt x="17492" y="39910"/>
                    </a:cubicBezTo>
                    <a:cubicBezTo>
                      <a:pt x="17492" y="55721"/>
                      <a:pt x="26047" y="65151"/>
                      <a:pt x="40211" y="65151"/>
                    </a:cubicBezTo>
                    <a:cubicBezTo>
                      <a:pt x="54376" y="65151"/>
                      <a:pt x="63121" y="55435"/>
                      <a:pt x="63121" y="39910"/>
                    </a:cubicBezTo>
                    <a:close/>
                  </a:path>
                </a:pathLst>
              </a:custGeom>
              <a:grpFill/>
              <a:ln w="9497"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D8FE758E-E93C-6791-5348-0CF9CBFB73D9}"/>
                  </a:ext>
                </a:extLst>
              </p:cNvPr>
              <p:cNvSpPr/>
              <p:nvPr/>
            </p:nvSpPr>
            <p:spPr>
              <a:xfrm>
                <a:off x="6593174" y="3904773"/>
                <a:ext cx="70250" cy="78295"/>
              </a:xfrm>
              <a:custGeom>
                <a:avLst/>
                <a:gdLst>
                  <a:gd name="connsiteX0" fmla="*/ 0 w 70250"/>
                  <a:gd name="connsiteY0" fmla="*/ 1238 h 78295"/>
                  <a:gd name="connsiteX1" fmla="*/ 17491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0 w 70250"/>
                  <a:gd name="connsiteY8" fmla="*/ 34004 h 78295"/>
                  <a:gd name="connsiteX9" fmla="*/ 38975 w 70250"/>
                  <a:gd name="connsiteY9" fmla="*/ 14954 h 78295"/>
                  <a:gd name="connsiteX10" fmla="*/ 17491 w 70250"/>
                  <a:gd name="connsiteY10" fmla="*/ 44577 h 78295"/>
                  <a:gd name="connsiteX11" fmla="*/ 17491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1"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8975" y="14954"/>
                    </a:cubicBezTo>
                    <a:cubicBezTo>
                      <a:pt x="25762" y="14954"/>
                      <a:pt x="17491" y="26194"/>
                      <a:pt x="17491" y="44577"/>
                    </a:cubicBezTo>
                    <a:lnTo>
                      <a:pt x="17491" y="78296"/>
                    </a:lnTo>
                    <a:lnTo>
                      <a:pt x="0" y="78296"/>
                    </a:lnTo>
                    <a:lnTo>
                      <a:pt x="0" y="1238"/>
                    </a:lnTo>
                    <a:close/>
                  </a:path>
                </a:pathLst>
              </a:custGeom>
              <a:grpFill/>
              <a:ln w="9497"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E4788-A0DA-DC6F-D67B-D43DAF23BCD3}"/>
                  </a:ext>
                </a:extLst>
              </p:cNvPr>
              <p:cNvSpPr/>
              <p:nvPr/>
            </p:nvSpPr>
            <p:spPr>
              <a:xfrm>
                <a:off x="6678445"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293"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2"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D1BF4A7B-97EE-0F3F-9F4D-A8664D7A1A29}"/>
                  </a:ext>
                </a:extLst>
              </p:cNvPr>
              <p:cNvSpPr/>
              <p:nvPr/>
            </p:nvSpPr>
            <p:spPr>
              <a:xfrm>
                <a:off x="6819708" y="3879818"/>
                <a:ext cx="17871" cy="103250"/>
              </a:xfrm>
              <a:custGeom>
                <a:avLst/>
                <a:gdLst>
                  <a:gd name="connsiteX0" fmla="*/ 0 w 17871"/>
                  <a:gd name="connsiteY0" fmla="*/ 0 h 103250"/>
                  <a:gd name="connsiteX1" fmla="*/ 17872 w 17871"/>
                  <a:gd name="connsiteY1" fmla="*/ 0 h 103250"/>
                  <a:gd name="connsiteX2" fmla="*/ 17872 w 17871"/>
                  <a:gd name="connsiteY2" fmla="*/ 17145 h 103250"/>
                  <a:gd name="connsiteX3" fmla="*/ 0 w 17871"/>
                  <a:gd name="connsiteY3" fmla="*/ 17145 h 103250"/>
                  <a:gd name="connsiteX4" fmla="*/ 0 w 17871"/>
                  <a:gd name="connsiteY4" fmla="*/ 0 h 103250"/>
                  <a:gd name="connsiteX5" fmla="*/ 190 w 17871"/>
                  <a:gd name="connsiteY5" fmla="*/ 26194 h 103250"/>
                  <a:gd name="connsiteX6" fmla="*/ 17682 w 17871"/>
                  <a:gd name="connsiteY6" fmla="*/ 26194 h 103250"/>
                  <a:gd name="connsiteX7" fmla="*/ 17682 w 17871"/>
                  <a:gd name="connsiteY7" fmla="*/ 103251 h 103250"/>
                  <a:gd name="connsiteX8" fmla="*/ 190 w 17871"/>
                  <a:gd name="connsiteY8" fmla="*/ 103251 h 103250"/>
                  <a:gd name="connsiteX9" fmla="*/ 190 w 17871"/>
                  <a:gd name="connsiteY9" fmla="*/ 26194 h 10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71" h="103250">
                    <a:moveTo>
                      <a:pt x="0" y="0"/>
                    </a:moveTo>
                    <a:lnTo>
                      <a:pt x="17872" y="0"/>
                    </a:lnTo>
                    <a:lnTo>
                      <a:pt x="17872" y="17145"/>
                    </a:lnTo>
                    <a:lnTo>
                      <a:pt x="0" y="17145"/>
                    </a:lnTo>
                    <a:lnTo>
                      <a:pt x="0" y="0"/>
                    </a:lnTo>
                    <a:close/>
                    <a:moveTo>
                      <a:pt x="190" y="26194"/>
                    </a:moveTo>
                    <a:lnTo>
                      <a:pt x="17682" y="26194"/>
                    </a:lnTo>
                    <a:lnTo>
                      <a:pt x="17682" y="103251"/>
                    </a:lnTo>
                    <a:lnTo>
                      <a:pt x="190" y="103251"/>
                    </a:lnTo>
                    <a:lnTo>
                      <a:pt x="190" y="26194"/>
                    </a:lnTo>
                    <a:close/>
                  </a:path>
                </a:pathLst>
              </a:custGeom>
              <a:grpFill/>
              <a:ln w="9497"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7BF2CB97-AC47-7A39-3CCE-69DE9F943A1F}"/>
                  </a:ext>
                </a:extLst>
              </p:cNvPr>
              <p:cNvSpPr/>
              <p:nvPr/>
            </p:nvSpPr>
            <p:spPr>
              <a:xfrm>
                <a:off x="6855546" y="3904773"/>
                <a:ext cx="80612" cy="78390"/>
              </a:xfrm>
              <a:custGeom>
                <a:avLst/>
                <a:gdLst>
                  <a:gd name="connsiteX0" fmla="*/ 0 w 80612"/>
                  <a:gd name="connsiteY0" fmla="*/ 1238 h 78390"/>
                  <a:gd name="connsiteX1" fmla="*/ 17492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2 w 80612"/>
                  <a:gd name="connsiteY10" fmla="*/ 41053 h 78390"/>
                  <a:gd name="connsiteX11" fmla="*/ 17492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2"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2" y="24194"/>
                      <a:pt x="17492" y="41053"/>
                    </a:cubicBezTo>
                    <a:lnTo>
                      <a:pt x="17492" y="78391"/>
                    </a:lnTo>
                    <a:lnTo>
                      <a:pt x="0" y="78391"/>
                    </a:lnTo>
                    <a:lnTo>
                      <a:pt x="0" y="1333"/>
                    </a:lnTo>
                    <a:close/>
                  </a:path>
                </a:pathLst>
              </a:custGeom>
              <a:grpFill/>
              <a:ln w="9497"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003E39BB-293B-1516-1125-66A724D7D5C2}"/>
                  </a:ext>
                </a:extLst>
              </p:cNvPr>
              <p:cNvSpPr/>
              <p:nvPr/>
            </p:nvSpPr>
            <p:spPr>
              <a:xfrm>
                <a:off x="6950133" y="3890581"/>
                <a:ext cx="82133" cy="125730"/>
              </a:xfrm>
              <a:custGeom>
                <a:avLst/>
                <a:gdLst>
                  <a:gd name="connsiteX0" fmla="*/ 82039 w 82133"/>
                  <a:gd name="connsiteY0" fmla="*/ 99822 h 125730"/>
                  <a:gd name="connsiteX1" fmla="*/ 41542 w 82133"/>
                  <a:gd name="connsiteY1" fmla="*/ 125730 h 125730"/>
                  <a:gd name="connsiteX2" fmla="*/ 0 w 82133"/>
                  <a:gd name="connsiteY2" fmla="*/ 103918 h 125730"/>
                  <a:gd name="connsiteX3" fmla="*/ 14925 w 82133"/>
                  <a:gd name="connsiteY3" fmla="*/ 89916 h 125730"/>
                  <a:gd name="connsiteX4" fmla="*/ 14925 w 82133"/>
                  <a:gd name="connsiteY4" fmla="*/ 89725 h 125730"/>
                  <a:gd name="connsiteX5" fmla="*/ 8175 w 82133"/>
                  <a:gd name="connsiteY5" fmla="*/ 77057 h 125730"/>
                  <a:gd name="connsiteX6" fmla="*/ 15305 w 82133"/>
                  <a:gd name="connsiteY6" fmla="*/ 63913 h 125730"/>
                  <a:gd name="connsiteX7" fmla="*/ 15305 w 82133"/>
                  <a:gd name="connsiteY7" fmla="*/ 63627 h 125730"/>
                  <a:gd name="connsiteX8" fmla="*/ 3422 w 82133"/>
                  <a:gd name="connsiteY8" fmla="*/ 41624 h 125730"/>
                  <a:gd name="connsiteX9" fmla="*/ 37740 w 82133"/>
                  <a:gd name="connsiteY9" fmla="*/ 14192 h 125730"/>
                  <a:gd name="connsiteX10" fmla="*/ 59224 w 82133"/>
                  <a:gd name="connsiteY10" fmla="*/ 19145 h 125730"/>
                  <a:gd name="connsiteX11" fmla="*/ 59414 w 82133"/>
                  <a:gd name="connsiteY11" fmla="*/ 18955 h 125730"/>
                  <a:gd name="connsiteX12" fmla="*/ 55706 w 82133"/>
                  <a:gd name="connsiteY12" fmla="*/ 10192 h 125730"/>
                  <a:gd name="connsiteX13" fmla="*/ 70821 w 82133"/>
                  <a:gd name="connsiteY13" fmla="*/ 0 h 125730"/>
                  <a:gd name="connsiteX14" fmla="*/ 78616 w 82133"/>
                  <a:gd name="connsiteY14" fmla="*/ 762 h 125730"/>
                  <a:gd name="connsiteX15" fmla="*/ 78616 w 82133"/>
                  <a:gd name="connsiteY15" fmla="*/ 13049 h 125730"/>
                  <a:gd name="connsiteX16" fmla="*/ 73483 w 82133"/>
                  <a:gd name="connsiteY16" fmla="*/ 12287 h 125730"/>
                  <a:gd name="connsiteX17" fmla="*/ 65878 w 82133"/>
                  <a:gd name="connsiteY17" fmla="*/ 18669 h 125730"/>
                  <a:gd name="connsiteX18" fmla="*/ 67589 w 82133"/>
                  <a:gd name="connsiteY18" fmla="*/ 26479 h 125730"/>
                  <a:gd name="connsiteX19" fmla="*/ 72152 w 82133"/>
                  <a:gd name="connsiteY19" fmla="*/ 41434 h 125730"/>
                  <a:gd name="connsiteX20" fmla="*/ 37930 w 82133"/>
                  <a:gd name="connsiteY20" fmla="*/ 68866 h 125730"/>
                  <a:gd name="connsiteX21" fmla="*/ 24336 w 82133"/>
                  <a:gd name="connsiteY21" fmla="*/ 67151 h 125730"/>
                  <a:gd name="connsiteX22" fmla="*/ 22435 w 82133"/>
                  <a:gd name="connsiteY22" fmla="*/ 73057 h 125730"/>
                  <a:gd name="connsiteX23" fmla="*/ 31180 w 82133"/>
                  <a:gd name="connsiteY23" fmla="*/ 80105 h 125730"/>
                  <a:gd name="connsiteX24" fmla="*/ 56087 w 82133"/>
                  <a:gd name="connsiteY24" fmla="*/ 80105 h 125730"/>
                  <a:gd name="connsiteX25" fmla="*/ 82134 w 82133"/>
                  <a:gd name="connsiteY25" fmla="*/ 99631 h 125730"/>
                  <a:gd name="connsiteX26" fmla="*/ 64547 w 82133"/>
                  <a:gd name="connsiteY26" fmla="*/ 101822 h 125730"/>
                  <a:gd name="connsiteX27" fmla="*/ 52379 w 82133"/>
                  <a:gd name="connsiteY27" fmla="*/ 93821 h 125730"/>
                  <a:gd name="connsiteX28" fmla="*/ 31466 w 82133"/>
                  <a:gd name="connsiteY28" fmla="*/ 93821 h 125730"/>
                  <a:gd name="connsiteX29" fmla="*/ 17111 w 82133"/>
                  <a:gd name="connsiteY29" fmla="*/ 102394 h 125730"/>
                  <a:gd name="connsiteX30" fmla="*/ 41257 w 82133"/>
                  <a:gd name="connsiteY30" fmla="*/ 113348 h 125730"/>
                  <a:gd name="connsiteX31" fmla="*/ 64452 w 82133"/>
                  <a:gd name="connsiteY31" fmla="*/ 101822 h 125730"/>
                  <a:gd name="connsiteX32" fmla="*/ 20153 w 82133"/>
                  <a:gd name="connsiteY32" fmla="*/ 41624 h 125730"/>
                  <a:gd name="connsiteX33" fmla="*/ 37740 w 82133"/>
                  <a:gd name="connsiteY33" fmla="*/ 56579 h 125730"/>
                  <a:gd name="connsiteX34" fmla="*/ 55326 w 82133"/>
                  <a:gd name="connsiteY34" fmla="*/ 41624 h 125730"/>
                  <a:gd name="connsiteX35" fmla="*/ 37740 w 82133"/>
                  <a:gd name="connsiteY35" fmla="*/ 26670 h 125730"/>
                  <a:gd name="connsiteX36" fmla="*/ 20153 w 82133"/>
                  <a:gd name="connsiteY36" fmla="*/ 41624 h 12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133" h="125730">
                    <a:moveTo>
                      <a:pt x="82039" y="99822"/>
                    </a:moveTo>
                    <a:cubicBezTo>
                      <a:pt x="82039" y="116015"/>
                      <a:pt x="66924" y="125730"/>
                      <a:pt x="41542" y="125730"/>
                    </a:cubicBezTo>
                    <a:cubicBezTo>
                      <a:pt x="16160" y="125730"/>
                      <a:pt x="0" y="117729"/>
                      <a:pt x="0" y="103918"/>
                    </a:cubicBezTo>
                    <a:cubicBezTo>
                      <a:pt x="0" y="96107"/>
                      <a:pt x="5799" y="90297"/>
                      <a:pt x="14925" y="89916"/>
                    </a:cubicBezTo>
                    <a:lnTo>
                      <a:pt x="14925" y="89725"/>
                    </a:lnTo>
                    <a:cubicBezTo>
                      <a:pt x="10552" y="86773"/>
                      <a:pt x="8175" y="82582"/>
                      <a:pt x="8175" y="77057"/>
                    </a:cubicBezTo>
                    <a:cubicBezTo>
                      <a:pt x="8175" y="70485"/>
                      <a:pt x="11122" y="66008"/>
                      <a:pt x="15305" y="63913"/>
                    </a:cubicBezTo>
                    <a:lnTo>
                      <a:pt x="15305" y="63627"/>
                    </a:lnTo>
                    <a:cubicBezTo>
                      <a:pt x="7700" y="58960"/>
                      <a:pt x="3422" y="51340"/>
                      <a:pt x="3422" y="41624"/>
                    </a:cubicBezTo>
                    <a:cubicBezTo>
                      <a:pt x="3422" y="24765"/>
                      <a:pt x="16541" y="14192"/>
                      <a:pt x="37740" y="14192"/>
                    </a:cubicBezTo>
                    <a:cubicBezTo>
                      <a:pt x="46485" y="14192"/>
                      <a:pt x="53615" y="15907"/>
                      <a:pt x="59224" y="19145"/>
                    </a:cubicBezTo>
                    <a:lnTo>
                      <a:pt x="59414" y="18955"/>
                    </a:lnTo>
                    <a:cubicBezTo>
                      <a:pt x="57037" y="16478"/>
                      <a:pt x="55706" y="13525"/>
                      <a:pt x="55706" y="10192"/>
                    </a:cubicBezTo>
                    <a:cubicBezTo>
                      <a:pt x="55706" y="3905"/>
                      <a:pt x="61600" y="0"/>
                      <a:pt x="70821" y="0"/>
                    </a:cubicBezTo>
                    <a:cubicBezTo>
                      <a:pt x="74529" y="0"/>
                      <a:pt x="76715" y="286"/>
                      <a:pt x="78616" y="762"/>
                    </a:cubicBezTo>
                    <a:lnTo>
                      <a:pt x="78616" y="13049"/>
                    </a:lnTo>
                    <a:cubicBezTo>
                      <a:pt x="77380" y="12573"/>
                      <a:pt x="75669" y="12287"/>
                      <a:pt x="73483" y="12287"/>
                    </a:cubicBezTo>
                    <a:cubicBezTo>
                      <a:pt x="68350" y="12287"/>
                      <a:pt x="65878" y="14478"/>
                      <a:pt x="65878" y="18669"/>
                    </a:cubicBezTo>
                    <a:cubicBezTo>
                      <a:pt x="65878" y="20860"/>
                      <a:pt x="66638" y="23527"/>
                      <a:pt x="67589" y="26479"/>
                    </a:cubicBezTo>
                    <a:cubicBezTo>
                      <a:pt x="70536" y="30575"/>
                      <a:pt x="72152" y="35719"/>
                      <a:pt x="72152" y="41434"/>
                    </a:cubicBezTo>
                    <a:cubicBezTo>
                      <a:pt x="72152" y="58483"/>
                      <a:pt x="59034" y="68866"/>
                      <a:pt x="37930" y="68866"/>
                    </a:cubicBezTo>
                    <a:cubicBezTo>
                      <a:pt x="32987" y="68866"/>
                      <a:pt x="28423" y="68199"/>
                      <a:pt x="24336" y="67151"/>
                    </a:cubicBezTo>
                    <a:cubicBezTo>
                      <a:pt x="23385" y="68199"/>
                      <a:pt x="22435" y="70390"/>
                      <a:pt x="22435" y="73057"/>
                    </a:cubicBezTo>
                    <a:cubicBezTo>
                      <a:pt x="22435" y="77438"/>
                      <a:pt x="25572" y="80105"/>
                      <a:pt x="31180" y="80105"/>
                    </a:cubicBezTo>
                    <a:lnTo>
                      <a:pt x="56087" y="80105"/>
                    </a:lnTo>
                    <a:cubicBezTo>
                      <a:pt x="72627" y="80105"/>
                      <a:pt x="82134" y="87249"/>
                      <a:pt x="82134" y="99631"/>
                    </a:cubicBezTo>
                    <a:close/>
                    <a:moveTo>
                      <a:pt x="64547" y="101822"/>
                    </a:moveTo>
                    <a:cubicBezTo>
                      <a:pt x="64547" y="96679"/>
                      <a:pt x="60650" y="93821"/>
                      <a:pt x="52379" y="93821"/>
                    </a:cubicBezTo>
                    <a:lnTo>
                      <a:pt x="31466" y="93821"/>
                    </a:lnTo>
                    <a:cubicBezTo>
                      <a:pt x="22720" y="93821"/>
                      <a:pt x="17111" y="96488"/>
                      <a:pt x="17111" y="102394"/>
                    </a:cubicBezTo>
                    <a:cubicBezTo>
                      <a:pt x="17111" y="109728"/>
                      <a:pt x="26427" y="113348"/>
                      <a:pt x="41257" y="113348"/>
                    </a:cubicBezTo>
                    <a:cubicBezTo>
                      <a:pt x="57608" y="113348"/>
                      <a:pt x="64452" y="108680"/>
                      <a:pt x="64452" y="101822"/>
                    </a:cubicBezTo>
                    <a:close/>
                    <a:moveTo>
                      <a:pt x="20153" y="41624"/>
                    </a:moveTo>
                    <a:cubicBezTo>
                      <a:pt x="20153" y="50864"/>
                      <a:pt x="26902" y="56579"/>
                      <a:pt x="37740" y="56579"/>
                    </a:cubicBezTo>
                    <a:cubicBezTo>
                      <a:pt x="48577" y="56579"/>
                      <a:pt x="55326" y="50768"/>
                      <a:pt x="55326" y="41624"/>
                    </a:cubicBezTo>
                    <a:cubicBezTo>
                      <a:pt x="55326" y="32480"/>
                      <a:pt x="48672" y="26670"/>
                      <a:pt x="37740" y="26670"/>
                    </a:cubicBezTo>
                    <a:cubicBezTo>
                      <a:pt x="26808" y="26670"/>
                      <a:pt x="20153" y="32480"/>
                      <a:pt x="20153" y="41624"/>
                    </a:cubicBezTo>
                    <a:close/>
                  </a:path>
                </a:pathLst>
              </a:custGeom>
              <a:grpFill/>
              <a:ln w="9497"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4FAF145A-9366-F6C2-845B-39CFEF42D087}"/>
                  </a:ext>
                </a:extLst>
              </p:cNvPr>
              <p:cNvSpPr/>
              <p:nvPr/>
            </p:nvSpPr>
            <p:spPr>
              <a:xfrm>
                <a:off x="7081699"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388"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1"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2FE7B0D7-C132-BB71-B799-B34414BB78F2}"/>
                  </a:ext>
                </a:extLst>
              </p:cNvPr>
              <p:cNvSpPr/>
              <p:nvPr/>
            </p:nvSpPr>
            <p:spPr>
              <a:xfrm>
                <a:off x="7220394" y="3904773"/>
                <a:ext cx="74813" cy="79533"/>
              </a:xfrm>
              <a:custGeom>
                <a:avLst/>
                <a:gdLst>
                  <a:gd name="connsiteX0" fmla="*/ 0 w 74813"/>
                  <a:gd name="connsiteY0" fmla="*/ 56198 h 79533"/>
                  <a:gd name="connsiteX1" fmla="*/ 28804 w 74813"/>
                  <a:gd name="connsiteY1" fmla="*/ 35243 h 79533"/>
                  <a:gd name="connsiteX2" fmla="*/ 57322 w 74813"/>
                  <a:gd name="connsiteY2" fmla="*/ 35243 h 79533"/>
                  <a:gd name="connsiteX3" fmla="*/ 57322 w 74813"/>
                  <a:gd name="connsiteY3" fmla="*/ 29813 h 79533"/>
                  <a:gd name="connsiteX4" fmla="*/ 37074 w 74813"/>
                  <a:gd name="connsiteY4" fmla="*/ 13145 h 79533"/>
                  <a:gd name="connsiteX5" fmla="*/ 18537 w 74813"/>
                  <a:gd name="connsiteY5" fmla="*/ 26289 h 79533"/>
                  <a:gd name="connsiteX6" fmla="*/ 18727 w 74813"/>
                  <a:gd name="connsiteY6" fmla="*/ 29242 h 79533"/>
                  <a:gd name="connsiteX7" fmla="*/ 2662 w 74813"/>
                  <a:gd name="connsiteY7" fmla="*/ 29242 h 79533"/>
                  <a:gd name="connsiteX8" fmla="*/ 2377 w 74813"/>
                  <a:gd name="connsiteY8" fmla="*/ 24670 h 79533"/>
                  <a:gd name="connsiteX9" fmla="*/ 37740 w 74813"/>
                  <a:gd name="connsiteY9" fmla="*/ 0 h 79533"/>
                  <a:gd name="connsiteX10" fmla="*/ 74814 w 74813"/>
                  <a:gd name="connsiteY10" fmla="*/ 31337 h 79533"/>
                  <a:gd name="connsiteX11" fmla="*/ 74814 w 74813"/>
                  <a:gd name="connsiteY11" fmla="*/ 78296 h 79533"/>
                  <a:gd name="connsiteX12" fmla="*/ 57322 w 74813"/>
                  <a:gd name="connsiteY12" fmla="*/ 78296 h 79533"/>
                  <a:gd name="connsiteX13" fmla="*/ 58083 w 74813"/>
                  <a:gd name="connsiteY13" fmla="*/ 61246 h 79533"/>
                  <a:gd name="connsiteX14" fmla="*/ 57893 w 74813"/>
                  <a:gd name="connsiteY14" fmla="*/ 61246 h 79533"/>
                  <a:gd name="connsiteX15" fmla="*/ 29279 w 74813"/>
                  <a:gd name="connsiteY15" fmla="*/ 79534 h 79533"/>
                  <a:gd name="connsiteX16" fmla="*/ 0 w 74813"/>
                  <a:gd name="connsiteY16" fmla="*/ 56102 h 79533"/>
                  <a:gd name="connsiteX17" fmla="*/ 57322 w 74813"/>
                  <a:gd name="connsiteY17" fmla="*/ 47339 h 79533"/>
                  <a:gd name="connsiteX18" fmla="*/ 57322 w 74813"/>
                  <a:gd name="connsiteY18" fmla="*/ 45910 h 79533"/>
                  <a:gd name="connsiteX19" fmla="*/ 30420 w 74813"/>
                  <a:gd name="connsiteY19" fmla="*/ 45910 h 79533"/>
                  <a:gd name="connsiteX20" fmla="*/ 16066 w 74813"/>
                  <a:gd name="connsiteY20" fmla="*/ 55435 h 79533"/>
                  <a:gd name="connsiteX21" fmla="*/ 32891 w 74813"/>
                  <a:gd name="connsiteY21" fmla="*/ 66485 h 79533"/>
                  <a:gd name="connsiteX22" fmla="*/ 57322 w 74813"/>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813" h="79533">
                    <a:moveTo>
                      <a:pt x="0" y="56198"/>
                    </a:moveTo>
                    <a:cubicBezTo>
                      <a:pt x="0" y="44482"/>
                      <a:pt x="8270" y="35243"/>
                      <a:pt x="28804" y="35243"/>
                    </a:cubicBezTo>
                    <a:lnTo>
                      <a:pt x="57322" y="35243"/>
                    </a:lnTo>
                    <a:lnTo>
                      <a:pt x="57322" y="29813"/>
                    </a:lnTo>
                    <a:cubicBezTo>
                      <a:pt x="57322" y="18288"/>
                      <a:pt x="50668" y="13145"/>
                      <a:pt x="37074" y="13145"/>
                    </a:cubicBezTo>
                    <a:cubicBezTo>
                      <a:pt x="25287" y="13145"/>
                      <a:pt x="18537" y="17717"/>
                      <a:pt x="18537" y="26289"/>
                    </a:cubicBezTo>
                    <a:cubicBezTo>
                      <a:pt x="18537" y="26765"/>
                      <a:pt x="18537" y="28004"/>
                      <a:pt x="18727" y="29242"/>
                    </a:cubicBezTo>
                    <a:lnTo>
                      <a:pt x="2662" y="29242"/>
                    </a:lnTo>
                    <a:cubicBezTo>
                      <a:pt x="2472" y="28099"/>
                      <a:pt x="2377" y="26099"/>
                      <a:pt x="2377" y="24670"/>
                    </a:cubicBezTo>
                    <a:cubicBezTo>
                      <a:pt x="2377" y="9239"/>
                      <a:pt x="15780" y="0"/>
                      <a:pt x="37740" y="0"/>
                    </a:cubicBezTo>
                    <a:cubicBezTo>
                      <a:pt x="61125" y="0"/>
                      <a:pt x="74814" y="11049"/>
                      <a:pt x="74814" y="31337"/>
                    </a:cubicBezTo>
                    <a:lnTo>
                      <a:pt x="74814" y="78296"/>
                    </a:lnTo>
                    <a:lnTo>
                      <a:pt x="57322" y="78296"/>
                    </a:lnTo>
                    <a:cubicBezTo>
                      <a:pt x="57608" y="74581"/>
                      <a:pt x="58083" y="67532"/>
                      <a:pt x="58083" y="61246"/>
                    </a:cubicBezTo>
                    <a:lnTo>
                      <a:pt x="57893" y="61246"/>
                    </a:lnTo>
                    <a:cubicBezTo>
                      <a:pt x="55421" y="72676"/>
                      <a:pt x="46200" y="79534"/>
                      <a:pt x="29279" y="79534"/>
                    </a:cubicBezTo>
                    <a:cubicBezTo>
                      <a:pt x="12358" y="79534"/>
                      <a:pt x="0" y="71152"/>
                      <a:pt x="0" y="56102"/>
                    </a:cubicBezTo>
                    <a:close/>
                    <a:moveTo>
                      <a:pt x="57322" y="47339"/>
                    </a:moveTo>
                    <a:lnTo>
                      <a:pt x="57322" y="45910"/>
                    </a:lnTo>
                    <a:lnTo>
                      <a:pt x="30420" y="45910"/>
                    </a:lnTo>
                    <a:cubicBezTo>
                      <a:pt x="20438" y="45910"/>
                      <a:pt x="16066" y="49340"/>
                      <a:pt x="16066" y="55435"/>
                    </a:cubicBezTo>
                    <a:cubicBezTo>
                      <a:pt x="16066" y="62484"/>
                      <a:pt x="22340" y="66485"/>
                      <a:pt x="32891" y="66485"/>
                    </a:cubicBezTo>
                    <a:cubicBezTo>
                      <a:pt x="48006" y="66485"/>
                      <a:pt x="57322" y="59150"/>
                      <a:pt x="57322" y="47244"/>
                    </a:cubicBezTo>
                    <a:close/>
                  </a:path>
                </a:pathLst>
              </a:custGeom>
              <a:grpFill/>
              <a:ln w="9497"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69548F6D-DAFF-470D-AB84-955B55B29AAE}"/>
                  </a:ext>
                </a:extLst>
              </p:cNvPr>
              <p:cNvSpPr/>
              <p:nvPr/>
            </p:nvSpPr>
            <p:spPr>
              <a:xfrm>
                <a:off x="7311844" y="3904773"/>
                <a:ext cx="70251" cy="78295"/>
              </a:xfrm>
              <a:custGeom>
                <a:avLst/>
                <a:gdLst>
                  <a:gd name="connsiteX0" fmla="*/ 0 w 70251"/>
                  <a:gd name="connsiteY0" fmla="*/ 1238 h 78295"/>
                  <a:gd name="connsiteX1" fmla="*/ 17491 w 70251"/>
                  <a:gd name="connsiteY1" fmla="*/ 1238 h 78295"/>
                  <a:gd name="connsiteX2" fmla="*/ 16826 w 70251"/>
                  <a:gd name="connsiteY2" fmla="*/ 23432 h 78295"/>
                  <a:gd name="connsiteX3" fmla="*/ 17016 w 70251"/>
                  <a:gd name="connsiteY3" fmla="*/ 23432 h 78295"/>
                  <a:gd name="connsiteX4" fmla="*/ 44394 w 70251"/>
                  <a:gd name="connsiteY4" fmla="*/ 0 h 78295"/>
                  <a:gd name="connsiteX5" fmla="*/ 70251 w 70251"/>
                  <a:gd name="connsiteY5" fmla="*/ 30099 h 78295"/>
                  <a:gd name="connsiteX6" fmla="*/ 69490 w 70251"/>
                  <a:gd name="connsiteY6" fmla="*/ 44482 h 78295"/>
                  <a:gd name="connsiteX7" fmla="*/ 53615 w 70251"/>
                  <a:gd name="connsiteY7" fmla="*/ 44482 h 78295"/>
                  <a:gd name="connsiteX8" fmla="*/ 54280 w 70251"/>
                  <a:gd name="connsiteY8" fmla="*/ 34004 h 78295"/>
                  <a:gd name="connsiteX9" fmla="*/ 39071 w 70251"/>
                  <a:gd name="connsiteY9" fmla="*/ 14954 h 78295"/>
                  <a:gd name="connsiteX10" fmla="*/ 17587 w 70251"/>
                  <a:gd name="connsiteY10" fmla="*/ 44577 h 78295"/>
                  <a:gd name="connsiteX11" fmla="*/ 17587 w 70251"/>
                  <a:gd name="connsiteY11" fmla="*/ 78296 h 78295"/>
                  <a:gd name="connsiteX12" fmla="*/ 95 w 70251"/>
                  <a:gd name="connsiteY12" fmla="*/ 78296 h 78295"/>
                  <a:gd name="connsiteX13" fmla="*/ 95 w 70251"/>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1" h="78295">
                    <a:moveTo>
                      <a:pt x="0" y="1238"/>
                    </a:moveTo>
                    <a:lnTo>
                      <a:pt x="17491" y="1238"/>
                    </a:lnTo>
                    <a:lnTo>
                      <a:pt x="16826" y="23432"/>
                    </a:lnTo>
                    <a:lnTo>
                      <a:pt x="17016" y="23432"/>
                    </a:lnTo>
                    <a:cubicBezTo>
                      <a:pt x="20629"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9071" y="14954"/>
                    </a:cubicBezTo>
                    <a:cubicBezTo>
                      <a:pt x="25857" y="14954"/>
                      <a:pt x="17587" y="26194"/>
                      <a:pt x="17587" y="44577"/>
                    </a:cubicBezTo>
                    <a:lnTo>
                      <a:pt x="17587" y="78296"/>
                    </a:lnTo>
                    <a:lnTo>
                      <a:pt x="95" y="78296"/>
                    </a:lnTo>
                    <a:lnTo>
                      <a:pt x="95" y="1238"/>
                    </a:lnTo>
                    <a:close/>
                  </a:path>
                </a:pathLst>
              </a:custGeom>
              <a:grpFill/>
              <a:ln w="9497"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3EE057D-FC2D-E226-8A90-49EFF6891B95}"/>
                  </a:ext>
                </a:extLst>
              </p:cNvPr>
              <p:cNvSpPr/>
              <p:nvPr/>
            </p:nvSpPr>
            <p:spPr>
              <a:xfrm>
                <a:off x="7397495" y="3874865"/>
                <a:ext cx="83749" cy="108204"/>
              </a:xfrm>
              <a:custGeom>
                <a:avLst/>
                <a:gdLst>
                  <a:gd name="connsiteX0" fmla="*/ 0 w 83749"/>
                  <a:gd name="connsiteY0" fmla="*/ 95 h 108204"/>
                  <a:gd name="connsiteX1" fmla="*/ 17491 w 83749"/>
                  <a:gd name="connsiteY1" fmla="*/ 95 h 108204"/>
                  <a:gd name="connsiteX2" fmla="*/ 17491 w 83749"/>
                  <a:gd name="connsiteY2" fmla="*/ 71533 h 108204"/>
                  <a:gd name="connsiteX3" fmla="*/ 17681 w 83749"/>
                  <a:gd name="connsiteY3" fmla="*/ 71533 h 108204"/>
                  <a:gd name="connsiteX4" fmla="*/ 59129 w 83749"/>
                  <a:gd name="connsiteY4" fmla="*/ 31147 h 108204"/>
                  <a:gd name="connsiteX5" fmla="*/ 81753 w 83749"/>
                  <a:gd name="connsiteY5" fmla="*/ 31147 h 108204"/>
                  <a:gd name="connsiteX6" fmla="*/ 45725 w 83749"/>
                  <a:gd name="connsiteY6" fmla="*/ 64675 h 108204"/>
                  <a:gd name="connsiteX7" fmla="*/ 83750 w 83749"/>
                  <a:gd name="connsiteY7" fmla="*/ 108204 h 108204"/>
                  <a:gd name="connsiteX8" fmla="*/ 60079 w 83749"/>
                  <a:gd name="connsiteY8" fmla="*/ 108204 h 108204"/>
                  <a:gd name="connsiteX9" fmla="*/ 32987 w 83749"/>
                  <a:gd name="connsiteY9" fmla="*/ 75724 h 108204"/>
                  <a:gd name="connsiteX10" fmla="*/ 17587 w 83749"/>
                  <a:gd name="connsiteY10" fmla="*/ 89916 h 108204"/>
                  <a:gd name="connsiteX11" fmla="*/ 17587 w 83749"/>
                  <a:gd name="connsiteY11" fmla="*/ 108204 h 108204"/>
                  <a:gd name="connsiteX12" fmla="*/ 95 w 83749"/>
                  <a:gd name="connsiteY12" fmla="*/ 108204 h 108204"/>
                  <a:gd name="connsiteX13" fmla="*/ 95 w 83749"/>
                  <a:gd name="connsiteY13" fmla="*/ 0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49" h="108204">
                    <a:moveTo>
                      <a:pt x="0" y="95"/>
                    </a:moveTo>
                    <a:lnTo>
                      <a:pt x="17491" y="95"/>
                    </a:lnTo>
                    <a:lnTo>
                      <a:pt x="17491" y="71533"/>
                    </a:lnTo>
                    <a:lnTo>
                      <a:pt x="17681" y="71533"/>
                    </a:lnTo>
                    <a:lnTo>
                      <a:pt x="59129" y="31147"/>
                    </a:lnTo>
                    <a:lnTo>
                      <a:pt x="81753" y="31147"/>
                    </a:lnTo>
                    <a:lnTo>
                      <a:pt x="45725" y="64675"/>
                    </a:lnTo>
                    <a:lnTo>
                      <a:pt x="83750" y="108204"/>
                    </a:lnTo>
                    <a:lnTo>
                      <a:pt x="60079" y="108204"/>
                    </a:lnTo>
                    <a:lnTo>
                      <a:pt x="32987" y="75724"/>
                    </a:lnTo>
                    <a:lnTo>
                      <a:pt x="17587" y="89916"/>
                    </a:lnTo>
                    <a:lnTo>
                      <a:pt x="17587" y="108204"/>
                    </a:lnTo>
                    <a:lnTo>
                      <a:pt x="95" y="108204"/>
                    </a:lnTo>
                    <a:lnTo>
                      <a:pt x="95" y="0"/>
                    </a:lnTo>
                    <a:close/>
                  </a:path>
                </a:pathLst>
              </a:custGeom>
              <a:grpFill/>
              <a:ln w="9497"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50C4B901-27AA-FDF8-71BF-DA95F28BB314}"/>
                  </a:ext>
                </a:extLst>
              </p:cNvPr>
              <p:cNvSpPr/>
              <p:nvPr/>
            </p:nvSpPr>
            <p:spPr>
              <a:xfrm>
                <a:off x="7484762" y="3904868"/>
                <a:ext cx="75194" cy="79533"/>
              </a:xfrm>
              <a:custGeom>
                <a:avLst/>
                <a:gdLst>
                  <a:gd name="connsiteX0" fmla="*/ 75099 w 75194"/>
                  <a:gd name="connsiteY0" fmla="*/ 43148 h 79533"/>
                  <a:gd name="connsiteX1" fmla="*/ 17491 w 75194"/>
                  <a:gd name="connsiteY1" fmla="*/ 43148 h 79533"/>
                  <a:gd name="connsiteX2" fmla="*/ 39736 w 75194"/>
                  <a:gd name="connsiteY2" fmla="*/ 65913 h 79533"/>
                  <a:gd name="connsiteX3" fmla="*/ 59414 w 75194"/>
                  <a:gd name="connsiteY3" fmla="*/ 51911 h 79533"/>
                  <a:gd name="connsiteX4" fmla="*/ 75194 w 75194"/>
                  <a:gd name="connsiteY4" fmla="*/ 51911 h 79533"/>
                  <a:gd name="connsiteX5" fmla="*/ 39546 w 75194"/>
                  <a:gd name="connsiteY5" fmla="*/ 79534 h 79533"/>
                  <a:gd name="connsiteX6" fmla="*/ 0 w 75194"/>
                  <a:gd name="connsiteY6" fmla="*/ 40386 h 79533"/>
                  <a:gd name="connsiteX7" fmla="*/ 39546 w 75194"/>
                  <a:gd name="connsiteY7" fmla="*/ 0 h 79533"/>
                  <a:gd name="connsiteX8" fmla="*/ 75194 w 75194"/>
                  <a:gd name="connsiteY8" fmla="*/ 36957 h 79533"/>
                  <a:gd name="connsiteX9" fmla="*/ 75194 w 75194"/>
                  <a:gd name="connsiteY9" fmla="*/ 43244 h 79533"/>
                  <a:gd name="connsiteX10" fmla="*/ 59319 w 75194"/>
                  <a:gd name="connsiteY10" fmla="*/ 31433 h 79533"/>
                  <a:gd name="connsiteX11" fmla="*/ 39546 w 75194"/>
                  <a:gd name="connsiteY11" fmla="*/ 13525 h 79533"/>
                  <a:gd name="connsiteX12" fmla="*/ 17872 w 75194"/>
                  <a:gd name="connsiteY12" fmla="*/ 32575 h 79533"/>
                  <a:gd name="connsiteX13" fmla="*/ 59319 w 75194"/>
                  <a:gd name="connsiteY13" fmla="*/ 32575 h 79533"/>
                  <a:gd name="connsiteX14" fmla="*/ 59319 w 75194"/>
                  <a:gd name="connsiteY14" fmla="*/ 31528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194" h="79533">
                    <a:moveTo>
                      <a:pt x="75099" y="43148"/>
                    </a:moveTo>
                    <a:lnTo>
                      <a:pt x="17491" y="43148"/>
                    </a:lnTo>
                    <a:cubicBezTo>
                      <a:pt x="18442" y="58007"/>
                      <a:pt x="26712" y="65913"/>
                      <a:pt x="39736" y="65913"/>
                    </a:cubicBezTo>
                    <a:cubicBezTo>
                      <a:pt x="50953" y="65913"/>
                      <a:pt x="58558" y="60960"/>
                      <a:pt x="59414" y="51911"/>
                    </a:cubicBezTo>
                    <a:lnTo>
                      <a:pt x="75194" y="51911"/>
                    </a:lnTo>
                    <a:cubicBezTo>
                      <a:pt x="74529" y="69056"/>
                      <a:pt x="60555" y="79534"/>
                      <a:pt x="39546" y="79534"/>
                    </a:cubicBezTo>
                    <a:cubicBezTo>
                      <a:pt x="15210" y="79534"/>
                      <a:pt x="0" y="64579"/>
                      <a:pt x="0" y="40386"/>
                    </a:cubicBezTo>
                    <a:cubicBezTo>
                      <a:pt x="0" y="16193"/>
                      <a:pt x="15305" y="0"/>
                      <a:pt x="39546" y="0"/>
                    </a:cubicBezTo>
                    <a:cubicBezTo>
                      <a:pt x="61315" y="0"/>
                      <a:pt x="75194" y="12954"/>
                      <a:pt x="75194" y="36957"/>
                    </a:cubicBezTo>
                    <a:lnTo>
                      <a:pt x="75194" y="43244"/>
                    </a:lnTo>
                    <a:close/>
                    <a:moveTo>
                      <a:pt x="59319" y="31433"/>
                    </a:moveTo>
                    <a:cubicBezTo>
                      <a:pt x="59319" y="19907"/>
                      <a:pt x="52189" y="13525"/>
                      <a:pt x="39546" y="13525"/>
                    </a:cubicBezTo>
                    <a:cubicBezTo>
                      <a:pt x="26903" y="13525"/>
                      <a:pt x="19963" y="19812"/>
                      <a:pt x="17872" y="32575"/>
                    </a:cubicBezTo>
                    <a:lnTo>
                      <a:pt x="59319" y="32575"/>
                    </a:lnTo>
                    <a:lnTo>
                      <a:pt x="59319" y="31528"/>
                    </a:lnTo>
                    <a:close/>
                  </a:path>
                </a:pathLst>
              </a:custGeom>
              <a:grpFill/>
              <a:ln w="949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B34DD974-D931-94CF-7A17-9CEADB48E8CB}"/>
                  </a:ext>
                </a:extLst>
              </p:cNvPr>
              <p:cNvSpPr/>
              <p:nvPr/>
            </p:nvSpPr>
            <p:spPr>
              <a:xfrm>
                <a:off x="7567751"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1"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02EDC944-0F3D-9093-FFED-DEE434EF85C0}"/>
                  </a:ext>
                </a:extLst>
              </p:cNvPr>
              <p:cNvSpPr/>
              <p:nvPr/>
            </p:nvSpPr>
            <p:spPr>
              <a:xfrm>
                <a:off x="763334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3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2"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0"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3" y="79629"/>
                    </a:cubicBezTo>
                    <a:cubicBezTo>
                      <a:pt x="9601" y="79629"/>
                      <a:pt x="95" y="67723"/>
                      <a:pt x="95" y="52673"/>
                    </a:cubicBezTo>
                    <a:close/>
                  </a:path>
                </a:pathLst>
              </a:custGeom>
              <a:grpFill/>
              <a:ln w="949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4457685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Main (Green)">
    <p:spTree>
      <p:nvGrpSpPr>
        <p:cNvPr id="1" name=""/>
        <p:cNvGrpSpPr/>
        <p:nvPr/>
      </p:nvGrpSpPr>
      <p:grpSpPr>
        <a:xfrm>
          <a:off x="0" y="0"/>
          <a:ext cx="0" cy="0"/>
          <a:chOff x="0" y="0"/>
          <a:chExt cx="0" cy="0"/>
        </a:xfrm>
      </p:grpSpPr>
      <p:sp>
        <p:nvSpPr>
          <p:cNvPr id="8" name="Graphic 2">
            <a:extLst>
              <a:ext uri="{FF2B5EF4-FFF2-40B4-BE49-F238E27FC236}">
                <a16:creationId xmlns:a16="http://schemas.microsoft.com/office/drawing/2014/main" id="{D76FC3D6-E181-2F60-AFE3-CD50F35038C1}"/>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NL"/>
          </a:p>
        </p:txBody>
      </p:sp>
      <p:sp>
        <p:nvSpPr>
          <p:cNvPr id="9" name="Slide Number Placeholder 8">
            <a:extLst>
              <a:ext uri="{FF2B5EF4-FFF2-40B4-BE49-F238E27FC236}">
                <a16:creationId xmlns:a16="http://schemas.microsoft.com/office/drawing/2014/main" id="{6F3918CB-A61A-8A43-05DE-7D51ECBE796D}"/>
              </a:ext>
            </a:extLst>
          </p:cNvPr>
          <p:cNvSpPr>
            <a:spLocks noGrp="1"/>
          </p:cNvSpPr>
          <p:nvPr>
            <p:ph type="sldNum" sz="quarter" idx="18"/>
          </p:nvPr>
        </p:nvSpPr>
        <p:spPr/>
        <p:txBody>
          <a:bodyPr/>
          <a:lstStyle/>
          <a:p>
            <a:fld id="{0994303E-A424-9540-91A8-53B791C91E8F}" type="slidenum">
              <a:rPr lang="en-NL" smtClean="0"/>
              <a:pPr/>
              <a:t>‹#›</a:t>
            </a:fld>
            <a:endParaRPr lang="en-NL"/>
          </a:p>
        </p:txBody>
      </p:sp>
      <p:sp>
        <p:nvSpPr>
          <p:cNvPr id="12" name="Text Placeholder 11">
            <a:extLst>
              <a:ext uri="{FF2B5EF4-FFF2-40B4-BE49-F238E27FC236}">
                <a16:creationId xmlns:a16="http://schemas.microsoft.com/office/drawing/2014/main" id="{A83DA047-160F-C49A-5A78-116863FD7922}"/>
              </a:ext>
            </a:extLst>
          </p:cNvPr>
          <p:cNvSpPr>
            <a:spLocks noGrp="1"/>
          </p:cNvSpPr>
          <p:nvPr>
            <p:ph type="body" sz="quarter" idx="21" hasCustomPrompt="1"/>
          </p:nvPr>
        </p:nvSpPr>
        <p:spPr>
          <a:xfrm>
            <a:off x="658811" y="1168710"/>
            <a:ext cx="10874377" cy="411161"/>
          </a:xfrm>
        </p:spPr>
        <p:txBody>
          <a:bodyPr/>
          <a:lstStyle>
            <a:lvl1pPr marL="0" indent="0">
              <a:buNone/>
              <a:defRPr sz="2000">
                <a:solidFill>
                  <a:schemeClr val="accent2"/>
                </a:solidFill>
              </a:defRPr>
            </a:lvl1pPr>
          </a:lstStyle>
          <a:p>
            <a:pPr lvl="0"/>
            <a:r>
              <a:rPr lang="en-GB"/>
              <a:t>Subheading goes here</a:t>
            </a:r>
            <a:endParaRPr lang="en-US"/>
          </a:p>
        </p:txBody>
      </p:sp>
      <p:sp>
        <p:nvSpPr>
          <p:cNvPr id="14" name="Title 13">
            <a:extLst>
              <a:ext uri="{FF2B5EF4-FFF2-40B4-BE49-F238E27FC236}">
                <a16:creationId xmlns:a16="http://schemas.microsoft.com/office/drawing/2014/main" id="{B2461144-37F7-1B8E-8C8F-A142D7874919}"/>
              </a:ext>
            </a:extLst>
          </p:cNvPr>
          <p:cNvSpPr>
            <a:spLocks noGrp="1"/>
          </p:cNvSpPr>
          <p:nvPr>
            <p:ph type="title" hasCustomPrompt="1"/>
          </p:nvPr>
        </p:nvSpPr>
        <p:spPr/>
        <p:txBody>
          <a:bodyPr/>
          <a:lstStyle/>
          <a:p>
            <a:r>
              <a:rPr lang="en-GB"/>
              <a:t>Regular heading goes here</a:t>
            </a:r>
            <a:endParaRPr lang="en-US"/>
          </a:p>
        </p:txBody>
      </p:sp>
      <p:sp>
        <p:nvSpPr>
          <p:cNvPr id="3" name="Text Placeholder 2">
            <a:extLst>
              <a:ext uri="{FF2B5EF4-FFF2-40B4-BE49-F238E27FC236}">
                <a16:creationId xmlns:a16="http://schemas.microsoft.com/office/drawing/2014/main" id="{39844A63-D478-63A3-32FA-965832495FE9}"/>
              </a:ext>
            </a:extLst>
          </p:cNvPr>
          <p:cNvSpPr>
            <a:spLocks noGrp="1"/>
          </p:cNvSpPr>
          <p:nvPr>
            <p:ph type="body" sz="quarter" idx="22" hasCustomPrompt="1"/>
          </p:nvPr>
        </p:nvSpPr>
        <p:spPr>
          <a:xfrm>
            <a:off x="658813" y="1833563"/>
            <a:ext cx="5113337" cy="4475162"/>
          </a:xfrm>
        </p:spPr>
        <p:txBody>
          <a:bodyPr/>
          <a:lstStyle>
            <a:lvl1pPr marL="0" indent="0">
              <a:buFont typeface="Arial" panose="020B0604020202020204" pitchFamily="34" charset="0"/>
              <a:buNone/>
              <a:tabLst/>
              <a:defRPr/>
            </a:lvl1pPr>
          </a:lstStyle>
          <a:p>
            <a:pPr lvl="0"/>
            <a:r>
              <a:rPr lang="en-GB" err="1"/>
              <a:t>Sed</a:t>
            </a:r>
            <a:r>
              <a:rPr lang="en-GB"/>
              <a:t> </a:t>
            </a:r>
            <a:r>
              <a:rPr lang="en-GB" err="1"/>
              <a:t>ut</a:t>
            </a:r>
            <a:r>
              <a:rPr lang="en-GB"/>
              <a:t> </a:t>
            </a:r>
            <a:r>
              <a:rPr lang="en-GB" err="1"/>
              <a:t>perspiciatis</a:t>
            </a:r>
            <a:r>
              <a:rPr lang="en-GB"/>
              <a:t> </a:t>
            </a:r>
            <a:r>
              <a:rPr lang="en-GB" err="1"/>
              <a:t>unde</a:t>
            </a:r>
            <a:r>
              <a:rPr lang="en-GB"/>
              <a:t> </a:t>
            </a:r>
            <a:r>
              <a:rPr lang="en-GB" err="1"/>
              <a:t>omnis</a:t>
            </a:r>
            <a:r>
              <a:rPr lang="en-GB"/>
              <a:t> </a:t>
            </a:r>
            <a:r>
              <a:rPr lang="en-GB" err="1"/>
              <a:t>iste</a:t>
            </a:r>
            <a:r>
              <a:rPr lang="en-GB"/>
              <a:t> </a:t>
            </a:r>
            <a:r>
              <a:rPr lang="en-GB" err="1"/>
              <a:t>natus</a:t>
            </a:r>
            <a:r>
              <a:rPr lang="en-GB"/>
              <a:t> error sit </a:t>
            </a:r>
            <a:r>
              <a:rPr lang="en-GB" err="1"/>
              <a:t>voluptatem</a:t>
            </a:r>
            <a:r>
              <a:rPr lang="en-GB"/>
              <a:t> </a:t>
            </a:r>
            <a:r>
              <a:rPr lang="en-GB" err="1"/>
              <a:t>accusantium</a:t>
            </a:r>
            <a:r>
              <a:rPr lang="en-GB"/>
              <a:t> </a:t>
            </a:r>
            <a:r>
              <a:rPr lang="en-GB" err="1"/>
              <a:t>doloremque</a:t>
            </a:r>
            <a:r>
              <a:rPr lang="en-GB"/>
              <a:t> </a:t>
            </a:r>
            <a:r>
              <a:rPr lang="en-GB" err="1"/>
              <a:t>laudantium</a:t>
            </a:r>
            <a:r>
              <a:rPr lang="en-GB"/>
              <a:t>, </a:t>
            </a:r>
            <a:r>
              <a:rPr lang="en-GB" err="1"/>
              <a:t>totam</a:t>
            </a:r>
            <a:r>
              <a:rPr lang="en-GB"/>
              <a:t> rem </a:t>
            </a:r>
            <a:r>
              <a:rPr lang="en-GB" err="1"/>
              <a:t>aperiam</a:t>
            </a:r>
            <a:r>
              <a:rPr lang="en-GB"/>
              <a:t>, </a:t>
            </a:r>
            <a:r>
              <a:rPr lang="en-GB" err="1"/>
              <a:t>eaque</a:t>
            </a:r>
            <a:r>
              <a:rPr lang="en-GB"/>
              <a:t> </a:t>
            </a:r>
            <a:r>
              <a:rPr lang="en-GB" err="1"/>
              <a:t>ipsa</a:t>
            </a:r>
            <a:r>
              <a:rPr lang="en-GB"/>
              <a:t> </a:t>
            </a:r>
            <a:r>
              <a:rPr lang="en-GB" err="1"/>
              <a:t>quae</a:t>
            </a:r>
            <a:r>
              <a:rPr lang="en-GB"/>
              <a:t> ab </a:t>
            </a:r>
            <a:r>
              <a:rPr lang="en-GB" err="1"/>
              <a:t>illo</a:t>
            </a:r>
            <a:r>
              <a:rPr lang="en-GB"/>
              <a:t> </a:t>
            </a:r>
            <a:r>
              <a:rPr lang="en-GB" err="1"/>
              <a:t>inventore</a:t>
            </a:r>
            <a:r>
              <a:rPr lang="en-GB"/>
              <a:t> </a:t>
            </a:r>
            <a:r>
              <a:rPr lang="en-GB" err="1"/>
              <a:t>veritatis</a:t>
            </a:r>
            <a:r>
              <a:rPr lang="en-GB"/>
              <a:t> et quasi </a:t>
            </a:r>
            <a:r>
              <a:rPr lang="en-GB" err="1"/>
              <a:t>architecto</a:t>
            </a:r>
            <a:r>
              <a:rPr lang="en-GB"/>
              <a:t> beatae vitae dicta sunt </a:t>
            </a:r>
            <a:r>
              <a:rPr lang="en-GB" err="1"/>
              <a:t>explicabo</a:t>
            </a:r>
            <a:r>
              <a:rPr lang="en-GB"/>
              <a:t>. Nemo </a:t>
            </a:r>
            <a:r>
              <a:rPr lang="en-GB" err="1"/>
              <a:t>enim</a:t>
            </a:r>
            <a:r>
              <a:rPr lang="en-GB"/>
              <a:t> </a:t>
            </a:r>
            <a:r>
              <a:rPr lang="en-GB" err="1"/>
              <a:t>ipsam</a:t>
            </a:r>
            <a:r>
              <a:rPr lang="en-GB"/>
              <a:t> </a:t>
            </a:r>
            <a:r>
              <a:rPr lang="en-GB" err="1"/>
              <a:t>voluptatem</a:t>
            </a:r>
            <a:r>
              <a:rPr lang="en-GB"/>
              <a:t> </a:t>
            </a:r>
            <a:r>
              <a:rPr lang="en-GB" err="1"/>
              <a:t>quia</a:t>
            </a:r>
            <a:r>
              <a:rPr lang="en-GB"/>
              <a:t> </a:t>
            </a:r>
            <a:r>
              <a:rPr lang="en-GB" err="1"/>
              <a:t>voluptas</a:t>
            </a:r>
            <a:r>
              <a:rPr lang="en-GB"/>
              <a:t> sit </a:t>
            </a:r>
            <a:r>
              <a:rPr lang="en-GB" err="1"/>
              <a:t>aspernatur</a:t>
            </a:r>
            <a:r>
              <a:rPr lang="en-GB"/>
              <a:t> </a:t>
            </a:r>
            <a:r>
              <a:rPr lang="en-GB" err="1"/>
              <a:t>aut</a:t>
            </a:r>
            <a:r>
              <a:rPr lang="en-GB"/>
              <a:t> </a:t>
            </a:r>
            <a:r>
              <a:rPr lang="en-GB" err="1"/>
              <a:t>odit</a:t>
            </a:r>
            <a:r>
              <a:rPr lang="en-GB"/>
              <a:t> </a:t>
            </a:r>
            <a:r>
              <a:rPr lang="en-GB" err="1"/>
              <a:t>aut</a:t>
            </a:r>
            <a:r>
              <a:rPr lang="en-GB"/>
              <a:t> fugit, </a:t>
            </a:r>
            <a:r>
              <a:rPr lang="en-GB" err="1"/>
              <a:t>sed</a:t>
            </a:r>
            <a:r>
              <a:rPr lang="en-GB"/>
              <a:t> </a:t>
            </a:r>
            <a:r>
              <a:rPr lang="en-GB" err="1"/>
              <a:t>quia</a:t>
            </a:r>
            <a:r>
              <a:rPr lang="en-GB"/>
              <a:t> </a:t>
            </a:r>
            <a:r>
              <a:rPr lang="en-GB" err="1"/>
              <a:t>consequuntur</a:t>
            </a:r>
            <a:r>
              <a:rPr lang="en-GB"/>
              <a:t> </a:t>
            </a:r>
            <a:r>
              <a:rPr lang="en-GB" err="1"/>
              <a:t>magni</a:t>
            </a:r>
            <a:r>
              <a:rPr lang="en-GB"/>
              <a:t> </a:t>
            </a:r>
            <a:r>
              <a:rPr lang="en-GB" err="1"/>
              <a:t>dolores</a:t>
            </a:r>
            <a:r>
              <a:rPr lang="en-GB"/>
              <a:t> </a:t>
            </a:r>
            <a:r>
              <a:rPr lang="en-GB" err="1"/>
              <a:t>eos</a:t>
            </a:r>
            <a:r>
              <a:rPr lang="en-GB"/>
              <a:t> qui </a:t>
            </a:r>
            <a:r>
              <a:rPr lang="en-GB" err="1"/>
              <a:t>ratione</a:t>
            </a:r>
            <a:r>
              <a:rPr lang="en-GB"/>
              <a:t> </a:t>
            </a:r>
            <a:r>
              <a:rPr lang="en-GB" err="1"/>
              <a:t>voluptatem</a:t>
            </a:r>
            <a:r>
              <a:rPr lang="en-GB"/>
              <a:t> </a:t>
            </a:r>
            <a:r>
              <a:rPr lang="en-GB" err="1"/>
              <a:t>sequi</a:t>
            </a:r>
            <a:r>
              <a:rPr lang="en-GB"/>
              <a:t> </a:t>
            </a:r>
            <a:r>
              <a:rPr lang="en-GB" err="1"/>
              <a:t>nesciunt</a:t>
            </a:r>
            <a:r>
              <a:rPr lang="en-GB"/>
              <a:t>. </a:t>
            </a:r>
            <a:r>
              <a:rPr lang="en-GB" err="1"/>
              <a:t>Neque</a:t>
            </a:r>
            <a:r>
              <a:rPr lang="en-GB"/>
              <a:t> </a:t>
            </a:r>
            <a:r>
              <a:rPr lang="en-GB" err="1"/>
              <a:t>porro</a:t>
            </a:r>
            <a:r>
              <a:rPr lang="en-GB"/>
              <a:t> </a:t>
            </a:r>
            <a:r>
              <a:rPr lang="en-GB" err="1"/>
              <a:t>quisquam</a:t>
            </a:r>
            <a:r>
              <a:rPr lang="en-GB"/>
              <a:t> </a:t>
            </a:r>
            <a:r>
              <a:rPr lang="en-GB" err="1"/>
              <a:t>est</a:t>
            </a:r>
            <a:r>
              <a:rPr lang="en-GB"/>
              <a:t>, qui </a:t>
            </a:r>
            <a:r>
              <a:rPr lang="en-GB" err="1"/>
              <a:t>dolorem</a:t>
            </a:r>
            <a:r>
              <a:rPr lang="en-GB"/>
              <a:t> ipsum </a:t>
            </a:r>
            <a:r>
              <a:rPr lang="en-GB" err="1"/>
              <a:t>quia</a:t>
            </a:r>
            <a:r>
              <a:rPr lang="en-GB"/>
              <a:t> </a:t>
            </a:r>
            <a:r>
              <a:rPr lang="en-GB" err="1"/>
              <a:t>dolor</a:t>
            </a:r>
            <a:r>
              <a:rPr lang="en-GB"/>
              <a:t> sit </a:t>
            </a:r>
            <a:r>
              <a:rPr lang="en-GB" err="1"/>
              <a:t>amet</a:t>
            </a:r>
            <a:r>
              <a:rPr lang="en-GB"/>
              <a:t>, </a:t>
            </a:r>
            <a:r>
              <a:rPr lang="en-GB" err="1"/>
              <a:t>consectetur</a:t>
            </a:r>
            <a:r>
              <a:rPr lang="en-GB"/>
              <a:t>, </a:t>
            </a:r>
            <a:r>
              <a:rPr lang="en-GB" err="1"/>
              <a:t>adipisci</a:t>
            </a:r>
            <a:r>
              <a:rPr lang="en-GB"/>
              <a:t> </a:t>
            </a:r>
            <a:r>
              <a:rPr lang="en-GB" err="1"/>
              <a:t>velit</a:t>
            </a:r>
            <a:r>
              <a:rPr lang="en-GB"/>
              <a:t>, </a:t>
            </a:r>
            <a:r>
              <a:rPr lang="en-GB" err="1"/>
              <a:t>sed</a:t>
            </a:r>
            <a:r>
              <a:rPr lang="en-GB"/>
              <a:t> </a:t>
            </a:r>
            <a:r>
              <a:rPr lang="en-GB" err="1"/>
              <a:t>quia</a:t>
            </a:r>
            <a:r>
              <a:rPr lang="en-GB"/>
              <a:t> non </a:t>
            </a:r>
            <a:r>
              <a:rPr lang="en-GB" err="1"/>
              <a:t>numquam</a:t>
            </a:r>
            <a:r>
              <a:rPr lang="en-GB"/>
              <a:t> </a:t>
            </a:r>
            <a:r>
              <a:rPr lang="en-GB" err="1"/>
              <a:t>eius</a:t>
            </a:r>
            <a:r>
              <a:rPr lang="en-GB"/>
              <a:t> </a:t>
            </a:r>
            <a:r>
              <a:rPr lang="en-GB" err="1"/>
              <a:t>modi</a:t>
            </a:r>
            <a:r>
              <a:rPr lang="en-GB"/>
              <a:t> </a:t>
            </a:r>
            <a:r>
              <a:rPr lang="en-GB" err="1"/>
              <a:t>tempora</a:t>
            </a:r>
            <a:r>
              <a:rPr lang="en-GB"/>
              <a:t> </a:t>
            </a:r>
            <a:r>
              <a:rPr lang="en-GB" err="1"/>
              <a:t>incidunt</a:t>
            </a:r>
            <a:r>
              <a:rPr lang="en-GB"/>
              <a:t> </a:t>
            </a:r>
            <a:r>
              <a:rPr lang="en-GB" err="1"/>
              <a:t>ut</a:t>
            </a:r>
            <a:r>
              <a:rPr lang="en-GB"/>
              <a:t> labore et dolore </a:t>
            </a:r>
            <a:r>
              <a:rPr lang="en-GB" err="1"/>
              <a:t>magnam</a:t>
            </a:r>
            <a:r>
              <a:rPr lang="en-GB"/>
              <a:t> </a:t>
            </a:r>
            <a:r>
              <a:rPr lang="en-GB" err="1"/>
              <a:t>aliquam</a:t>
            </a:r>
            <a:r>
              <a:rPr lang="en-GB"/>
              <a:t> </a:t>
            </a:r>
            <a:r>
              <a:rPr lang="en-GB" err="1"/>
              <a:t>quaerat</a:t>
            </a:r>
            <a:r>
              <a:rPr lang="en-GB"/>
              <a:t> </a:t>
            </a:r>
            <a:r>
              <a:rPr lang="en-GB" err="1"/>
              <a:t>voluptatem</a:t>
            </a:r>
            <a:r>
              <a:rPr lang="en-GB"/>
              <a:t>.</a:t>
            </a:r>
            <a:endParaRPr lang="en-US"/>
          </a:p>
        </p:txBody>
      </p:sp>
      <p:sp>
        <p:nvSpPr>
          <p:cNvPr id="4" name="Text Placeholder 2">
            <a:extLst>
              <a:ext uri="{FF2B5EF4-FFF2-40B4-BE49-F238E27FC236}">
                <a16:creationId xmlns:a16="http://schemas.microsoft.com/office/drawing/2014/main" id="{F5A256AF-D608-21F3-EDE3-B2B7738BFC28}"/>
              </a:ext>
            </a:extLst>
          </p:cNvPr>
          <p:cNvSpPr>
            <a:spLocks noGrp="1"/>
          </p:cNvSpPr>
          <p:nvPr>
            <p:ph type="body" sz="quarter" idx="23" hasCustomPrompt="1"/>
          </p:nvPr>
        </p:nvSpPr>
        <p:spPr>
          <a:xfrm>
            <a:off x="6420342" y="1833563"/>
            <a:ext cx="5113337" cy="4475162"/>
          </a:xfrm>
        </p:spPr>
        <p:txBody>
          <a:bodyPr/>
          <a:lstStyle>
            <a:lvl1pPr marL="0" indent="0">
              <a:buNone/>
              <a:defRPr/>
            </a:lvl1pPr>
          </a:lstStyle>
          <a:p>
            <a:pPr lvl="0"/>
            <a:r>
              <a:rPr lang="en-GB" err="1"/>
              <a:t>Sed</a:t>
            </a:r>
            <a:r>
              <a:rPr lang="en-GB"/>
              <a:t> </a:t>
            </a:r>
            <a:r>
              <a:rPr lang="en-GB" err="1"/>
              <a:t>ut</a:t>
            </a:r>
            <a:r>
              <a:rPr lang="en-GB"/>
              <a:t> </a:t>
            </a:r>
            <a:r>
              <a:rPr lang="en-GB" err="1"/>
              <a:t>perspiciatis</a:t>
            </a:r>
            <a:r>
              <a:rPr lang="en-GB"/>
              <a:t> </a:t>
            </a:r>
            <a:r>
              <a:rPr lang="en-GB" err="1"/>
              <a:t>unde</a:t>
            </a:r>
            <a:r>
              <a:rPr lang="en-GB"/>
              <a:t> </a:t>
            </a:r>
            <a:r>
              <a:rPr lang="en-GB" err="1"/>
              <a:t>omnis</a:t>
            </a:r>
            <a:r>
              <a:rPr lang="en-GB"/>
              <a:t> </a:t>
            </a:r>
            <a:r>
              <a:rPr lang="en-GB" err="1"/>
              <a:t>iste</a:t>
            </a:r>
            <a:r>
              <a:rPr lang="en-GB"/>
              <a:t> </a:t>
            </a:r>
            <a:r>
              <a:rPr lang="en-GB" err="1"/>
              <a:t>natus</a:t>
            </a:r>
            <a:r>
              <a:rPr lang="en-GB"/>
              <a:t> error sit </a:t>
            </a:r>
            <a:r>
              <a:rPr lang="en-GB" err="1"/>
              <a:t>voluptatem</a:t>
            </a:r>
            <a:r>
              <a:rPr lang="en-GB"/>
              <a:t> </a:t>
            </a:r>
            <a:r>
              <a:rPr lang="en-GB" err="1"/>
              <a:t>accusantium</a:t>
            </a:r>
            <a:r>
              <a:rPr lang="en-GB"/>
              <a:t> </a:t>
            </a:r>
            <a:r>
              <a:rPr lang="en-GB" err="1"/>
              <a:t>doloremque</a:t>
            </a:r>
            <a:r>
              <a:rPr lang="en-GB"/>
              <a:t> </a:t>
            </a:r>
            <a:r>
              <a:rPr lang="en-GB" err="1"/>
              <a:t>laudantium</a:t>
            </a:r>
            <a:r>
              <a:rPr lang="en-GB"/>
              <a:t>, </a:t>
            </a:r>
            <a:r>
              <a:rPr lang="en-GB" err="1"/>
              <a:t>totam</a:t>
            </a:r>
            <a:r>
              <a:rPr lang="en-GB"/>
              <a:t> rem </a:t>
            </a:r>
            <a:r>
              <a:rPr lang="en-GB" err="1"/>
              <a:t>aperiam</a:t>
            </a:r>
            <a:r>
              <a:rPr lang="en-GB"/>
              <a:t>, </a:t>
            </a:r>
            <a:r>
              <a:rPr lang="en-GB" err="1"/>
              <a:t>eaque</a:t>
            </a:r>
            <a:r>
              <a:rPr lang="en-GB"/>
              <a:t> </a:t>
            </a:r>
            <a:r>
              <a:rPr lang="en-GB" err="1"/>
              <a:t>ipsa</a:t>
            </a:r>
            <a:r>
              <a:rPr lang="en-GB"/>
              <a:t> </a:t>
            </a:r>
            <a:r>
              <a:rPr lang="en-GB" err="1"/>
              <a:t>quae</a:t>
            </a:r>
            <a:r>
              <a:rPr lang="en-GB"/>
              <a:t> ab </a:t>
            </a:r>
            <a:r>
              <a:rPr lang="en-GB" err="1"/>
              <a:t>illo</a:t>
            </a:r>
            <a:r>
              <a:rPr lang="en-GB"/>
              <a:t> </a:t>
            </a:r>
            <a:r>
              <a:rPr lang="en-GB" err="1"/>
              <a:t>inventore</a:t>
            </a:r>
            <a:r>
              <a:rPr lang="en-GB"/>
              <a:t> </a:t>
            </a:r>
            <a:r>
              <a:rPr lang="en-GB" err="1"/>
              <a:t>veritatis</a:t>
            </a:r>
            <a:r>
              <a:rPr lang="en-GB"/>
              <a:t> et quasi </a:t>
            </a:r>
            <a:r>
              <a:rPr lang="en-GB" err="1"/>
              <a:t>architecto</a:t>
            </a:r>
            <a:r>
              <a:rPr lang="en-GB"/>
              <a:t> beatae vitae dicta sunt </a:t>
            </a:r>
            <a:r>
              <a:rPr lang="en-GB" err="1"/>
              <a:t>explicabo</a:t>
            </a:r>
            <a:r>
              <a:rPr lang="en-GB"/>
              <a:t>. Nemo </a:t>
            </a:r>
            <a:r>
              <a:rPr lang="en-GB" err="1"/>
              <a:t>enim</a:t>
            </a:r>
            <a:r>
              <a:rPr lang="en-GB"/>
              <a:t> </a:t>
            </a:r>
            <a:r>
              <a:rPr lang="en-GB" err="1"/>
              <a:t>ipsam</a:t>
            </a:r>
            <a:r>
              <a:rPr lang="en-GB"/>
              <a:t> </a:t>
            </a:r>
            <a:r>
              <a:rPr lang="en-GB" err="1"/>
              <a:t>voluptatem</a:t>
            </a:r>
            <a:r>
              <a:rPr lang="en-GB"/>
              <a:t> </a:t>
            </a:r>
            <a:r>
              <a:rPr lang="en-GB" err="1"/>
              <a:t>quia</a:t>
            </a:r>
            <a:r>
              <a:rPr lang="en-GB"/>
              <a:t> </a:t>
            </a:r>
            <a:r>
              <a:rPr lang="en-GB" err="1"/>
              <a:t>voluptas</a:t>
            </a:r>
            <a:r>
              <a:rPr lang="en-GB"/>
              <a:t> sit </a:t>
            </a:r>
            <a:r>
              <a:rPr lang="en-GB" err="1"/>
              <a:t>aspernatur</a:t>
            </a:r>
            <a:r>
              <a:rPr lang="en-GB"/>
              <a:t> </a:t>
            </a:r>
            <a:r>
              <a:rPr lang="en-GB" err="1"/>
              <a:t>aut</a:t>
            </a:r>
            <a:r>
              <a:rPr lang="en-GB"/>
              <a:t> </a:t>
            </a:r>
            <a:r>
              <a:rPr lang="en-GB" err="1"/>
              <a:t>odit</a:t>
            </a:r>
            <a:r>
              <a:rPr lang="en-GB"/>
              <a:t> </a:t>
            </a:r>
            <a:r>
              <a:rPr lang="en-GB" err="1"/>
              <a:t>aut</a:t>
            </a:r>
            <a:r>
              <a:rPr lang="en-GB"/>
              <a:t> fugit, </a:t>
            </a:r>
            <a:r>
              <a:rPr lang="en-GB" err="1"/>
              <a:t>sed</a:t>
            </a:r>
            <a:r>
              <a:rPr lang="en-GB"/>
              <a:t> </a:t>
            </a:r>
            <a:r>
              <a:rPr lang="en-GB" err="1"/>
              <a:t>quia</a:t>
            </a:r>
            <a:r>
              <a:rPr lang="en-GB"/>
              <a:t> </a:t>
            </a:r>
            <a:r>
              <a:rPr lang="en-GB" err="1"/>
              <a:t>consequuntur</a:t>
            </a:r>
            <a:r>
              <a:rPr lang="en-GB"/>
              <a:t> </a:t>
            </a:r>
            <a:r>
              <a:rPr lang="en-GB" err="1"/>
              <a:t>magni</a:t>
            </a:r>
            <a:r>
              <a:rPr lang="en-GB"/>
              <a:t> </a:t>
            </a:r>
            <a:r>
              <a:rPr lang="en-GB" err="1"/>
              <a:t>dolores</a:t>
            </a:r>
            <a:r>
              <a:rPr lang="en-GB"/>
              <a:t> </a:t>
            </a:r>
            <a:r>
              <a:rPr lang="en-GB" err="1"/>
              <a:t>eos</a:t>
            </a:r>
            <a:r>
              <a:rPr lang="en-GB"/>
              <a:t> qui </a:t>
            </a:r>
            <a:r>
              <a:rPr lang="en-GB" err="1"/>
              <a:t>ratione</a:t>
            </a:r>
            <a:r>
              <a:rPr lang="en-GB"/>
              <a:t> </a:t>
            </a:r>
            <a:r>
              <a:rPr lang="en-GB" err="1"/>
              <a:t>voluptatem</a:t>
            </a:r>
            <a:r>
              <a:rPr lang="en-GB"/>
              <a:t> </a:t>
            </a:r>
            <a:r>
              <a:rPr lang="en-GB" err="1"/>
              <a:t>sequi</a:t>
            </a:r>
            <a:r>
              <a:rPr lang="en-GB"/>
              <a:t> </a:t>
            </a:r>
            <a:r>
              <a:rPr lang="en-GB" err="1"/>
              <a:t>nesciunt</a:t>
            </a:r>
            <a:r>
              <a:rPr lang="en-GB"/>
              <a:t>. </a:t>
            </a:r>
            <a:r>
              <a:rPr lang="en-GB" err="1"/>
              <a:t>Neque</a:t>
            </a:r>
            <a:r>
              <a:rPr lang="en-GB"/>
              <a:t> </a:t>
            </a:r>
            <a:r>
              <a:rPr lang="en-GB" err="1"/>
              <a:t>porro</a:t>
            </a:r>
            <a:r>
              <a:rPr lang="en-GB"/>
              <a:t> </a:t>
            </a:r>
            <a:r>
              <a:rPr lang="en-GB" err="1"/>
              <a:t>quisquam</a:t>
            </a:r>
            <a:r>
              <a:rPr lang="en-GB"/>
              <a:t> </a:t>
            </a:r>
            <a:r>
              <a:rPr lang="en-GB" err="1"/>
              <a:t>est</a:t>
            </a:r>
            <a:r>
              <a:rPr lang="en-GB"/>
              <a:t>, qui </a:t>
            </a:r>
            <a:r>
              <a:rPr lang="en-GB" err="1"/>
              <a:t>dolorem</a:t>
            </a:r>
            <a:r>
              <a:rPr lang="en-GB"/>
              <a:t> ipsum </a:t>
            </a:r>
            <a:r>
              <a:rPr lang="en-GB" err="1"/>
              <a:t>quia</a:t>
            </a:r>
            <a:r>
              <a:rPr lang="en-GB"/>
              <a:t> </a:t>
            </a:r>
            <a:r>
              <a:rPr lang="en-GB" err="1"/>
              <a:t>dolor</a:t>
            </a:r>
            <a:r>
              <a:rPr lang="en-GB"/>
              <a:t> sit </a:t>
            </a:r>
            <a:r>
              <a:rPr lang="en-GB" err="1"/>
              <a:t>amet</a:t>
            </a:r>
            <a:r>
              <a:rPr lang="en-GB"/>
              <a:t>, </a:t>
            </a:r>
            <a:r>
              <a:rPr lang="en-GB" err="1"/>
              <a:t>consectetur</a:t>
            </a:r>
            <a:r>
              <a:rPr lang="en-GB"/>
              <a:t>, </a:t>
            </a:r>
            <a:r>
              <a:rPr lang="en-GB" err="1"/>
              <a:t>adipisci</a:t>
            </a:r>
            <a:r>
              <a:rPr lang="en-GB"/>
              <a:t> </a:t>
            </a:r>
            <a:r>
              <a:rPr lang="en-GB" err="1"/>
              <a:t>velit</a:t>
            </a:r>
            <a:r>
              <a:rPr lang="en-GB"/>
              <a:t>, </a:t>
            </a:r>
            <a:r>
              <a:rPr lang="en-GB" err="1"/>
              <a:t>sed</a:t>
            </a:r>
            <a:r>
              <a:rPr lang="en-GB"/>
              <a:t> </a:t>
            </a:r>
            <a:r>
              <a:rPr lang="en-GB" err="1"/>
              <a:t>quia</a:t>
            </a:r>
            <a:r>
              <a:rPr lang="en-GB"/>
              <a:t> non </a:t>
            </a:r>
            <a:r>
              <a:rPr lang="en-GB" err="1"/>
              <a:t>numquam</a:t>
            </a:r>
            <a:r>
              <a:rPr lang="en-GB"/>
              <a:t> </a:t>
            </a:r>
            <a:r>
              <a:rPr lang="en-GB" err="1"/>
              <a:t>eius</a:t>
            </a:r>
            <a:r>
              <a:rPr lang="en-GB"/>
              <a:t> </a:t>
            </a:r>
            <a:r>
              <a:rPr lang="en-GB" err="1"/>
              <a:t>modi</a:t>
            </a:r>
            <a:r>
              <a:rPr lang="en-GB"/>
              <a:t> </a:t>
            </a:r>
            <a:r>
              <a:rPr lang="en-GB" err="1"/>
              <a:t>tempora</a:t>
            </a:r>
            <a:r>
              <a:rPr lang="en-GB"/>
              <a:t> </a:t>
            </a:r>
            <a:r>
              <a:rPr lang="en-GB" err="1"/>
              <a:t>incidunt</a:t>
            </a:r>
            <a:r>
              <a:rPr lang="en-GB"/>
              <a:t> </a:t>
            </a:r>
            <a:r>
              <a:rPr lang="en-GB" err="1"/>
              <a:t>ut</a:t>
            </a:r>
            <a:r>
              <a:rPr lang="en-GB"/>
              <a:t> labore et dolore </a:t>
            </a:r>
            <a:r>
              <a:rPr lang="en-GB" err="1"/>
              <a:t>magnam</a:t>
            </a:r>
            <a:r>
              <a:rPr lang="en-GB"/>
              <a:t> </a:t>
            </a:r>
            <a:r>
              <a:rPr lang="en-GB" err="1"/>
              <a:t>aliquam</a:t>
            </a:r>
            <a:r>
              <a:rPr lang="en-GB"/>
              <a:t> </a:t>
            </a:r>
            <a:r>
              <a:rPr lang="en-GB" err="1"/>
              <a:t>quaerat</a:t>
            </a:r>
            <a:r>
              <a:rPr lang="en-GB"/>
              <a:t> </a:t>
            </a:r>
            <a:r>
              <a:rPr lang="en-GB" err="1"/>
              <a:t>voluptatem</a:t>
            </a:r>
            <a:r>
              <a:rPr lang="en-GB"/>
              <a:t>.</a:t>
            </a:r>
            <a:endParaRPr lang="en-US"/>
          </a:p>
        </p:txBody>
      </p:sp>
    </p:spTree>
    <p:extLst>
      <p:ext uri="{BB962C8B-B14F-4D97-AF65-F5344CB8AC3E}">
        <p14:creationId xmlns:p14="http://schemas.microsoft.com/office/powerpoint/2010/main" val="221138936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Ripple Left">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id="{240D5921-FD2C-1B1F-1965-9B2EA10E80F6}"/>
              </a:ext>
            </a:extLst>
          </p:cNvPr>
          <p:cNvSpPr/>
          <p:nvPr userDrawn="1"/>
        </p:nvSpPr>
        <p:spPr>
          <a:xfrm>
            <a:off x="-3526153"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47DA86"/>
          </a:solidFill>
          <a:ln w="6350" cap="flat">
            <a:noFill/>
            <a:prstDash val="solid"/>
            <a:miter/>
          </a:ln>
        </p:spPr>
        <p:txBody>
          <a:bodyPr rtlCol="0" anchor="ctr"/>
          <a:lstStyle/>
          <a:p>
            <a:endParaRPr lang="en-NL"/>
          </a:p>
        </p:txBody>
      </p:sp>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5076496" y="1301534"/>
            <a:ext cx="6456691" cy="1792121"/>
          </a:xfrm>
        </p:spPr>
        <p:txBody>
          <a:bodyPr anchor="b" anchorCtr="0">
            <a:normAutofit/>
          </a:bodyPr>
          <a:lstStyle>
            <a:lvl1pPr marL="0" indent="0">
              <a:lnSpc>
                <a:spcPct val="100000"/>
              </a:lnSpc>
              <a:spcBef>
                <a:spcPts val="0"/>
              </a:spcBef>
              <a:buNone/>
              <a:defRPr sz="6500" b="1"/>
            </a:lvl1pPr>
          </a:lstStyle>
          <a:p>
            <a:pPr lvl="0"/>
            <a:r>
              <a:rPr lang="en-GB"/>
              <a:t>A captivating headline</a:t>
            </a:r>
            <a:endParaRPr lang="en-NL"/>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5076496" y="3336416"/>
            <a:ext cx="6456692" cy="2972309"/>
          </a:xfrm>
        </p:spPr>
        <p:txBody>
          <a:bodyPr>
            <a:noAutofit/>
          </a:bodyPr>
          <a:lstStyle>
            <a:lvl1pPr marL="0" indent="0">
              <a:buNone/>
              <a:defRPr sz="14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endParaRPr lang="en-NL"/>
          </a:p>
        </p:txBody>
      </p:sp>
      <p:sp>
        <p:nvSpPr>
          <p:cNvPr id="6" name="Graphic 2">
            <a:extLst>
              <a:ext uri="{FF2B5EF4-FFF2-40B4-BE49-F238E27FC236}">
                <a16:creationId xmlns:a16="http://schemas.microsoft.com/office/drawing/2014/main" id="{0D41788D-3FC1-F2E5-3AE8-F3D01A9B34F7}"/>
              </a:ext>
            </a:extLst>
          </p:cNvPr>
          <p:cNvSpPr>
            <a:spLocks noChangeAspect="1"/>
          </p:cNvSpPr>
          <p:nvPr userDrawn="1"/>
        </p:nvSpPr>
        <p:spPr>
          <a:xfrm>
            <a:off x="11707563" y="118453"/>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NL"/>
          </a:p>
        </p:txBody>
      </p:sp>
      <p:sp>
        <p:nvSpPr>
          <p:cNvPr id="10" name="Slide Number Placeholder 9">
            <a:extLst>
              <a:ext uri="{FF2B5EF4-FFF2-40B4-BE49-F238E27FC236}">
                <a16:creationId xmlns:a16="http://schemas.microsoft.com/office/drawing/2014/main" id="{6CBA512E-95CE-E3D0-1165-112A0F3F6CAE}"/>
              </a:ext>
            </a:extLst>
          </p:cNvPr>
          <p:cNvSpPr>
            <a:spLocks noGrp="1"/>
          </p:cNvSpPr>
          <p:nvPr>
            <p:ph type="sldNum" sz="quarter" idx="18"/>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323144414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Ripple Right">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658813" y="1301534"/>
            <a:ext cx="6456691" cy="1792121"/>
          </a:xfrm>
        </p:spPr>
        <p:txBody>
          <a:bodyPr anchor="b" anchorCtr="0">
            <a:normAutofit/>
          </a:bodyPr>
          <a:lstStyle>
            <a:lvl1pPr marL="0" indent="0">
              <a:lnSpc>
                <a:spcPct val="100000"/>
              </a:lnSpc>
              <a:spcBef>
                <a:spcPts val="0"/>
              </a:spcBef>
              <a:buNone/>
              <a:defRPr sz="6500" b="1"/>
            </a:lvl1pPr>
          </a:lstStyle>
          <a:p>
            <a:pPr lvl="0"/>
            <a:r>
              <a:rPr lang="en-GB"/>
              <a:t>A captivating headline</a:t>
            </a:r>
            <a:endParaRPr lang="en-NL"/>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658813" y="3336416"/>
            <a:ext cx="6456690" cy="2972309"/>
          </a:xfrm>
        </p:spPr>
        <p:txBody>
          <a:bodyPr>
            <a:noAutofit/>
          </a:bodyPr>
          <a:lstStyle>
            <a:lvl1pPr marL="0" indent="0">
              <a:buNone/>
              <a:defRPr sz="14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endParaRPr lang="en-NL"/>
          </a:p>
        </p:txBody>
      </p:sp>
      <p:sp>
        <p:nvSpPr>
          <p:cNvPr id="3" name="Graphic 2">
            <a:extLst>
              <a:ext uri="{FF2B5EF4-FFF2-40B4-BE49-F238E27FC236}">
                <a16:creationId xmlns:a16="http://schemas.microsoft.com/office/drawing/2014/main" id="{B25CF752-074D-9B3E-B631-8489DEFC32EC}"/>
              </a:ext>
            </a:extLst>
          </p:cNvPr>
          <p:cNvSpPr/>
          <p:nvPr userDrawn="1"/>
        </p:nvSpPr>
        <p:spPr>
          <a:xfrm>
            <a:off x="7594280"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47DA86"/>
          </a:solidFill>
          <a:ln w="6350" cap="flat">
            <a:noFill/>
            <a:prstDash val="solid"/>
            <a:miter/>
          </a:ln>
        </p:spPr>
        <p:txBody>
          <a:bodyPr rtlCol="0" anchor="ctr"/>
          <a:lstStyle/>
          <a:p>
            <a:endParaRPr lang="en-NL"/>
          </a:p>
        </p:txBody>
      </p:sp>
      <p:sp>
        <p:nvSpPr>
          <p:cNvPr id="10" name="Slide Number Placeholder 9">
            <a:extLst>
              <a:ext uri="{FF2B5EF4-FFF2-40B4-BE49-F238E27FC236}">
                <a16:creationId xmlns:a16="http://schemas.microsoft.com/office/drawing/2014/main" id="{A9648C54-60DB-26A4-D087-869DAC88F7B1}"/>
              </a:ext>
            </a:extLst>
          </p:cNvPr>
          <p:cNvSpPr>
            <a:spLocks noGrp="1"/>
          </p:cNvSpPr>
          <p:nvPr>
            <p:ph type="sldNum" sz="quarter" idx="18"/>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325831518"/>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Left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D9C48D4-ECFD-CEC8-289E-27619A8853D0}"/>
              </a:ext>
            </a:extLst>
          </p:cNvPr>
          <p:cNvSpPr>
            <a:spLocks noGrp="1"/>
          </p:cNvSpPr>
          <p:nvPr>
            <p:ph type="pic" sz="quarter" idx="19"/>
          </p:nvPr>
        </p:nvSpPr>
        <p:spPr>
          <a:xfrm>
            <a:off x="0" y="-1"/>
            <a:ext cx="5681120" cy="6860681"/>
          </a:xfrm>
          <a:custGeom>
            <a:avLst/>
            <a:gdLst>
              <a:gd name="connsiteX0" fmla="*/ 2401045 w 5681120"/>
              <a:gd name="connsiteY0" fmla="*/ 1 h 6860681"/>
              <a:gd name="connsiteX1" fmla="*/ 2801249 w 5681120"/>
              <a:gd name="connsiteY1" fmla="*/ 180595 h 6860681"/>
              <a:gd name="connsiteX2" fmla="*/ 4670917 w 5681120"/>
              <a:gd name="connsiteY2" fmla="*/ 2390776 h 6860681"/>
              <a:gd name="connsiteX3" fmla="*/ 4588491 w 5681120"/>
              <a:gd name="connsiteY3" fmla="*/ 5293107 h 6860681"/>
              <a:gd name="connsiteX4" fmla="*/ 3262051 w 5681120"/>
              <a:gd name="connsiteY4" fmla="*/ 6858001 h 6860681"/>
              <a:gd name="connsiteX5" fmla="*/ 3618408 w 5681120"/>
              <a:gd name="connsiteY5" fmla="*/ 6858001 h 6860681"/>
              <a:gd name="connsiteX6" fmla="*/ 5269351 w 5681120"/>
              <a:gd name="connsiteY6" fmla="*/ 3013902 h 6860681"/>
              <a:gd name="connsiteX7" fmla="*/ 3373222 w 5681120"/>
              <a:gd name="connsiteY7" fmla="*/ 154751 h 6860681"/>
              <a:gd name="connsiteX8" fmla="*/ 3087362 w 5681120"/>
              <a:gd name="connsiteY8" fmla="*/ 1 h 6860681"/>
              <a:gd name="connsiteX9" fmla="*/ 0 w 5681120"/>
              <a:gd name="connsiteY9" fmla="*/ 0 h 6860681"/>
              <a:gd name="connsiteX10" fmla="*/ 3888685 w 5681120"/>
              <a:gd name="connsiteY10" fmla="*/ 0 h 6860681"/>
              <a:gd name="connsiteX11" fmla="*/ 5437733 w 5681120"/>
              <a:gd name="connsiteY11" fmla="*/ 5161393 h 6860681"/>
              <a:gd name="connsiteX12" fmla="*/ 4096079 w 5681120"/>
              <a:gd name="connsiteY12" fmla="*/ 6860681 h 6860681"/>
              <a:gd name="connsiteX13" fmla="*/ 0 w 5681120"/>
              <a:gd name="connsiteY13" fmla="*/ 6860681 h 686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1120" h="6860681">
                <a:moveTo>
                  <a:pt x="2401045" y="1"/>
                </a:moveTo>
                <a:cubicBezTo>
                  <a:pt x="2536900" y="51563"/>
                  <a:pt x="2670470" y="111761"/>
                  <a:pt x="2801249" y="180595"/>
                </a:cubicBezTo>
                <a:cubicBezTo>
                  <a:pt x="3667521" y="635700"/>
                  <a:pt x="4330932" y="1420941"/>
                  <a:pt x="4670917" y="2390776"/>
                </a:cubicBezTo>
                <a:cubicBezTo>
                  <a:pt x="5011728" y="3362644"/>
                  <a:pt x="4982476" y="4393376"/>
                  <a:pt x="4588491" y="5293107"/>
                </a:cubicBezTo>
                <a:cubicBezTo>
                  <a:pt x="4303646" y="5943665"/>
                  <a:pt x="3845002" y="6480621"/>
                  <a:pt x="3262051" y="6858001"/>
                </a:cubicBezTo>
                <a:lnTo>
                  <a:pt x="3618408" y="6858001"/>
                </a:lnTo>
                <a:cubicBezTo>
                  <a:pt x="4810199" y="6005133"/>
                  <a:pt x="5490171" y="4511613"/>
                  <a:pt x="5269351" y="3013902"/>
                </a:cubicBezTo>
                <a:cubicBezTo>
                  <a:pt x="5097201" y="1810831"/>
                  <a:pt x="4406061" y="768669"/>
                  <a:pt x="3373222" y="154751"/>
                </a:cubicBezTo>
                <a:cubicBezTo>
                  <a:pt x="3279501" y="99125"/>
                  <a:pt x="3184129" y="47499"/>
                  <a:pt x="3087362" y="1"/>
                </a:cubicBezTo>
                <a:close/>
                <a:moveTo>
                  <a:pt x="0" y="0"/>
                </a:moveTo>
                <a:lnTo>
                  <a:pt x="3888685" y="0"/>
                </a:lnTo>
                <a:cubicBezTo>
                  <a:pt x="5541875" y="1030183"/>
                  <a:pt x="6033690" y="3349918"/>
                  <a:pt x="5437733" y="5161393"/>
                </a:cubicBezTo>
                <a:cubicBezTo>
                  <a:pt x="5188744" y="5932457"/>
                  <a:pt x="4704167" y="6494906"/>
                  <a:pt x="4096079" y="6860681"/>
                </a:cubicBezTo>
                <a:cubicBezTo>
                  <a:pt x="4096079" y="6860681"/>
                  <a:pt x="0" y="6860681"/>
                  <a:pt x="0" y="6860681"/>
                </a:cubicBezTo>
                <a:close/>
              </a:path>
            </a:pathLst>
          </a:custGeom>
        </p:spPr>
        <p:txBody>
          <a:bodyPr wrap="square" anchor="ctr">
            <a:noAutofit/>
          </a:bodyPr>
          <a:lstStyle>
            <a:lvl1pPr marL="0" marR="0" indent="0" algn="ctr" defTabSz="914400" rtl="0" eaLnBrk="1" fontAlgn="auto" latinLnBrk="0" hangingPunct="1">
              <a:lnSpc>
                <a:spcPct val="100000"/>
              </a:lnSpc>
              <a:spcBef>
                <a:spcPts val="1000"/>
              </a:spcBef>
              <a:spcAft>
                <a:spcPts val="1000"/>
              </a:spcAft>
              <a:buClr>
                <a:srgbClr val="47DA86"/>
              </a:buClr>
              <a:buSzTx/>
              <a:buFont typeface="Arial" panose="020B0604020202020204" pitchFamily="34" charset="0"/>
              <a:buNone/>
              <a:tabLst/>
              <a:defRPr>
                <a:solidFill>
                  <a:schemeClr val="bg1"/>
                </a:solidFill>
              </a:defRPr>
            </a:lvl1pPr>
          </a:lstStyle>
          <a:p>
            <a:r>
              <a:rPr lang="en-US"/>
              <a:t>Click icon to add picture</a:t>
            </a:r>
          </a:p>
        </p:txBody>
      </p:sp>
      <p:sp>
        <p:nvSpPr>
          <p:cNvPr id="23" name="Text Placeholder 11">
            <a:extLst>
              <a:ext uri="{FF2B5EF4-FFF2-40B4-BE49-F238E27FC236}">
                <a16:creationId xmlns:a16="http://schemas.microsoft.com/office/drawing/2014/main" id="{0A4BC4EF-459A-7845-F619-515A9AFC49DB}"/>
              </a:ext>
            </a:extLst>
          </p:cNvPr>
          <p:cNvSpPr>
            <a:spLocks noGrp="1"/>
          </p:cNvSpPr>
          <p:nvPr>
            <p:ph type="body" sz="quarter" idx="17" hasCustomPrompt="1"/>
          </p:nvPr>
        </p:nvSpPr>
        <p:spPr>
          <a:xfrm>
            <a:off x="6419850" y="2862668"/>
            <a:ext cx="5113339" cy="3446057"/>
          </a:xfrm>
        </p:spPr>
        <p:txBody>
          <a:bodyPr>
            <a:noAutofit/>
          </a:bodyPr>
          <a:lstStyle>
            <a:lvl1pPr marL="0" indent="0">
              <a:buNone/>
              <a:defRPr sz="1400" b="0">
                <a:solidFill>
                  <a:schemeClr val="bg1"/>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endParaRPr lang="en-NL"/>
          </a:p>
        </p:txBody>
      </p:sp>
      <p:sp>
        <p:nvSpPr>
          <p:cNvPr id="32" name="Text Placeholder 11">
            <a:extLst>
              <a:ext uri="{FF2B5EF4-FFF2-40B4-BE49-F238E27FC236}">
                <a16:creationId xmlns:a16="http://schemas.microsoft.com/office/drawing/2014/main" id="{1B2E71AF-560B-8492-C46B-152A4A3B96DE}"/>
              </a:ext>
            </a:extLst>
          </p:cNvPr>
          <p:cNvSpPr>
            <a:spLocks noGrp="1"/>
          </p:cNvSpPr>
          <p:nvPr>
            <p:ph type="body" sz="quarter" idx="18" hasCustomPrompt="1"/>
          </p:nvPr>
        </p:nvSpPr>
        <p:spPr>
          <a:xfrm>
            <a:off x="6420385" y="549275"/>
            <a:ext cx="5110714" cy="2120893"/>
          </a:xfrm>
        </p:spPr>
        <p:txBody>
          <a:bodyPr anchor="b" anchorCtr="0">
            <a:noAutofit/>
          </a:bodyPr>
          <a:lstStyle>
            <a:lvl1pPr marL="0" indent="0">
              <a:buNone/>
              <a:defRPr sz="4000" b="1">
                <a:solidFill>
                  <a:schemeClr val="bg1"/>
                </a:solidFill>
              </a:defRPr>
            </a:lvl1pPr>
          </a:lstStyle>
          <a:p>
            <a:pPr lvl="0"/>
            <a:r>
              <a:rPr lang="en-GB"/>
              <a:t>A captivating headline</a:t>
            </a:r>
            <a:endParaRPr lang="en-NL"/>
          </a:p>
        </p:txBody>
      </p:sp>
      <p:sp>
        <p:nvSpPr>
          <p:cNvPr id="3" name="Slide Number Placeholder 2">
            <a:extLst>
              <a:ext uri="{FF2B5EF4-FFF2-40B4-BE49-F238E27FC236}">
                <a16:creationId xmlns:a16="http://schemas.microsoft.com/office/drawing/2014/main" id="{40B036C2-4F5F-9FD4-809E-3237384E8560}"/>
              </a:ext>
            </a:extLst>
          </p:cNvPr>
          <p:cNvSpPr>
            <a:spLocks noGrp="1"/>
          </p:cNvSpPr>
          <p:nvPr>
            <p:ph type="sldNum" sz="quarter" idx="20"/>
          </p:nvPr>
        </p:nvSpPr>
        <p:spPr/>
        <p:txBody>
          <a:bodyPr/>
          <a:lstStyle/>
          <a:p>
            <a:fld id="{0994303E-A424-9540-91A8-53B791C91E8F}" type="slidenum">
              <a:rPr lang="en-NL" smtClean="0"/>
              <a:pPr/>
              <a:t>‹#›</a:t>
            </a:fld>
            <a:endParaRPr lang="en-NL"/>
          </a:p>
        </p:txBody>
      </p:sp>
      <p:sp>
        <p:nvSpPr>
          <p:cNvPr id="5" name="Graphic 8">
            <a:extLst>
              <a:ext uri="{FF2B5EF4-FFF2-40B4-BE49-F238E27FC236}">
                <a16:creationId xmlns:a16="http://schemas.microsoft.com/office/drawing/2014/main" id="{2B051417-E233-CE79-D9EA-45CDB44E25B2}"/>
              </a:ext>
            </a:extLst>
          </p:cNvPr>
          <p:cNvSpPr>
            <a:spLocks noChangeAspect="1"/>
          </p:cNvSpPr>
          <p:nvPr userDrawn="1"/>
        </p:nvSpPr>
        <p:spPr>
          <a:xfrm flipH="1">
            <a:off x="2401046"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US"/>
          </a:p>
        </p:txBody>
      </p:sp>
      <p:sp>
        <p:nvSpPr>
          <p:cNvPr id="6" name="Graphic 2">
            <a:extLst>
              <a:ext uri="{FF2B5EF4-FFF2-40B4-BE49-F238E27FC236}">
                <a16:creationId xmlns:a16="http://schemas.microsoft.com/office/drawing/2014/main" id="{AE3CC5F3-12D4-E516-405A-79FF73775DC0}"/>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NL"/>
          </a:p>
        </p:txBody>
      </p:sp>
    </p:spTree>
    <p:extLst>
      <p:ext uri="{BB962C8B-B14F-4D97-AF65-F5344CB8AC3E}">
        <p14:creationId xmlns:p14="http://schemas.microsoft.com/office/powerpoint/2010/main" val="167873659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Right Imag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2" y="549275"/>
            <a:ext cx="5113337" cy="2141213"/>
          </a:xfrm>
        </p:spPr>
        <p:txBody>
          <a:bodyPr anchor="b" anchorCtr="0">
            <a:noAutofit/>
          </a:bodyPr>
          <a:lstStyle>
            <a:lvl1pPr marL="0" indent="0">
              <a:buNone/>
              <a:defRPr sz="4000" b="1"/>
            </a:lvl1pPr>
          </a:lstStyle>
          <a:p>
            <a:pPr lvl="0"/>
            <a:r>
              <a:rPr lang="en-GB"/>
              <a:t>A captivating headline</a:t>
            </a:r>
            <a:endParaRPr lang="en-NL"/>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2" y="2882988"/>
            <a:ext cx="5113337" cy="3425737"/>
          </a:xfrm>
        </p:spPr>
        <p:txBody>
          <a:bodyPr>
            <a:noAutofit/>
          </a:bodyPr>
          <a:lstStyle>
            <a:lvl1pPr marL="0" indent="0">
              <a:buNone/>
              <a:defRPr sz="14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endParaRPr lang="en-NL"/>
          </a:p>
        </p:txBody>
      </p:sp>
      <p:sp>
        <p:nvSpPr>
          <p:cNvPr id="7" name="Picture Placeholder 6">
            <a:extLst>
              <a:ext uri="{FF2B5EF4-FFF2-40B4-BE49-F238E27FC236}">
                <a16:creationId xmlns:a16="http://schemas.microsoft.com/office/drawing/2014/main" id="{3C3DE87B-F3CF-8604-3151-9C19D269FDA0}"/>
              </a:ext>
            </a:extLst>
          </p:cNvPr>
          <p:cNvSpPr>
            <a:spLocks noGrp="1"/>
          </p:cNvSpPr>
          <p:nvPr>
            <p:ph type="pic" sz="quarter" idx="18"/>
          </p:nvPr>
        </p:nvSpPr>
        <p:spPr>
          <a:xfrm>
            <a:off x="6873225" y="0"/>
            <a:ext cx="5318775" cy="6860682"/>
          </a:xfrm>
          <a:custGeom>
            <a:avLst/>
            <a:gdLst>
              <a:gd name="connsiteX0" fmla="*/ 1792436 w 5318775"/>
              <a:gd name="connsiteY0" fmla="*/ 0 h 6860682"/>
              <a:gd name="connsiteX1" fmla="*/ 5318775 w 5318775"/>
              <a:gd name="connsiteY1" fmla="*/ 0 h 6860682"/>
              <a:gd name="connsiteX2" fmla="*/ 5318775 w 5318775"/>
              <a:gd name="connsiteY2" fmla="*/ 6860682 h 6860682"/>
              <a:gd name="connsiteX3" fmla="*/ 1585041 w 5318775"/>
              <a:gd name="connsiteY3" fmla="*/ 6860682 h 6860682"/>
              <a:gd name="connsiteX4" fmla="*/ 243389 w 5318775"/>
              <a:gd name="connsiteY4" fmla="*/ 5161393 h 6860682"/>
              <a:gd name="connsiteX5" fmla="*/ 1792436 w 5318775"/>
              <a:gd name="connsiteY5" fmla="*/ 0 h 686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8775" h="6860682">
                <a:moveTo>
                  <a:pt x="1792436" y="0"/>
                </a:moveTo>
                <a:lnTo>
                  <a:pt x="5318775" y="0"/>
                </a:lnTo>
                <a:lnTo>
                  <a:pt x="5318775" y="6860682"/>
                </a:lnTo>
                <a:lnTo>
                  <a:pt x="1585041" y="6860682"/>
                </a:lnTo>
                <a:cubicBezTo>
                  <a:pt x="976954" y="6494907"/>
                  <a:pt x="492377" y="5932458"/>
                  <a:pt x="243389" y="5161393"/>
                </a:cubicBezTo>
                <a:cubicBezTo>
                  <a:pt x="-352570" y="3349919"/>
                  <a:pt x="139246" y="1030182"/>
                  <a:pt x="1792436" y="0"/>
                </a:cubicBezTo>
                <a:close/>
              </a:path>
            </a:pathLst>
          </a:custGeom>
        </p:spPr>
        <p:txBody>
          <a:bodyPr wrap="square" anchor="ctr">
            <a:noAutofit/>
          </a:bodyPr>
          <a:lstStyle>
            <a:lvl1pPr marL="0" indent="0" algn="ctr">
              <a:buNone/>
              <a:defRPr>
                <a:solidFill>
                  <a:schemeClr val="bg1"/>
                </a:solidFill>
              </a:defRPr>
            </a:lvl1pPr>
          </a:lstStyle>
          <a:p>
            <a:r>
              <a:rPr lang="en-US"/>
              <a:t>Click icon to add picture</a:t>
            </a:r>
          </a:p>
        </p:txBody>
      </p:sp>
      <p:sp>
        <p:nvSpPr>
          <p:cNvPr id="10" name="Graphic 8">
            <a:extLst>
              <a:ext uri="{FF2B5EF4-FFF2-40B4-BE49-F238E27FC236}">
                <a16:creationId xmlns:a16="http://schemas.microsoft.com/office/drawing/2014/main" id="{E17556F4-8ED1-9969-CD3F-1525217E1E0A}"/>
              </a:ext>
            </a:extLst>
          </p:cNvPr>
          <p:cNvSpPr>
            <a:spLocks noChangeAspect="1"/>
          </p:cNvSpPr>
          <p:nvPr/>
        </p:nvSpPr>
        <p:spPr>
          <a:xfrm>
            <a:off x="6229995" y="0"/>
            <a:ext cx="1926945" cy="6459038"/>
          </a:xfrm>
          <a:custGeom>
            <a:avLst/>
            <a:gdLst>
              <a:gd name="connsiteX0" fmla="*/ 1215570 w 1926945"/>
              <a:gd name="connsiteY0" fmla="*/ 0 h 6459038"/>
              <a:gd name="connsiteX1" fmla="*/ 396914 w 1926945"/>
              <a:gd name="connsiteY1" fmla="*/ 5502156 h 6459038"/>
              <a:gd name="connsiteX2" fmla="*/ 420148 w 1926945"/>
              <a:gd name="connsiteY2" fmla="*/ 5558753 h 6459038"/>
              <a:gd name="connsiteX3" fmla="*/ 432155 w 1926945"/>
              <a:gd name="connsiteY3" fmla="*/ 5587377 h 6459038"/>
              <a:gd name="connsiteX4" fmla="*/ 440203 w 1926945"/>
              <a:gd name="connsiteY4" fmla="*/ 5596875 h 6459038"/>
              <a:gd name="connsiteX5" fmla="*/ 492837 w 1926945"/>
              <a:gd name="connsiteY5" fmla="*/ 5633436 h 6459038"/>
              <a:gd name="connsiteX6" fmla="*/ 525742 w 1926945"/>
              <a:gd name="connsiteY6" fmla="*/ 5640331 h 6459038"/>
              <a:gd name="connsiteX7" fmla="*/ 610242 w 1926945"/>
              <a:gd name="connsiteY7" fmla="*/ 5611577 h 6459038"/>
              <a:gd name="connsiteX8" fmla="*/ 639318 w 1926945"/>
              <a:gd name="connsiteY8" fmla="*/ 5481404 h 6459038"/>
              <a:gd name="connsiteX9" fmla="*/ 767042 w 1926945"/>
              <a:gd name="connsiteY9" fmla="*/ 1582249 h 6459038"/>
              <a:gd name="connsiteX10" fmla="*/ 1926945 w 1926945"/>
              <a:gd name="connsiteY10" fmla="*/ 0 h 6459038"/>
              <a:gd name="connsiteX11" fmla="*/ 1215570 w 1926945"/>
              <a:gd name="connsiteY11" fmla="*/ 0 h 6459038"/>
              <a:gd name="connsiteX12" fmla="*/ 1095504 w 1926945"/>
              <a:gd name="connsiteY12" fmla="*/ 6179501 h 6459038"/>
              <a:gd name="connsiteX13" fmla="*/ 732969 w 1926945"/>
              <a:gd name="connsiteY13" fmla="*/ 5966123 h 6459038"/>
              <a:gd name="connsiteX14" fmla="*/ 789433 w 1926945"/>
              <a:gd name="connsiteY14" fmla="*/ 6327759 h 6459038"/>
              <a:gd name="connsiteX15" fmla="*/ 1082524 w 1926945"/>
              <a:gd name="connsiteY15" fmla="*/ 6428073 h 6459038"/>
              <a:gd name="connsiteX16" fmla="*/ 1095504 w 1926945"/>
              <a:gd name="connsiteY16" fmla="*/ 6179501 h 645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6945" h="6459038">
                <a:moveTo>
                  <a:pt x="1215570" y="0"/>
                </a:moveTo>
                <a:cubicBezTo>
                  <a:pt x="2189" y="1519862"/>
                  <a:pt x="-364305" y="3650388"/>
                  <a:pt x="396914" y="5502156"/>
                </a:cubicBezTo>
                <a:cubicBezTo>
                  <a:pt x="404443" y="5521087"/>
                  <a:pt x="412295" y="5539888"/>
                  <a:pt x="420148" y="5558753"/>
                </a:cubicBezTo>
                <a:lnTo>
                  <a:pt x="432155" y="5587377"/>
                </a:lnTo>
                <a:lnTo>
                  <a:pt x="440203" y="5596875"/>
                </a:lnTo>
                <a:cubicBezTo>
                  <a:pt x="454351" y="5613594"/>
                  <a:pt x="472653" y="5626150"/>
                  <a:pt x="492837" y="5633436"/>
                </a:cubicBezTo>
                <a:cubicBezTo>
                  <a:pt x="503351" y="5637274"/>
                  <a:pt x="514449" y="5639615"/>
                  <a:pt x="525742" y="5640331"/>
                </a:cubicBezTo>
                <a:cubicBezTo>
                  <a:pt x="556959" y="5642413"/>
                  <a:pt x="587722" y="5631939"/>
                  <a:pt x="610242" y="5611577"/>
                </a:cubicBezTo>
                <a:cubicBezTo>
                  <a:pt x="645029" y="5579961"/>
                  <a:pt x="656711" y="5529674"/>
                  <a:pt x="639318" y="5481404"/>
                </a:cubicBezTo>
                <a:cubicBezTo>
                  <a:pt x="139194" y="4198730"/>
                  <a:pt x="184559" y="2814051"/>
                  <a:pt x="767042" y="1582249"/>
                </a:cubicBezTo>
                <a:cubicBezTo>
                  <a:pt x="1049489" y="985051"/>
                  <a:pt x="1443695" y="450566"/>
                  <a:pt x="1926945" y="0"/>
                </a:cubicBezTo>
                <a:lnTo>
                  <a:pt x="1215570" y="0"/>
                </a:lnTo>
                <a:close/>
                <a:moveTo>
                  <a:pt x="1095504" y="6179501"/>
                </a:moveTo>
                <a:cubicBezTo>
                  <a:pt x="1037093" y="6109372"/>
                  <a:pt x="782878" y="5942443"/>
                  <a:pt x="732969" y="5966123"/>
                </a:cubicBezTo>
                <a:cubicBezTo>
                  <a:pt x="682996" y="5989737"/>
                  <a:pt x="723688" y="6212483"/>
                  <a:pt x="789433" y="6327759"/>
                </a:cubicBezTo>
                <a:cubicBezTo>
                  <a:pt x="834733" y="6407125"/>
                  <a:pt x="984199" y="6512058"/>
                  <a:pt x="1082524" y="6428073"/>
                </a:cubicBezTo>
                <a:cubicBezTo>
                  <a:pt x="1180848" y="6344153"/>
                  <a:pt x="1153914" y="6249694"/>
                  <a:pt x="1095504" y="6179501"/>
                </a:cubicBezTo>
                <a:close/>
              </a:path>
            </a:pathLst>
          </a:custGeom>
          <a:solidFill>
            <a:srgbClr val="47D985"/>
          </a:solidFill>
          <a:ln w="6478" cap="flat">
            <a:noFill/>
            <a:prstDash val="solid"/>
            <a:miter/>
          </a:ln>
        </p:spPr>
        <p:txBody>
          <a:bodyPr rtlCol="0" anchor="ctr"/>
          <a:lstStyle/>
          <a:p>
            <a:endParaRPr lang="en-US"/>
          </a:p>
        </p:txBody>
      </p:sp>
      <p:sp>
        <p:nvSpPr>
          <p:cNvPr id="3" name="Graphic 2">
            <a:extLst>
              <a:ext uri="{FF2B5EF4-FFF2-40B4-BE49-F238E27FC236}">
                <a16:creationId xmlns:a16="http://schemas.microsoft.com/office/drawing/2014/main" id="{51EE02FD-C35B-5A1B-BD65-80A31ABF1B96}"/>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NL"/>
          </a:p>
        </p:txBody>
      </p:sp>
      <p:sp>
        <p:nvSpPr>
          <p:cNvPr id="4" name="Slide Number Placeholder 3">
            <a:extLst>
              <a:ext uri="{FF2B5EF4-FFF2-40B4-BE49-F238E27FC236}">
                <a16:creationId xmlns:a16="http://schemas.microsoft.com/office/drawing/2014/main" id="{4C9BF31C-960F-6DEC-C64D-220E460F17DF}"/>
              </a:ext>
            </a:extLst>
          </p:cNvPr>
          <p:cNvSpPr>
            <a:spLocks noGrp="1"/>
          </p:cNvSpPr>
          <p:nvPr>
            <p:ph type="sldNum" sz="quarter" idx="19"/>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335042347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Basic, Large Header">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BCDC415B-B0B1-B0CE-EF86-346D3A4E6A47}"/>
              </a:ext>
            </a:extLst>
          </p:cNvPr>
          <p:cNvSpPr>
            <a:spLocks noGrp="1"/>
          </p:cNvSpPr>
          <p:nvPr>
            <p:ph type="body" sz="quarter" idx="16" hasCustomPrompt="1"/>
          </p:nvPr>
        </p:nvSpPr>
        <p:spPr>
          <a:xfrm>
            <a:off x="658813" y="549275"/>
            <a:ext cx="5761037" cy="2188455"/>
          </a:xfrm>
        </p:spPr>
        <p:txBody>
          <a:bodyPr anchor="b" anchorCtr="0">
            <a:normAutofit/>
          </a:bodyPr>
          <a:lstStyle>
            <a:lvl1pPr marL="0" indent="0">
              <a:lnSpc>
                <a:spcPct val="100000"/>
              </a:lnSpc>
              <a:spcBef>
                <a:spcPts val="0"/>
              </a:spcBef>
              <a:buNone/>
              <a:defRPr sz="6500" b="1"/>
            </a:lvl1pPr>
          </a:lstStyle>
          <a:p>
            <a:pPr lvl="0"/>
            <a:r>
              <a:rPr lang="en-GB"/>
              <a:t>A captivating headline</a:t>
            </a:r>
            <a:endParaRPr lang="en-NL"/>
          </a:p>
        </p:txBody>
      </p:sp>
      <p:sp>
        <p:nvSpPr>
          <p:cNvPr id="8" name="Graphic 2">
            <a:extLst>
              <a:ext uri="{FF2B5EF4-FFF2-40B4-BE49-F238E27FC236}">
                <a16:creationId xmlns:a16="http://schemas.microsoft.com/office/drawing/2014/main" id="{D76FC3D6-E181-2F60-AFE3-CD50F35038C1}"/>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NL"/>
          </a:p>
        </p:txBody>
      </p:sp>
      <p:sp>
        <p:nvSpPr>
          <p:cNvPr id="9" name="Slide Number Placeholder 8">
            <a:extLst>
              <a:ext uri="{FF2B5EF4-FFF2-40B4-BE49-F238E27FC236}">
                <a16:creationId xmlns:a16="http://schemas.microsoft.com/office/drawing/2014/main" id="{6F3918CB-A61A-8A43-05DE-7D51ECBE796D}"/>
              </a:ext>
            </a:extLst>
          </p:cNvPr>
          <p:cNvSpPr>
            <a:spLocks noGrp="1"/>
          </p:cNvSpPr>
          <p:nvPr>
            <p:ph type="sldNum" sz="quarter" idx="18"/>
          </p:nvPr>
        </p:nvSpPr>
        <p:spPr/>
        <p:txBody>
          <a:bodyPr/>
          <a:lstStyle/>
          <a:p>
            <a:fld id="{0994303E-A424-9540-91A8-53B791C91E8F}" type="slidenum">
              <a:rPr lang="en-NL" smtClean="0"/>
              <a:pPr/>
              <a:t>‹#›</a:t>
            </a:fld>
            <a:endParaRPr lang="en-NL"/>
          </a:p>
        </p:txBody>
      </p:sp>
      <p:sp>
        <p:nvSpPr>
          <p:cNvPr id="7" name="Text Placeholder 6">
            <a:extLst>
              <a:ext uri="{FF2B5EF4-FFF2-40B4-BE49-F238E27FC236}">
                <a16:creationId xmlns:a16="http://schemas.microsoft.com/office/drawing/2014/main" id="{19C4ACA5-144B-43D4-2B92-D3B3ED763222}"/>
              </a:ext>
            </a:extLst>
          </p:cNvPr>
          <p:cNvSpPr>
            <a:spLocks noGrp="1"/>
          </p:cNvSpPr>
          <p:nvPr>
            <p:ph type="body" sz="quarter" idx="19" hasCustomPrompt="1"/>
          </p:nvPr>
        </p:nvSpPr>
        <p:spPr>
          <a:xfrm>
            <a:off x="658811" y="3045692"/>
            <a:ext cx="5113338" cy="3263034"/>
          </a:xfrm>
        </p:spPr>
        <p:txBody>
          <a:bodyPr/>
          <a:lstStyle>
            <a:lvl1pPr marL="0" indent="0">
              <a:buNone/>
              <a:defRPr/>
            </a:lvl1pPr>
          </a:lstStyle>
          <a:p>
            <a:pPr lvl="0"/>
            <a:r>
              <a:rPr lang="en-GB" err="1"/>
              <a:t>Sed</a:t>
            </a:r>
            <a:r>
              <a:rPr lang="en-GB"/>
              <a:t> </a:t>
            </a:r>
            <a:r>
              <a:rPr lang="en-GB" err="1"/>
              <a:t>ut</a:t>
            </a:r>
            <a:r>
              <a:rPr lang="en-GB"/>
              <a:t> </a:t>
            </a:r>
            <a:r>
              <a:rPr lang="en-GB" err="1"/>
              <a:t>perspiciatis</a:t>
            </a:r>
            <a:r>
              <a:rPr lang="en-GB"/>
              <a:t> </a:t>
            </a:r>
            <a:r>
              <a:rPr lang="en-GB" err="1"/>
              <a:t>unde</a:t>
            </a:r>
            <a:r>
              <a:rPr lang="en-GB"/>
              <a:t> </a:t>
            </a:r>
            <a:r>
              <a:rPr lang="en-GB" err="1"/>
              <a:t>omnis</a:t>
            </a:r>
            <a:r>
              <a:rPr lang="en-GB"/>
              <a:t> </a:t>
            </a:r>
            <a:r>
              <a:rPr lang="en-GB" err="1"/>
              <a:t>iste</a:t>
            </a:r>
            <a:r>
              <a:rPr lang="en-GB"/>
              <a:t> </a:t>
            </a:r>
            <a:r>
              <a:rPr lang="en-GB" err="1"/>
              <a:t>natus</a:t>
            </a:r>
            <a:r>
              <a:rPr lang="en-GB"/>
              <a:t> error sit </a:t>
            </a:r>
            <a:r>
              <a:rPr lang="en-GB" err="1"/>
              <a:t>voluptatem</a:t>
            </a:r>
            <a:r>
              <a:rPr lang="en-GB"/>
              <a:t> </a:t>
            </a:r>
            <a:r>
              <a:rPr lang="en-GB" err="1"/>
              <a:t>accusantium</a:t>
            </a:r>
            <a:r>
              <a:rPr lang="en-GB"/>
              <a:t> </a:t>
            </a:r>
            <a:r>
              <a:rPr lang="en-GB" err="1"/>
              <a:t>doloremque</a:t>
            </a:r>
            <a:r>
              <a:rPr lang="en-GB"/>
              <a:t> </a:t>
            </a:r>
            <a:r>
              <a:rPr lang="en-GB" err="1"/>
              <a:t>laudantium</a:t>
            </a:r>
            <a:r>
              <a:rPr lang="en-GB"/>
              <a:t>, </a:t>
            </a:r>
            <a:r>
              <a:rPr lang="en-GB" err="1"/>
              <a:t>totam</a:t>
            </a:r>
            <a:r>
              <a:rPr lang="en-GB"/>
              <a:t> rem </a:t>
            </a:r>
            <a:r>
              <a:rPr lang="en-GB" err="1"/>
              <a:t>aperiam</a:t>
            </a:r>
            <a:r>
              <a:rPr lang="en-GB"/>
              <a:t>, </a:t>
            </a:r>
            <a:r>
              <a:rPr lang="en-GB" err="1"/>
              <a:t>eaque</a:t>
            </a:r>
            <a:r>
              <a:rPr lang="en-GB"/>
              <a:t> </a:t>
            </a:r>
            <a:r>
              <a:rPr lang="en-GB" err="1"/>
              <a:t>ipsa</a:t>
            </a:r>
            <a:r>
              <a:rPr lang="en-GB"/>
              <a:t> </a:t>
            </a:r>
            <a:r>
              <a:rPr lang="en-GB" err="1"/>
              <a:t>quae</a:t>
            </a:r>
            <a:r>
              <a:rPr lang="en-GB"/>
              <a:t> ab </a:t>
            </a:r>
            <a:r>
              <a:rPr lang="en-GB" err="1"/>
              <a:t>illo</a:t>
            </a:r>
            <a:r>
              <a:rPr lang="en-GB"/>
              <a:t> </a:t>
            </a:r>
            <a:r>
              <a:rPr lang="en-GB" err="1"/>
              <a:t>inventore</a:t>
            </a:r>
            <a:r>
              <a:rPr lang="en-GB"/>
              <a:t> </a:t>
            </a:r>
            <a:r>
              <a:rPr lang="en-GB" err="1"/>
              <a:t>veritatis</a:t>
            </a:r>
            <a:r>
              <a:rPr lang="en-GB"/>
              <a:t> et quasi </a:t>
            </a:r>
            <a:r>
              <a:rPr lang="en-GB" err="1"/>
              <a:t>architecto</a:t>
            </a:r>
            <a:r>
              <a:rPr lang="en-GB"/>
              <a:t> beatae vitae dicta sunt </a:t>
            </a:r>
            <a:r>
              <a:rPr lang="en-GB" err="1"/>
              <a:t>explicabo</a:t>
            </a:r>
            <a:r>
              <a:rPr lang="en-GB"/>
              <a:t>. Nemo </a:t>
            </a:r>
            <a:r>
              <a:rPr lang="en-GB" err="1"/>
              <a:t>enim</a:t>
            </a:r>
            <a:r>
              <a:rPr lang="en-GB"/>
              <a:t> </a:t>
            </a:r>
            <a:r>
              <a:rPr lang="en-GB" err="1"/>
              <a:t>ipsam</a:t>
            </a:r>
            <a:r>
              <a:rPr lang="en-GB"/>
              <a:t> </a:t>
            </a:r>
            <a:r>
              <a:rPr lang="en-GB" err="1"/>
              <a:t>voluptatem</a:t>
            </a:r>
            <a:r>
              <a:rPr lang="en-GB"/>
              <a:t> </a:t>
            </a:r>
            <a:r>
              <a:rPr lang="en-GB" err="1"/>
              <a:t>quia</a:t>
            </a:r>
            <a:r>
              <a:rPr lang="en-GB"/>
              <a:t> </a:t>
            </a:r>
            <a:r>
              <a:rPr lang="en-GB" err="1"/>
              <a:t>voluptas</a:t>
            </a:r>
            <a:r>
              <a:rPr lang="en-GB"/>
              <a:t> sit </a:t>
            </a:r>
            <a:r>
              <a:rPr lang="en-GB" err="1"/>
              <a:t>aspernatur</a:t>
            </a:r>
            <a:r>
              <a:rPr lang="en-GB"/>
              <a:t> </a:t>
            </a:r>
            <a:r>
              <a:rPr lang="en-GB" err="1"/>
              <a:t>aut</a:t>
            </a:r>
            <a:r>
              <a:rPr lang="en-GB"/>
              <a:t> </a:t>
            </a:r>
            <a:r>
              <a:rPr lang="en-GB" err="1"/>
              <a:t>odit</a:t>
            </a:r>
            <a:r>
              <a:rPr lang="en-GB"/>
              <a:t> </a:t>
            </a:r>
            <a:r>
              <a:rPr lang="en-GB" err="1"/>
              <a:t>aut</a:t>
            </a:r>
            <a:r>
              <a:rPr lang="en-GB"/>
              <a:t> fugit, </a:t>
            </a:r>
            <a:r>
              <a:rPr lang="en-GB" err="1"/>
              <a:t>sed</a:t>
            </a:r>
            <a:r>
              <a:rPr lang="en-GB"/>
              <a:t> </a:t>
            </a:r>
            <a:r>
              <a:rPr lang="en-GB" err="1"/>
              <a:t>quia</a:t>
            </a:r>
            <a:r>
              <a:rPr lang="en-GB"/>
              <a:t> </a:t>
            </a:r>
            <a:r>
              <a:rPr lang="en-GB" err="1"/>
              <a:t>consequuntur</a:t>
            </a:r>
            <a:r>
              <a:rPr lang="en-GB"/>
              <a:t> </a:t>
            </a:r>
            <a:r>
              <a:rPr lang="en-GB" err="1"/>
              <a:t>magni</a:t>
            </a:r>
            <a:r>
              <a:rPr lang="en-GB"/>
              <a:t> </a:t>
            </a:r>
            <a:r>
              <a:rPr lang="en-GB" err="1"/>
              <a:t>dolores</a:t>
            </a:r>
            <a:r>
              <a:rPr lang="en-GB"/>
              <a:t> </a:t>
            </a:r>
            <a:r>
              <a:rPr lang="en-GB" err="1"/>
              <a:t>eos</a:t>
            </a:r>
            <a:r>
              <a:rPr lang="en-GB"/>
              <a:t> qui </a:t>
            </a:r>
            <a:r>
              <a:rPr lang="en-GB" err="1"/>
              <a:t>ratione</a:t>
            </a:r>
            <a:r>
              <a:rPr lang="en-GB"/>
              <a:t> </a:t>
            </a:r>
            <a:r>
              <a:rPr lang="en-GB" err="1"/>
              <a:t>voluptatem</a:t>
            </a:r>
            <a:r>
              <a:rPr lang="en-GB"/>
              <a:t> </a:t>
            </a:r>
            <a:r>
              <a:rPr lang="en-GB" err="1"/>
              <a:t>sequi</a:t>
            </a:r>
            <a:r>
              <a:rPr lang="en-GB"/>
              <a:t> </a:t>
            </a:r>
            <a:r>
              <a:rPr lang="en-GB" err="1"/>
              <a:t>nesciunt</a:t>
            </a:r>
            <a:r>
              <a:rPr lang="en-GB"/>
              <a:t>. </a:t>
            </a:r>
            <a:r>
              <a:rPr lang="en-GB" err="1"/>
              <a:t>Neque</a:t>
            </a:r>
            <a:r>
              <a:rPr lang="en-GB"/>
              <a:t> </a:t>
            </a:r>
            <a:r>
              <a:rPr lang="en-GB" err="1"/>
              <a:t>porro</a:t>
            </a:r>
            <a:r>
              <a:rPr lang="en-GB"/>
              <a:t> </a:t>
            </a:r>
            <a:r>
              <a:rPr lang="en-GB" err="1"/>
              <a:t>quisquam</a:t>
            </a:r>
            <a:r>
              <a:rPr lang="en-GB"/>
              <a:t> </a:t>
            </a:r>
            <a:r>
              <a:rPr lang="en-GB" err="1"/>
              <a:t>est</a:t>
            </a:r>
            <a:r>
              <a:rPr lang="en-GB"/>
              <a:t>, qui </a:t>
            </a:r>
            <a:r>
              <a:rPr lang="en-GB" err="1"/>
              <a:t>dolorem</a:t>
            </a:r>
            <a:r>
              <a:rPr lang="en-GB"/>
              <a:t> ipsum </a:t>
            </a:r>
            <a:r>
              <a:rPr lang="en-GB" err="1"/>
              <a:t>quia</a:t>
            </a:r>
            <a:r>
              <a:rPr lang="en-GB"/>
              <a:t> </a:t>
            </a:r>
            <a:r>
              <a:rPr lang="en-GB" err="1"/>
              <a:t>dolor</a:t>
            </a:r>
            <a:r>
              <a:rPr lang="en-GB"/>
              <a:t> sit </a:t>
            </a:r>
            <a:r>
              <a:rPr lang="en-GB" err="1"/>
              <a:t>amet</a:t>
            </a:r>
            <a:r>
              <a:rPr lang="en-GB"/>
              <a:t>, </a:t>
            </a:r>
            <a:r>
              <a:rPr lang="en-GB" err="1"/>
              <a:t>consectetur</a:t>
            </a:r>
            <a:r>
              <a:rPr lang="en-GB"/>
              <a:t>, </a:t>
            </a:r>
            <a:r>
              <a:rPr lang="en-GB" err="1"/>
              <a:t>adipisci</a:t>
            </a:r>
            <a:r>
              <a:rPr lang="en-GB"/>
              <a:t> </a:t>
            </a:r>
            <a:r>
              <a:rPr lang="en-GB" err="1"/>
              <a:t>velit</a:t>
            </a:r>
            <a:r>
              <a:rPr lang="en-GB"/>
              <a:t>, </a:t>
            </a:r>
            <a:r>
              <a:rPr lang="en-GB" err="1"/>
              <a:t>sed</a:t>
            </a:r>
            <a:r>
              <a:rPr lang="en-GB"/>
              <a:t> </a:t>
            </a:r>
            <a:r>
              <a:rPr lang="en-GB" err="1"/>
              <a:t>quia</a:t>
            </a:r>
            <a:r>
              <a:rPr lang="en-GB"/>
              <a:t> non </a:t>
            </a:r>
            <a:r>
              <a:rPr lang="en-GB" err="1"/>
              <a:t>numquam</a:t>
            </a:r>
            <a:r>
              <a:rPr lang="en-GB"/>
              <a:t> </a:t>
            </a:r>
            <a:r>
              <a:rPr lang="en-GB" err="1"/>
              <a:t>eius</a:t>
            </a:r>
            <a:r>
              <a:rPr lang="en-GB"/>
              <a:t> </a:t>
            </a:r>
            <a:r>
              <a:rPr lang="en-GB" err="1"/>
              <a:t>modi</a:t>
            </a:r>
            <a:r>
              <a:rPr lang="en-GB"/>
              <a:t> </a:t>
            </a:r>
            <a:r>
              <a:rPr lang="en-GB" err="1"/>
              <a:t>tempora</a:t>
            </a:r>
            <a:r>
              <a:rPr lang="en-GB"/>
              <a:t> </a:t>
            </a:r>
            <a:r>
              <a:rPr lang="en-GB" err="1"/>
              <a:t>incidunt</a:t>
            </a:r>
            <a:r>
              <a:rPr lang="en-GB"/>
              <a:t> </a:t>
            </a:r>
            <a:r>
              <a:rPr lang="en-GB" err="1"/>
              <a:t>ut</a:t>
            </a:r>
            <a:r>
              <a:rPr lang="en-GB"/>
              <a:t> labore et dolore </a:t>
            </a:r>
            <a:r>
              <a:rPr lang="en-GB" err="1"/>
              <a:t>magnam</a:t>
            </a:r>
            <a:r>
              <a:rPr lang="en-GB"/>
              <a:t> </a:t>
            </a:r>
            <a:r>
              <a:rPr lang="en-GB" err="1"/>
              <a:t>aliquam</a:t>
            </a:r>
            <a:r>
              <a:rPr lang="en-GB"/>
              <a:t> </a:t>
            </a:r>
            <a:r>
              <a:rPr lang="en-GB" err="1"/>
              <a:t>quaerat</a:t>
            </a:r>
            <a:r>
              <a:rPr lang="en-GB"/>
              <a:t> </a:t>
            </a:r>
            <a:r>
              <a:rPr lang="en-GB" err="1"/>
              <a:t>voluptatem</a:t>
            </a:r>
            <a:r>
              <a:rPr lang="en-GB"/>
              <a:t>.</a:t>
            </a:r>
            <a:endParaRPr lang="en-US"/>
          </a:p>
        </p:txBody>
      </p:sp>
    </p:spTree>
    <p:extLst>
      <p:ext uri="{BB962C8B-B14F-4D97-AF65-F5344CB8AC3E}">
        <p14:creationId xmlns:p14="http://schemas.microsoft.com/office/powerpoint/2010/main" val="38204120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Pebble Imag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2" y="549275"/>
            <a:ext cx="5113337" cy="2131053"/>
          </a:xfrm>
        </p:spPr>
        <p:txBody>
          <a:bodyPr anchor="b" anchorCtr="0">
            <a:noAutofit/>
          </a:bodyPr>
          <a:lstStyle>
            <a:lvl1pPr marL="0" indent="0">
              <a:spcBef>
                <a:spcPts val="0"/>
              </a:spcBef>
              <a:buNone/>
              <a:defRPr sz="4000" b="1">
                <a:solidFill>
                  <a:srgbClr val="47DA86"/>
                </a:solidFill>
              </a:defRPr>
            </a:lvl1pPr>
          </a:lstStyle>
          <a:p>
            <a:pPr lvl="0"/>
            <a:r>
              <a:rPr lang="en-GB"/>
              <a:t>A captivating headline</a:t>
            </a:r>
            <a:endParaRPr lang="en-NL"/>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2" y="2872828"/>
            <a:ext cx="5113337" cy="3435897"/>
          </a:xfrm>
        </p:spPr>
        <p:txBody>
          <a:bodyPr>
            <a:noAutofit/>
          </a:bodyPr>
          <a:lstStyle>
            <a:lvl1pPr marL="0" indent="0">
              <a:buNone/>
              <a:defRPr sz="1400" b="0">
                <a:solidFill>
                  <a:schemeClr val="bg1"/>
                </a:solidFill>
              </a:defRPr>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utem </a:t>
            </a:r>
            <a:r>
              <a:rPr lang="en-GB" err="1"/>
              <a:t>vel</a:t>
            </a:r>
            <a:r>
              <a:rPr lang="en-GB"/>
              <a:t> </a:t>
            </a:r>
            <a:r>
              <a:rPr lang="en-GB" err="1"/>
              <a:t>eum</a:t>
            </a:r>
            <a:r>
              <a:rPr lang="en-GB"/>
              <a:t> </a:t>
            </a:r>
            <a:r>
              <a:rPr lang="en-GB" err="1"/>
              <a:t>iriure</a:t>
            </a:r>
            <a:r>
              <a:rPr lang="en-GB"/>
              <a:t> </a:t>
            </a:r>
            <a:r>
              <a:rPr lang="en-GB" err="1"/>
              <a:t>dolor</a:t>
            </a:r>
            <a:r>
              <a:rPr lang="en-GB"/>
              <a:t> in </a:t>
            </a:r>
            <a:r>
              <a:rPr lang="en-GB" err="1"/>
              <a:t>hendrerit</a:t>
            </a:r>
            <a:r>
              <a:rPr lang="en-GB"/>
              <a:t> in </a:t>
            </a:r>
            <a:r>
              <a:rPr lang="en-GB" err="1"/>
              <a:t>vulputate</a:t>
            </a:r>
            <a:r>
              <a:rPr lang="en-GB"/>
              <a:t> </a:t>
            </a:r>
            <a:r>
              <a:rPr lang="en-GB" err="1"/>
              <a:t>velit</a:t>
            </a:r>
            <a:r>
              <a:rPr lang="en-GB"/>
              <a:t> </a:t>
            </a:r>
            <a:r>
              <a:rPr lang="en-GB" err="1"/>
              <a:t>esse</a:t>
            </a:r>
            <a:r>
              <a:rPr lang="en-GB"/>
              <a:t> </a:t>
            </a:r>
            <a:r>
              <a:rPr lang="en-GB" err="1"/>
              <a:t>molestie</a:t>
            </a:r>
            <a:r>
              <a:rPr lang="en-GB"/>
              <a:t> </a:t>
            </a:r>
            <a:r>
              <a:rPr lang="en-GB" err="1"/>
              <a:t>consequat</a:t>
            </a:r>
            <a:r>
              <a:rPr lang="en-GB"/>
              <a:t>, </a:t>
            </a:r>
            <a:r>
              <a:rPr lang="en-GB" err="1"/>
              <a:t>vel</a:t>
            </a:r>
            <a:r>
              <a:rPr lang="en-GB"/>
              <a:t> illum dolore </a:t>
            </a:r>
            <a:r>
              <a:rPr lang="en-GB" err="1"/>
              <a:t>eu</a:t>
            </a:r>
            <a:r>
              <a:rPr lang="en-GB"/>
              <a:t> </a:t>
            </a:r>
            <a:r>
              <a:rPr lang="en-GB" err="1"/>
              <a:t>feugiat</a:t>
            </a:r>
            <a:r>
              <a:rPr lang="en-GB"/>
              <a:t> </a:t>
            </a:r>
            <a:r>
              <a:rPr lang="en-GB" err="1"/>
              <a:t>nulla</a:t>
            </a:r>
            <a:r>
              <a:rPr lang="en-GB"/>
              <a:t> </a:t>
            </a:r>
            <a:r>
              <a:rPr lang="en-GB" err="1"/>
              <a:t>facilisis</a:t>
            </a:r>
            <a:r>
              <a:rPr lang="en-GB"/>
              <a:t> at </a:t>
            </a:r>
            <a:r>
              <a:rPr lang="en-GB" err="1"/>
              <a:t>vero</a:t>
            </a:r>
            <a:r>
              <a:rPr lang="en-GB"/>
              <a:t> eros et </a:t>
            </a:r>
            <a:r>
              <a:rPr lang="en-GB" err="1"/>
              <a:t>accumsan</a:t>
            </a:r>
            <a:r>
              <a:rPr lang="en-GB"/>
              <a:t> et </a:t>
            </a:r>
            <a:r>
              <a:rPr lang="en-GB" err="1"/>
              <a:t>iusto</a:t>
            </a:r>
            <a:r>
              <a:rPr lang="en-GB"/>
              <a:t> </a:t>
            </a:r>
            <a:r>
              <a:rPr lang="en-GB" err="1"/>
              <a:t>odio</a:t>
            </a:r>
            <a:r>
              <a:rPr lang="en-GB"/>
              <a:t> </a:t>
            </a:r>
            <a:r>
              <a:rPr lang="en-GB" err="1"/>
              <a:t>dignissim</a:t>
            </a:r>
            <a:r>
              <a:rPr lang="en-GB"/>
              <a:t> qui </a:t>
            </a:r>
            <a:r>
              <a:rPr lang="en-GB" err="1"/>
              <a:t>blandit</a:t>
            </a:r>
            <a:r>
              <a:rPr lang="en-GB"/>
              <a:t> </a:t>
            </a:r>
            <a:r>
              <a:rPr lang="en-GB" err="1"/>
              <a:t>praesent</a:t>
            </a:r>
            <a:r>
              <a:rPr lang="en-GB"/>
              <a:t> </a:t>
            </a:r>
            <a:r>
              <a:rPr lang="en-GB" err="1"/>
              <a:t>luptatum</a:t>
            </a:r>
            <a:r>
              <a:rPr lang="en-GB"/>
              <a:t> </a:t>
            </a:r>
            <a:r>
              <a:rPr lang="en-GB" err="1"/>
              <a:t>zzril</a:t>
            </a:r>
            <a:r>
              <a:rPr lang="en-GB"/>
              <a:t> </a:t>
            </a:r>
            <a:r>
              <a:rPr lang="en-GB" err="1"/>
              <a:t>delenit</a:t>
            </a:r>
            <a:r>
              <a:rPr lang="en-GB"/>
              <a:t> </a:t>
            </a:r>
            <a:r>
              <a:rPr lang="en-GB" err="1"/>
              <a:t>augue</a:t>
            </a:r>
            <a:r>
              <a:rPr lang="en-GB"/>
              <a:t> </a:t>
            </a:r>
            <a:r>
              <a:rPr lang="en-GB" err="1"/>
              <a:t>duis</a:t>
            </a:r>
            <a:r>
              <a:rPr lang="en-GB"/>
              <a:t> </a:t>
            </a:r>
            <a:r>
              <a:rPr lang="en-GB" err="1"/>
              <a:t>dolorete</a:t>
            </a:r>
            <a:r>
              <a:rPr lang="en-GB"/>
              <a:t> </a:t>
            </a:r>
            <a:r>
              <a:rPr lang="en-GB" err="1"/>
              <a:t>feugait</a:t>
            </a:r>
            <a:r>
              <a:rPr lang="en-GB"/>
              <a:t> </a:t>
            </a:r>
            <a:r>
              <a:rPr lang="en-GB" err="1"/>
              <a:t>nulla</a:t>
            </a:r>
            <a:r>
              <a:rPr lang="en-GB"/>
              <a:t> </a:t>
            </a:r>
            <a:r>
              <a:rPr lang="en-GB" err="1"/>
              <a:t>facilisi</a:t>
            </a:r>
            <a:r>
              <a:rPr lang="en-GB"/>
              <a:t>.</a:t>
            </a:r>
            <a:endParaRPr lang="en-NL"/>
          </a:p>
        </p:txBody>
      </p:sp>
      <p:sp>
        <p:nvSpPr>
          <p:cNvPr id="5" name="Picture Placeholder 4">
            <a:extLst>
              <a:ext uri="{FF2B5EF4-FFF2-40B4-BE49-F238E27FC236}">
                <a16:creationId xmlns:a16="http://schemas.microsoft.com/office/drawing/2014/main" id="{A6D049BA-8763-7863-E7E0-8A31A9438750}"/>
              </a:ext>
            </a:extLst>
          </p:cNvPr>
          <p:cNvSpPr>
            <a:spLocks noGrp="1"/>
          </p:cNvSpPr>
          <p:nvPr>
            <p:ph type="pic" sz="quarter" idx="18"/>
          </p:nvPr>
        </p:nvSpPr>
        <p:spPr>
          <a:xfrm>
            <a:off x="6413557" y="1016789"/>
            <a:ext cx="5129758" cy="4824422"/>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2400">
                <a:solidFill>
                  <a:schemeClr val="bg1"/>
                </a:solidFill>
              </a:defRPr>
            </a:lvl1pPr>
          </a:lstStyle>
          <a:p>
            <a:r>
              <a:rPr lang="en-US"/>
              <a:t>Click icon to add picture</a:t>
            </a:r>
          </a:p>
        </p:txBody>
      </p:sp>
      <p:sp>
        <p:nvSpPr>
          <p:cNvPr id="3" name="Graphic 2">
            <a:extLst>
              <a:ext uri="{FF2B5EF4-FFF2-40B4-BE49-F238E27FC236}">
                <a16:creationId xmlns:a16="http://schemas.microsoft.com/office/drawing/2014/main" id="{E72B6E5C-C43A-4F11-B064-32598C60DF82}"/>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NL"/>
          </a:p>
        </p:txBody>
      </p:sp>
      <p:sp>
        <p:nvSpPr>
          <p:cNvPr id="4" name="Slide Number Placeholder 3">
            <a:extLst>
              <a:ext uri="{FF2B5EF4-FFF2-40B4-BE49-F238E27FC236}">
                <a16:creationId xmlns:a16="http://schemas.microsoft.com/office/drawing/2014/main" id="{6A423C60-DB16-109A-762A-D048767B5E0D}"/>
              </a:ext>
            </a:extLst>
          </p:cNvPr>
          <p:cNvSpPr>
            <a:spLocks noGrp="1"/>
          </p:cNvSpPr>
          <p:nvPr>
            <p:ph type="sldNum" sz="quarter" idx="19"/>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378522764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 List">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3" y="3755424"/>
            <a:ext cx="3187973" cy="520092"/>
          </a:xfrm>
        </p:spPr>
        <p:txBody>
          <a:bodyPr>
            <a:noAutofit/>
          </a:bodyPr>
          <a:lstStyle>
            <a:lvl1pPr marL="0" indent="0" algn="ctr">
              <a:spcBef>
                <a:spcPts val="0"/>
              </a:spcBef>
              <a:buNone/>
              <a:defRPr sz="2400" b="1">
                <a:solidFill>
                  <a:srgbClr val="47DA86"/>
                </a:solidFill>
              </a:defRPr>
            </a:lvl1pPr>
          </a:lstStyle>
          <a:p>
            <a:pPr lvl="0"/>
            <a:r>
              <a:rPr lang="en-GB"/>
              <a:t>Header 1</a:t>
            </a:r>
            <a:endParaRPr lang="en-NL"/>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3" y="4275516"/>
            <a:ext cx="3187973" cy="1634791"/>
          </a:xfrm>
        </p:spPr>
        <p:txBody>
          <a:bodyPr>
            <a:noAutofit/>
          </a:bodyPr>
          <a:lstStyle>
            <a:lvl1pPr marL="0" indent="0" algn="ctr">
              <a:buNone/>
              <a:defRPr sz="12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endParaRPr lang="en-NL"/>
          </a:p>
        </p:txBody>
      </p:sp>
      <p:sp>
        <p:nvSpPr>
          <p:cNvPr id="12" name="Picture Placeholder 11">
            <a:extLst>
              <a:ext uri="{FF2B5EF4-FFF2-40B4-BE49-F238E27FC236}">
                <a16:creationId xmlns:a16="http://schemas.microsoft.com/office/drawing/2014/main" id="{CC37CBB0-B119-C056-ACE1-050494F161BC}"/>
              </a:ext>
            </a:extLst>
          </p:cNvPr>
          <p:cNvSpPr>
            <a:spLocks noGrp="1"/>
          </p:cNvSpPr>
          <p:nvPr>
            <p:ph type="pic" sz="quarter" idx="18"/>
          </p:nvPr>
        </p:nvSpPr>
        <p:spPr>
          <a:xfrm>
            <a:off x="4619918"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US"/>
              <a:t>Click icon to add picture</a:t>
            </a:r>
          </a:p>
        </p:txBody>
      </p:sp>
      <p:sp>
        <p:nvSpPr>
          <p:cNvPr id="13" name="Text Placeholder 11">
            <a:extLst>
              <a:ext uri="{FF2B5EF4-FFF2-40B4-BE49-F238E27FC236}">
                <a16:creationId xmlns:a16="http://schemas.microsoft.com/office/drawing/2014/main" id="{1C0119C8-1D9A-0DFA-77E1-D96E4EC70820}"/>
              </a:ext>
            </a:extLst>
          </p:cNvPr>
          <p:cNvSpPr>
            <a:spLocks noGrp="1"/>
          </p:cNvSpPr>
          <p:nvPr>
            <p:ph type="body" sz="quarter" idx="19" hasCustomPrompt="1"/>
          </p:nvPr>
        </p:nvSpPr>
        <p:spPr>
          <a:xfrm>
            <a:off x="4500345" y="4275516"/>
            <a:ext cx="3187973" cy="1634791"/>
          </a:xfrm>
        </p:spPr>
        <p:txBody>
          <a:bodyPr>
            <a:noAutofit/>
          </a:bodyPr>
          <a:lstStyle>
            <a:lvl1pPr marL="0" indent="0" algn="ctr">
              <a:buNone/>
              <a:defRPr sz="12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endParaRPr lang="en-NL"/>
          </a:p>
        </p:txBody>
      </p:sp>
      <p:sp>
        <p:nvSpPr>
          <p:cNvPr id="14" name="Text Placeholder 11">
            <a:extLst>
              <a:ext uri="{FF2B5EF4-FFF2-40B4-BE49-F238E27FC236}">
                <a16:creationId xmlns:a16="http://schemas.microsoft.com/office/drawing/2014/main" id="{D2914D5C-66D1-2DD5-239D-D767E5AD9FB1}"/>
              </a:ext>
            </a:extLst>
          </p:cNvPr>
          <p:cNvSpPr>
            <a:spLocks noGrp="1"/>
          </p:cNvSpPr>
          <p:nvPr>
            <p:ph type="body" sz="quarter" idx="20" hasCustomPrompt="1"/>
          </p:nvPr>
        </p:nvSpPr>
        <p:spPr>
          <a:xfrm>
            <a:off x="8343546" y="4275516"/>
            <a:ext cx="3187973" cy="1634791"/>
          </a:xfrm>
        </p:spPr>
        <p:txBody>
          <a:bodyPr>
            <a:noAutofit/>
          </a:bodyPr>
          <a:lstStyle>
            <a:lvl1pPr marL="0" indent="0" algn="ctr">
              <a:buNone/>
              <a:defRPr sz="1200" b="0"/>
            </a:lvl1pPr>
          </a:lstStyle>
          <a:p>
            <a:pPr lvl="0"/>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 </a:t>
            </a:r>
            <a:r>
              <a:rPr lang="en-GB" err="1"/>
              <a:t>sed</a:t>
            </a:r>
            <a:r>
              <a:rPr lang="en-GB"/>
              <a:t> </a:t>
            </a:r>
            <a:r>
              <a:rPr lang="en-GB" err="1"/>
              <a:t>diam</a:t>
            </a:r>
            <a:r>
              <a:rPr lang="en-GB"/>
              <a:t> </a:t>
            </a:r>
            <a:r>
              <a:rPr lang="en-GB" err="1"/>
              <a:t>nonummy</a:t>
            </a:r>
            <a:r>
              <a:rPr lang="en-GB"/>
              <a:t> </a:t>
            </a:r>
            <a:r>
              <a:rPr lang="en-GB" err="1"/>
              <a:t>nibh</a:t>
            </a:r>
            <a:r>
              <a:rPr lang="en-GB"/>
              <a:t> </a:t>
            </a:r>
            <a:r>
              <a:rPr lang="en-GB" err="1"/>
              <a:t>euismod</a:t>
            </a:r>
            <a:r>
              <a:rPr lang="en-GB"/>
              <a:t> </a:t>
            </a:r>
            <a:r>
              <a:rPr lang="en-GB" err="1"/>
              <a:t>tincidunt</a:t>
            </a:r>
            <a:r>
              <a:rPr lang="en-GB"/>
              <a:t> </a:t>
            </a:r>
            <a:r>
              <a:rPr lang="en-GB" err="1"/>
              <a:t>ut</a:t>
            </a:r>
            <a:r>
              <a:rPr lang="en-GB"/>
              <a:t> </a:t>
            </a:r>
            <a:r>
              <a:rPr lang="en-GB" err="1"/>
              <a:t>laoreet</a:t>
            </a:r>
            <a:r>
              <a:rPr lang="en-GB"/>
              <a:t> dolore magna </a:t>
            </a:r>
            <a:r>
              <a:rPr lang="en-GB" err="1"/>
              <a:t>aliquam</a:t>
            </a:r>
            <a:r>
              <a:rPr lang="en-GB"/>
              <a:t> </a:t>
            </a:r>
            <a:r>
              <a:rPr lang="en-GB" err="1"/>
              <a:t>erat</a:t>
            </a:r>
            <a:r>
              <a:rPr lang="en-GB"/>
              <a:t> </a:t>
            </a:r>
            <a:r>
              <a:rPr lang="en-GB" err="1"/>
              <a:t>volutpat</a:t>
            </a:r>
            <a:r>
              <a:rPr lang="en-GB"/>
              <a:t>. Ut </a:t>
            </a:r>
            <a:r>
              <a:rPr lang="en-GB" err="1"/>
              <a:t>wisi</a:t>
            </a:r>
            <a:r>
              <a:rPr lang="en-GB"/>
              <a:t> </a:t>
            </a:r>
            <a:r>
              <a:rPr lang="en-GB" err="1"/>
              <a:t>enim</a:t>
            </a:r>
            <a:r>
              <a:rPr lang="en-GB"/>
              <a:t> ad minim </a:t>
            </a:r>
            <a:r>
              <a:rPr lang="en-GB" err="1"/>
              <a:t>veniam</a:t>
            </a:r>
            <a:r>
              <a:rPr lang="en-GB"/>
              <a:t>, </a:t>
            </a:r>
            <a:r>
              <a:rPr lang="en-GB" err="1"/>
              <a:t>quis</a:t>
            </a:r>
            <a:r>
              <a:rPr lang="en-GB"/>
              <a:t> </a:t>
            </a:r>
            <a:r>
              <a:rPr lang="en-GB" err="1"/>
              <a:t>nostrud</a:t>
            </a:r>
            <a:r>
              <a:rPr lang="en-GB"/>
              <a:t> </a:t>
            </a:r>
            <a:r>
              <a:rPr lang="en-GB" err="1"/>
              <a:t>exerci</a:t>
            </a:r>
            <a:r>
              <a:rPr lang="en-GB"/>
              <a:t> </a:t>
            </a:r>
            <a:r>
              <a:rPr lang="en-GB" err="1"/>
              <a:t>tation</a:t>
            </a:r>
            <a:r>
              <a:rPr lang="en-GB"/>
              <a:t> </a:t>
            </a:r>
            <a:r>
              <a:rPr lang="en-GB" err="1"/>
              <a:t>ullamcorper</a:t>
            </a:r>
            <a:r>
              <a:rPr lang="en-GB"/>
              <a:t> </a:t>
            </a:r>
            <a:r>
              <a:rPr lang="en-GB" err="1"/>
              <a:t>suscipit</a:t>
            </a:r>
            <a:r>
              <a:rPr lang="en-GB"/>
              <a:t> </a:t>
            </a:r>
            <a:r>
              <a:rPr lang="en-GB" err="1"/>
              <a:t>lobortis</a:t>
            </a:r>
            <a:r>
              <a:rPr lang="en-GB"/>
              <a:t> </a:t>
            </a:r>
            <a:r>
              <a:rPr lang="en-GB" err="1"/>
              <a:t>nisl</a:t>
            </a:r>
            <a:r>
              <a:rPr lang="en-GB"/>
              <a:t>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a:t>
            </a:r>
            <a:endParaRPr lang="en-NL"/>
          </a:p>
        </p:txBody>
      </p:sp>
      <p:sp>
        <p:nvSpPr>
          <p:cNvPr id="17" name="Picture Placeholder 16">
            <a:extLst>
              <a:ext uri="{FF2B5EF4-FFF2-40B4-BE49-F238E27FC236}">
                <a16:creationId xmlns:a16="http://schemas.microsoft.com/office/drawing/2014/main" id="{95EAB911-B33D-DF2F-9631-A9EE94552AD8}"/>
              </a:ext>
            </a:extLst>
          </p:cNvPr>
          <p:cNvSpPr>
            <a:spLocks noGrp="1"/>
          </p:cNvSpPr>
          <p:nvPr>
            <p:ph type="pic" sz="quarter" idx="21"/>
          </p:nvPr>
        </p:nvSpPr>
        <p:spPr>
          <a:xfrm>
            <a:off x="8463119"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US"/>
              <a:t>Click icon to add picture</a:t>
            </a:r>
          </a:p>
        </p:txBody>
      </p:sp>
      <p:sp>
        <p:nvSpPr>
          <p:cNvPr id="18" name="Picture Placeholder 17">
            <a:extLst>
              <a:ext uri="{FF2B5EF4-FFF2-40B4-BE49-F238E27FC236}">
                <a16:creationId xmlns:a16="http://schemas.microsoft.com/office/drawing/2014/main" id="{680FA60A-84B6-E342-F780-1771576770FF}"/>
              </a:ext>
            </a:extLst>
          </p:cNvPr>
          <p:cNvSpPr>
            <a:spLocks noGrp="1"/>
          </p:cNvSpPr>
          <p:nvPr>
            <p:ph type="pic" sz="quarter" idx="22"/>
          </p:nvPr>
        </p:nvSpPr>
        <p:spPr>
          <a:xfrm>
            <a:off x="778386"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bg1"/>
                </a:solidFill>
              </a:defRPr>
            </a:lvl1pPr>
          </a:lstStyle>
          <a:p>
            <a:r>
              <a:rPr lang="en-US"/>
              <a:t>Click icon to add picture</a:t>
            </a:r>
          </a:p>
        </p:txBody>
      </p:sp>
      <p:sp>
        <p:nvSpPr>
          <p:cNvPr id="19" name="Text Placeholder 11">
            <a:extLst>
              <a:ext uri="{FF2B5EF4-FFF2-40B4-BE49-F238E27FC236}">
                <a16:creationId xmlns:a16="http://schemas.microsoft.com/office/drawing/2014/main" id="{4CDAB5D0-7F86-EA91-AB9B-1A439E9373FC}"/>
              </a:ext>
            </a:extLst>
          </p:cNvPr>
          <p:cNvSpPr>
            <a:spLocks noGrp="1"/>
          </p:cNvSpPr>
          <p:nvPr>
            <p:ph type="body" sz="quarter" idx="23" hasCustomPrompt="1"/>
          </p:nvPr>
        </p:nvSpPr>
        <p:spPr>
          <a:xfrm>
            <a:off x="4500345" y="3755424"/>
            <a:ext cx="3187973" cy="520092"/>
          </a:xfrm>
        </p:spPr>
        <p:txBody>
          <a:bodyPr>
            <a:noAutofit/>
          </a:bodyPr>
          <a:lstStyle>
            <a:lvl1pPr marL="0" indent="0" algn="ctr">
              <a:spcBef>
                <a:spcPts val="0"/>
              </a:spcBef>
              <a:buNone/>
              <a:defRPr sz="2400" b="1">
                <a:solidFill>
                  <a:srgbClr val="47DA86"/>
                </a:solidFill>
              </a:defRPr>
            </a:lvl1pPr>
          </a:lstStyle>
          <a:p>
            <a:pPr lvl="0"/>
            <a:r>
              <a:rPr lang="en-GB"/>
              <a:t>Header 2</a:t>
            </a:r>
            <a:endParaRPr lang="en-NL"/>
          </a:p>
        </p:txBody>
      </p:sp>
      <p:sp>
        <p:nvSpPr>
          <p:cNvPr id="20" name="Text Placeholder 11">
            <a:extLst>
              <a:ext uri="{FF2B5EF4-FFF2-40B4-BE49-F238E27FC236}">
                <a16:creationId xmlns:a16="http://schemas.microsoft.com/office/drawing/2014/main" id="{7FC37118-FC7D-57FD-16B1-A498B8326CE2}"/>
              </a:ext>
            </a:extLst>
          </p:cNvPr>
          <p:cNvSpPr>
            <a:spLocks noGrp="1"/>
          </p:cNvSpPr>
          <p:nvPr>
            <p:ph type="body" sz="quarter" idx="24" hasCustomPrompt="1"/>
          </p:nvPr>
        </p:nvSpPr>
        <p:spPr>
          <a:xfrm>
            <a:off x="8343546" y="3755424"/>
            <a:ext cx="3187973" cy="520092"/>
          </a:xfrm>
        </p:spPr>
        <p:txBody>
          <a:bodyPr>
            <a:noAutofit/>
          </a:bodyPr>
          <a:lstStyle>
            <a:lvl1pPr marL="0" indent="0" algn="ctr">
              <a:spcBef>
                <a:spcPts val="0"/>
              </a:spcBef>
              <a:buNone/>
              <a:defRPr sz="2400" b="1">
                <a:solidFill>
                  <a:srgbClr val="47DA86"/>
                </a:solidFill>
              </a:defRPr>
            </a:lvl1pPr>
          </a:lstStyle>
          <a:p>
            <a:pPr lvl="0"/>
            <a:r>
              <a:rPr lang="en-GB"/>
              <a:t>Header 3</a:t>
            </a:r>
            <a:endParaRPr lang="en-NL"/>
          </a:p>
        </p:txBody>
      </p:sp>
      <p:sp>
        <p:nvSpPr>
          <p:cNvPr id="3" name="Graphic 2">
            <a:extLst>
              <a:ext uri="{FF2B5EF4-FFF2-40B4-BE49-F238E27FC236}">
                <a16:creationId xmlns:a16="http://schemas.microsoft.com/office/drawing/2014/main" id="{BC540ADC-D630-3558-C7DE-7A4AB74E66DD}"/>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NL"/>
          </a:p>
        </p:txBody>
      </p:sp>
      <p:sp>
        <p:nvSpPr>
          <p:cNvPr id="4" name="Slide Number Placeholder 3">
            <a:extLst>
              <a:ext uri="{FF2B5EF4-FFF2-40B4-BE49-F238E27FC236}">
                <a16:creationId xmlns:a16="http://schemas.microsoft.com/office/drawing/2014/main" id="{B1720F34-EE38-1EB6-D2BC-389D6E7C2435}"/>
              </a:ext>
            </a:extLst>
          </p:cNvPr>
          <p:cNvSpPr>
            <a:spLocks noGrp="1"/>
          </p:cNvSpPr>
          <p:nvPr>
            <p:ph type="sldNum" sz="quarter" idx="25"/>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360350518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Basic, Large Header">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BCDC415B-B0B1-B0CE-EF86-346D3A4E6A47}"/>
              </a:ext>
            </a:extLst>
          </p:cNvPr>
          <p:cNvSpPr>
            <a:spLocks noGrp="1"/>
          </p:cNvSpPr>
          <p:nvPr>
            <p:ph type="body" sz="quarter" idx="16" hasCustomPrompt="1"/>
          </p:nvPr>
        </p:nvSpPr>
        <p:spPr>
          <a:xfrm>
            <a:off x="658813" y="549275"/>
            <a:ext cx="5761037" cy="2188455"/>
          </a:xfrm>
        </p:spPr>
        <p:txBody>
          <a:bodyPr anchor="b" anchorCtr="0">
            <a:normAutofit/>
          </a:bodyPr>
          <a:lstStyle>
            <a:lvl1pPr marL="0" indent="0">
              <a:lnSpc>
                <a:spcPct val="100000"/>
              </a:lnSpc>
              <a:spcBef>
                <a:spcPts val="0"/>
              </a:spcBef>
              <a:buNone/>
              <a:defRPr sz="6500" b="1">
                <a:latin typeface="+mj-lt"/>
              </a:defRPr>
            </a:lvl1pPr>
          </a:lstStyle>
          <a:p>
            <a:pPr lvl="0"/>
            <a:r>
              <a:rPr lang="en-GB" dirty="0"/>
              <a:t>A captivating headline</a:t>
            </a:r>
          </a:p>
        </p:txBody>
      </p:sp>
      <p:sp>
        <p:nvSpPr>
          <p:cNvPr id="9" name="Slide Number Placeholder 8">
            <a:extLst>
              <a:ext uri="{FF2B5EF4-FFF2-40B4-BE49-F238E27FC236}">
                <a16:creationId xmlns:a16="http://schemas.microsoft.com/office/drawing/2014/main" id="{6F3918CB-A61A-8A43-05DE-7D51ECBE796D}"/>
              </a:ext>
            </a:extLst>
          </p:cNvPr>
          <p:cNvSpPr>
            <a:spLocks noGrp="1"/>
          </p:cNvSpPr>
          <p:nvPr>
            <p:ph type="sldNum" sz="quarter" idx="18"/>
          </p:nvPr>
        </p:nvSpPr>
        <p:spPr/>
        <p:txBody>
          <a:bodyPr/>
          <a:lstStyle/>
          <a:p>
            <a:fld id="{0994303E-A424-9540-91A8-53B791C91E8F}" type="slidenum">
              <a:rPr lang="en-GB" smtClean="0"/>
              <a:pPr/>
              <a:t>‹#›</a:t>
            </a:fld>
            <a:endParaRPr lang="en-GB" dirty="0"/>
          </a:p>
        </p:txBody>
      </p:sp>
      <p:sp>
        <p:nvSpPr>
          <p:cNvPr id="7" name="Text Placeholder 6">
            <a:extLst>
              <a:ext uri="{FF2B5EF4-FFF2-40B4-BE49-F238E27FC236}">
                <a16:creationId xmlns:a16="http://schemas.microsoft.com/office/drawing/2014/main" id="{19C4ACA5-144B-43D4-2B92-D3B3ED763222}"/>
              </a:ext>
            </a:extLst>
          </p:cNvPr>
          <p:cNvSpPr>
            <a:spLocks noGrp="1"/>
          </p:cNvSpPr>
          <p:nvPr>
            <p:ph type="body" sz="quarter" idx="19" hasCustomPrompt="1"/>
          </p:nvPr>
        </p:nvSpPr>
        <p:spPr>
          <a:xfrm>
            <a:off x="658811" y="3045692"/>
            <a:ext cx="5113338" cy="2759796"/>
          </a:xfrm>
        </p:spPr>
        <p:txBody>
          <a:bodyPr/>
          <a:lstStyle>
            <a:lvl1pPr marL="0" indent="0">
              <a:buNone/>
              <a:defRPr/>
            </a:lvl1pPr>
          </a:lstStyle>
          <a:p>
            <a:pPr lvl="0"/>
            <a:r>
              <a:rPr lang="en-GB" dirty="0" err="1"/>
              <a:t>Sed</a:t>
            </a:r>
            <a:r>
              <a:rPr lang="en-GB" dirty="0"/>
              <a:t> </a:t>
            </a:r>
            <a:r>
              <a:rPr lang="en-GB" dirty="0" err="1"/>
              <a:t>ut</a:t>
            </a:r>
            <a:r>
              <a:rPr lang="en-GB" dirty="0"/>
              <a:t> </a:t>
            </a:r>
            <a:r>
              <a:rPr lang="en-GB" dirty="0" err="1"/>
              <a:t>perspiciatis</a:t>
            </a:r>
            <a:r>
              <a:rPr lang="en-GB" dirty="0"/>
              <a:t> </a:t>
            </a:r>
            <a:r>
              <a:rPr lang="en-GB" dirty="0" err="1"/>
              <a:t>unde</a:t>
            </a:r>
            <a:r>
              <a:rPr lang="en-GB" dirty="0"/>
              <a:t> </a:t>
            </a:r>
            <a:r>
              <a:rPr lang="en-GB" dirty="0" err="1"/>
              <a:t>omnis</a:t>
            </a:r>
            <a:r>
              <a:rPr lang="en-GB" dirty="0"/>
              <a:t> </a:t>
            </a:r>
            <a:r>
              <a:rPr lang="en-GB" dirty="0" err="1"/>
              <a:t>iste</a:t>
            </a:r>
            <a:r>
              <a:rPr lang="en-GB" dirty="0"/>
              <a:t> </a:t>
            </a:r>
            <a:r>
              <a:rPr lang="en-GB" dirty="0" err="1"/>
              <a:t>natus</a:t>
            </a:r>
            <a:r>
              <a:rPr lang="en-GB" dirty="0"/>
              <a:t> error sit </a:t>
            </a:r>
            <a:r>
              <a:rPr lang="en-GB" dirty="0" err="1"/>
              <a:t>voluptatem</a:t>
            </a:r>
            <a:r>
              <a:rPr lang="en-GB" dirty="0"/>
              <a:t> </a:t>
            </a:r>
            <a:r>
              <a:rPr lang="en-GB" dirty="0" err="1"/>
              <a:t>accusantium</a:t>
            </a:r>
            <a:r>
              <a:rPr lang="en-GB" dirty="0"/>
              <a:t> </a:t>
            </a:r>
            <a:r>
              <a:rPr lang="en-GB" dirty="0" err="1"/>
              <a:t>doloremque</a:t>
            </a:r>
            <a:r>
              <a:rPr lang="en-GB" dirty="0"/>
              <a:t> </a:t>
            </a:r>
            <a:r>
              <a:rPr lang="en-GB" dirty="0" err="1"/>
              <a:t>laudantium</a:t>
            </a:r>
            <a:r>
              <a:rPr lang="en-GB" dirty="0"/>
              <a:t>, </a:t>
            </a:r>
            <a:r>
              <a:rPr lang="en-GB" dirty="0" err="1"/>
              <a:t>totam</a:t>
            </a:r>
            <a:r>
              <a:rPr lang="en-GB" dirty="0"/>
              <a:t> rem </a:t>
            </a:r>
            <a:r>
              <a:rPr lang="en-GB" dirty="0" err="1"/>
              <a:t>aperiam</a:t>
            </a:r>
            <a:r>
              <a:rPr lang="en-GB" dirty="0"/>
              <a:t>, </a:t>
            </a:r>
            <a:r>
              <a:rPr lang="en-GB" dirty="0" err="1"/>
              <a:t>eaque</a:t>
            </a:r>
            <a:r>
              <a:rPr lang="en-GB" dirty="0"/>
              <a:t> </a:t>
            </a:r>
            <a:r>
              <a:rPr lang="en-GB" dirty="0" err="1"/>
              <a:t>ipsa</a:t>
            </a:r>
            <a:r>
              <a:rPr lang="en-GB" dirty="0"/>
              <a:t> </a:t>
            </a:r>
            <a:r>
              <a:rPr lang="en-GB" dirty="0" err="1"/>
              <a:t>quae</a:t>
            </a:r>
            <a:r>
              <a:rPr lang="en-GB" dirty="0"/>
              <a:t> ab </a:t>
            </a:r>
            <a:r>
              <a:rPr lang="en-GB" dirty="0" err="1"/>
              <a:t>illo</a:t>
            </a:r>
            <a:r>
              <a:rPr lang="en-GB" dirty="0"/>
              <a:t> </a:t>
            </a:r>
            <a:r>
              <a:rPr lang="en-GB" dirty="0" err="1"/>
              <a:t>inventore</a:t>
            </a:r>
            <a:r>
              <a:rPr lang="en-GB" dirty="0"/>
              <a:t> </a:t>
            </a:r>
            <a:r>
              <a:rPr lang="en-GB" dirty="0" err="1"/>
              <a:t>veritatis</a:t>
            </a:r>
            <a:r>
              <a:rPr lang="en-GB" dirty="0"/>
              <a:t> et quasi </a:t>
            </a:r>
            <a:r>
              <a:rPr lang="en-GB" dirty="0" err="1"/>
              <a:t>architecto</a:t>
            </a:r>
            <a:r>
              <a:rPr lang="en-GB" dirty="0"/>
              <a:t> beatae vitae dicta sunt </a:t>
            </a:r>
            <a:r>
              <a:rPr lang="en-GB" dirty="0" err="1"/>
              <a:t>explicabo</a:t>
            </a:r>
            <a:r>
              <a:rPr lang="en-GB" dirty="0"/>
              <a:t>. Nemo </a:t>
            </a:r>
            <a:r>
              <a:rPr lang="en-GB" dirty="0" err="1"/>
              <a:t>enim</a:t>
            </a:r>
            <a:r>
              <a:rPr lang="en-GB" dirty="0"/>
              <a:t> </a:t>
            </a:r>
            <a:r>
              <a:rPr lang="en-GB" dirty="0" err="1"/>
              <a:t>ipsam</a:t>
            </a:r>
            <a:r>
              <a:rPr lang="en-GB" dirty="0"/>
              <a:t> </a:t>
            </a:r>
            <a:r>
              <a:rPr lang="en-GB" dirty="0" err="1"/>
              <a:t>voluptatem</a:t>
            </a:r>
            <a:r>
              <a:rPr lang="en-GB" dirty="0"/>
              <a:t> </a:t>
            </a:r>
            <a:r>
              <a:rPr lang="en-GB" dirty="0" err="1"/>
              <a:t>quia</a:t>
            </a:r>
            <a:r>
              <a:rPr lang="en-GB" dirty="0"/>
              <a:t> </a:t>
            </a:r>
            <a:r>
              <a:rPr lang="en-GB" dirty="0" err="1"/>
              <a:t>voluptas</a:t>
            </a:r>
            <a:r>
              <a:rPr lang="en-GB" dirty="0"/>
              <a:t> sit </a:t>
            </a:r>
            <a:r>
              <a:rPr lang="en-GB" dirty="0" err="1"/>
              <a:t>aspernatur</a:t>
            </a:r>
            <a:r>
              <a:rPr lang="en-GB" dirty="0"/>
              <a:t> </a:t>
            </a:r>
            <a:r>
              <a:rPr lang="en-GB" dirty="0" err="1"/>
              <a:t>aut</a:t>
            </a:r>
            <a:r>
              <a:rPr lang="en-GB" dirty="0"/>
              <a:t> </a:t>
            </a:r>
            <a:r>
              <a:rPr lang="en-GB" dirty="0" err="1"/>
              <a:t>odit</a:t>
            </a:r>
            <a:r>
              <a:rPr lang="en-GB" dirty="0"/>
              <a:t> </a:t>
            </a:r>
            <a:r>
              <a:rPr lang="en-GB" dirty="0" err="1"/>
              <a:t>aut</a:t>
            </a:r>
            <a:r>
              <a:rPr lang="en-GB" dirty="0"/>
              <a:t> fugit, </a:t>
            </a:r>
            <a:r>
              <a:rPr lang="en-GB" dirty="0" err="1"/>
              <a:t>sed</a:t>
            </a:r>
            <a:r>
              <a:rPr lang="en-GB" dirty="0"/>
              <a:t> </a:t>
            </a:r>
            <a:r>
              <a:rPr lang="en-GB" dirty="0" err="1"/>
              <a:t>quia</a:t>
            </a:r>
            <a:r>
              <a:rPr lang="en-GB" dirty="0"/>
              <a:t> </a:t>
            </a:r>
            <a:r>
              <a:rPr lang="en-GB" dirty="0" err="1"/>
              <a:t>consequuntur</a:t>
            </a:r>
            <a:r>
              <a:rPr lang="en-GB" dirty="0"/>
              <a:t> </a:t>
            </a:r>
            <a:r>
              <a:rPr lang="en-GB" dirty="0" err="1"/>
              <a:t>magni</a:t>
            </a:r>
            <a:r>
              <a:rPr lang="en-GB" dirty="0"/>
              <a:t> </a:t>
            </a:r>
            <a:r>
              <a:rPr lang="en-GB" dirty="0" err="1"/>
              <a:t>dolores</a:t>
            </a:r>
            <a:r>
              <a:rPr lang="en-GB" dirty="0"/>
              <a:t> </a:t>
            </a:r>
            <a:r>
              <a:rPr lang="en-GB" dirty="0" err="1"/>
              <a:t>eos</a:t>
            </a:r>
            <a:r>
              <a:rPr lang="en-GB" dirty="0"/>
              <a:t> qui </a:t>
            </a:r>
            <a:r>
              <a:rPr lang="en-GB" dirty="0" err="1"/>
              <a:t>ratione</a:t>
            </a:r>
            <a:r>
              <a:rPr lang="en-GB" dirty="0"/>
              <a:t> </a:t>
            </a:r>
            <a:r>
              <a:rPr lang="en-GB" dirty="0" err="1"/>
              <a:t>voluptatem</a:t>
            </a:r>
            <a:r>
              <a:rPr lang="en-GB" dirty="0"/>
              <a:t> </a:t>
            </a:r>
            <a:r>
              <a:rPr lang="en-GB" dirty="0" err="1"/>
              <a:t>sequi</a:t>
            </a:r>
            <a:r>
              <a:rPr lang="en-GB" dirty="0"/>
              <a:t> </a:t>
            </a:r>
            <a:r>
              <a:rPr lang="en-GB" dirty="0" err="1"/>
              <a:t>nesciunt</a:t>
            </a:r>
            <a:r>
              <a:rPr lang="en-GB" dirty="0"/>
              <a:t>. </a:t>
            </a:r>
            <a:r>
              <a:rPr lang="en-GB" dirty="0" err="1"/>
              <a:t>Neque</a:t>
            </a:r>
            <a:r>
              <a:rPr lang="en-GB" dirty="0"/>
              <a:t> </a:t>
            </a:r>
            <a:r>
              <a:rPr lang="en-GB" dirty="0" err="1"/>
              <a:t>porro</a:t>
            </a:r>
            <a:r>
              <a:rPr lang="en-GB" dirty="0"/>
              <a:t> </a:t>
            </a:r>
            <a:r>
              <a:rPr lang="en-GB" dirty="0" err="1"/>
              <a:t>quisquam</a:t>
            </a:r>
            <a:r>
              <a:rPr lang="en-GB" dirty="0"/>
              <a:t> </a:t>
            </a:r>
            <a:r>
              <a:rPr lang="en-GB" dirty="0" err="1"/>
              <a:t>est</a:t>
            </a:r>
            <a:r>
              <a:rPr lang="en-GB" dirty="0"/>
              <a:t>, qui </a:t>
            </a:r>
            <a:r>
              <a:rPr lang="en-GB" dirty="0" err="1"/>
              <a:t>dolorem</a:t>
            </a:r>
            <a:r>
              <a:rPr lang="en-GB" dirty="0"/>
              <a:t> ipsum </a:t>
            </a:r>
            <a:r>
              <a:rPr lang="en-GB" dirty="0" err="1"/>
              <a:t>quia</a:t>
            </a:r>
            <a:r>
              <a:rPr lang="en-GB" dirty="0"/>
              <a:t>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a:t>
            </a:r>
            <a:r>
              <a:rPr lang="en-GB" dirty="0"/>
              <a:t> </a:t>
            </a:r>
            <a:r>
              <a:rPr lang="en-GB" dirty="0" err="1"/>
              <a:t>velit</a:t>
            </a:r>
            <a:r>
              <a:rPr lang="en-GB" dirty="0"/>
              <a:t>, </a:t>
            </a:r>
            <a:r>
              <a:rPr lang="en-GB" dirty="0" err="1"/>
              <a:t>sed</a:t>
            </a:r>
            <a:r>
              <a:rPr lang="en-GB" dirty="0"/>
              <a:t> </a:t>
            </a:r>
            <a:r>
              <a:rPr lang="en-GB" dirty="0" err="1"/>
              <a:t>quia</a:t>
            </a:r>
            <a:r>
              <a:rPr lang="en-GB" dirty="0"/>
              <a:t> non </a:t>
            </a:r>
            <a:r>
              <a:rPr lang="en-GB" dirty="0" err="1"/>
              <a:t>numquam</a:t>
            </a:r>
            <a:r>
              <a:rPr lang="en-GB" dirty="0"/>
              <a:t> </a:t>
            </a:r>
            <a:r>
              <a:rPr lang="en-GB" dirty="0" err="1"/>
              <a:t>eius</a:t>
            </a:r>
            <a:r>
              <a:rPr lang="en-GB" dirty="0"/>
              <a:t> </a:t>
            </a:r>
            <a:r>
              <a:rPr lang="en-GB" dirty="0" err="1"/>
              <a:t>modi</a:t>
            </a:r>
            <a:r>
              <a:rPr lang="en-GB" dirty="0"/>
              <a:t> </a:t>
            </a:r>
            <a:r>
              <a:rPr lang="en-GB" dirty="0" err="1"/>
              <a:t>tempora</a:t>
            </a:r>
            <a:r>
              <a:rPr lang="en-GB" dirty="0"/>
              <a:t> </a:t>
            </a:r>
            <a:r>
              <a:rPr lang="en-GB" dirty="0" err="1"/>
              <a:t>incidunt</a:t>
            </a:r>
            <a:r>
              <a:rPr lang="en-GB" dirty="0"/>
              <a:t> </a:t>
            </a:r>
            <a:r>
              <a:rPr lang="en-GB" dirty="0" err="1"/>
              <a:t>ut</a:t>
            </a:r>
            <a:r>
              <a:rPr lang="en-GB" dirty="0"/>
              <a:t> labore et dolore </a:t>
            </a:r>
            <a:r>
              <a:rPr lang="en-GB" dirty="0" err="1"/>
              <a:t>magnam</a:t>
            </a:r>
            <a:r>
              <a:rPr lang="en-GB" dirty="0"/>
              <a:t> </a:t>
            </a:r>
            <a:r>
              <a:rPr lang="en-GB" dirty="0" err="1"/>
              <a:t>aliquam</a:t>
            </a:r>
            <a:r>
              <a:rPr lang="en-GB" dirty="0"/>
              <a:t> </a:t>
            </a:r>
            <a:r>
              <a:rPr lang="en-GB" dirty="0" err="1"/>
              <a:t>quaerat</a:t>
            </a:r>
            <a:r>
              <a:rPr lang="en-GB" dirty="0"/>
              <a:t> </a:t>
            </a:r>
            <a:r>
              <a:rPr lang="en-GB" dirty="0" err="1"/>
              <a:t>voluptatem</a:t>
            </a:r>
            <a:r>
              <a:rPr lang="en-GB" dirty="0"/>
              <a:t>.</a:t>
            </a:r>
          </a:p>
        </p:txBody>
      </p:sp>
    </p:spTree>
    <p:extLst>
      <p:ext uri="{BB962C8B-B14F-4D97-AF65-F5344CB8AC3E}">
        <p14:creationId xmlns:p14="http://schemas.microsoft.com/office/powerpoint/2010/main" val="3590530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ebbles (Green)">
    <p:spTree>
      <p:nvGrpSpPr>
        <p:cNvPr id="1" name=""/>
        <p:cNvGrpSpPr/>
        <p:nvPr/>
      </p:nvGrpSpPr>
      <p:grpSpPr>
        <a:xfrm>
          <a:off x="0" y="0"/>
          <a:ext cx="0" cy="0"/>
          <a:chOff x="0" y="0"/>
          <a:chExt cx="0" cy="0"/>
        </a:xfrm>
      </p:grpSpPr>
      <p:sp>
        <p:nvSpPr>
          <p:cNvPr id="3" name="Graphic 2">
            <a:extLst>
              <a:ext uri="{FF2B5EF4-FFF2-40B4-BE49-F238E27FC236}">
                <a16:creationId xmlns:a16="http://schemas.microsoft.com/office/drawing/2014/main" id="{BC540ADC-D630-3558-C7DE-7A4AB74E66DD}"/>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NL"/>
          </a:p>
        </p:txBody>
      </p:sp>
      <p:sp>
        <p:nvSpPr>
          <p:cNvPr id="4" name="Slide Number Placeholder 3">
            <a:extLst>
              <a:ext uri="{FF2B5EF4-FFF2-40B4-BE49-F238E27FC236}">
                <a16:creationId xmlns:a16="http://schemas.microsoft.com/office/drawing/2014/main" id="{B1720F34-EE38-1EB6-D2BC-389D6E7C2435}"/>
              </a:ext>
            </a:extLst>
          </p:cNvPr>
          <p:cNvSpPr>
            <a:spLocks noGrp="1"/>
          </p:cNvSpPr>
          <p:nvPr>
            <p:ph type="sldNum" sz="quarter" idx="25"/>
          </p:nvPr>
        </p:nvSpPr>
        <p:spPr/>
        <p:txBody>
          <a:bodyPr/>
          <a:lstStyle/>
          <a:p>
            <a:fld id="{0994303E-A424-9540-91A8-53B791C91E8F}" type="slidenum">
              <a:rPr lang="en-NL" smtClean="0"/>
              <a:pPr/>
              <a:t>‹#›</a:t>
            </a:fld>
            <a:endParaRPr lang="en-NL"/>
          </a:p>
        </p:txBody>
      </p:sp>
      <p:sp>
        <p:nvSpPr>
          <p:cNvPr id="2" name="Picture Placeholder 65">
            <a:extLst>
              <a:ext uri="{FF2B5EF4-FFF2-40B4-BE49-F238E27FC236}">
                <a16:creationId xmlns:a16="http://schemas.microsoft.com/office/drawing/2014/main" id="{9837690D-0E7C-A9A8-61D2-D0E7E3260621}"/>
              </a:ext>
            </a:extLst>
          </p:cNvPr>
          <p:cNvSpPr>
            <a:spLocks noGrp="1"/>
          </p:cNvSpPr>
          <p:nvPr>
            <p:ph type="pic" sz="quarter" idx="15"/>
          </p:nvPr>
        </p:nvSpPr>
        <p:spPr>
          <a:xfrm>
            <a:off x="6508923" y="3620604"/>
            <a:ext cx="1154057" cy="1164548"/>
          </a:xfrm>
          <a:custGeom>
            <a:avLst/>
            <a:gdLst>
              <a:gd name="connsiteX0" fmla="*/ 620546 w 1154057"/>
              <a:gd name="connsiteY0" fmla="*/ 1074 h 1164548"/>
              <a:gd name="connsiteX1" fmla="*/ 740037 w 1154057"/>
              <a:gd name="connsiteY1" fmla="*/ 30926 h 1164548"/>
              <a:gd name="connsiteX2" fmla="*/ 1149079 w 1154057"/>
              <a:gd name="connsiteY2" fmla="*/ 544452 h 1164548"/>
              <a:gd name="connsiteX3" fmla="*/ 1006132 w 1154057"/>
              <a:gd name="connsiteY3" fmla="*/ 957097 h 1164548"/>
              <a:gd name="connsiteX4" fmla="*/ 883647 w 1154057"/>
              <a:gd name="connsiteY4" fmla="*/ 1053039 h 1164548"/>
              <a:gd name="connsiteX5" fmla="*/ 162661 w 1154057"/>
              <a:gd name="connsiteY5" fmla="*/ 1067667 h 1164548"/>
              <a:gd name="connsiteX6" fmla="*/ 579 w 1154057"/>
              <a:gd name="connsiteY6" fmla="*/ 741180 h 1164548"/>
              <a:gd name="connsiteX7" fmla="*/ 256727 w 1154057"/>
              <a:gd name="connsiteY7" fmla="*/ 146531 h 1164548"/>
              <a:gd name="connsiteX8" fmla="*/ 620546 w 1154057"/>
              <a:gd name="connsiteY8" fmla="*/ 1074 h 116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4057" h="1164548">
                <a:moveTo>
                  <a:pt x="620546" y="1074"/>
                </a:moveTo>
                <a:cubicBezTo>
                  <a:pt x="661868" y="4174"/>
                  <a:pt x="702145" y="14018"/>
                  <a:pt x="740037" y="30926"/>
                </a:cubicBezTo>
                <a:cubicBezTo>
                  <a:pt x="949389" y="123543"/>
                  <a:pt x="1117629" y="334710"/>
                  <a:pt x="1149079" y="544452"/>
                </a:cubicBezTo>
                <a:cubicBezTo>
                  <a:pt x="1171057" y="698529"/>
                  <a:pt x="1119713" y="843201"/>
                  <a:pt x="1006132" y="957097"/>
                </a:cubicBezTo>
                <a:cubicBezTo>
                  <a:pt x="971083" y="992244"/>
                  <a:pt x="930159" y="1024446"/>
                  <a:pt x="883647" y="1053039"/>
                </a:cubicBezTo>
                <a:cubicBezTo>
                  <a:pt x="651181" y="1196096"/>
                  <a:pt x="354772" y="1202081"/>
                  <a:pt x="162661" y="1067667"/>
                </a:cubicBezTo>
                <a:cubicBezTo>
                  <a:pt x="62721" y="988634"/>
                  <a:pt x="6736" y="875689"/>
                  <a:pt x="579" y="741180"/>
                </a:cubicBezTo>
                <a:cubicBezTo>
                  <a:pt x="-8705" y="539607"/>
                  <a:pt x="94456" y="299943"/>
                  <a:pt x="256727" y="146531"/>
                </a:cubicBezTo>
                <a:cubicBezTo>
                  <a:pt x="363227" y="43156"/>
                  <a:pt x="496583" y="-8228"/>
                  <a:pt x="620546" y="1074"/>
                </a:cubicBezTo>
                <a:close/>
              </a:path>
            </a:pathLst>
          </a:custGeom>
        </p:spPr>
        <p:txBody>
          <a:bodyPr wrap="square" anchor="ctr">
            <a:noAutofit/>
          </a:bodyPr>
          <a:lstStyle>
            <a:lvl1pPr marL="0" indent="0" algn="ctr">
              <a:buNone/>
              <a:defRPr sz="1000">
                <a:solidFill>
                  <a:schemeClr val="tx1"/>
                </a:solidFill>
              </a:defRPr>
            </a:lvl1pPr>
          </a:lstStyle>
          <a:p>
            <a:r>
              <a:rPr lang="en-US"/>
              <a:t>Click icon to add picture</a:t>
            </a:r>
          </a:p>
        </p:txBody>
      </p:sp>
      <p:sp>
        <p:nvSpPr>
          <p:cNvPr id="5" name="Picture Placeholder 66">
            <a:extLst>
              <a:ext uri="{FF2B5EF4-FFF2-40B4-BE49-F238E27FC236}">
                <a16:creationId xmlns:a16="http://schemas.microsoft.com/office/drawing/2014/main" id="{901EA444-14DF-630E-978D-84C0117E66D6}"/>
              </a:ext>
            </a:extLst>
          </p:cNvPr>
          <p:cNvSpPr>
            <a:spLocks noGrp="1"/>
          </p:cNvSpPr>
          <p:nvPr>
            <p:ph type="pic" sz="quarter" idx="16"/>
          </p:nvPr>
        </p:nvSpPr>
        <p:spPr>
          <a:xfrm>
            <a:off x="7810410" y="3608348"/>
            <a:ext cx="1107883" cy="1189060"/>
          </a:xfrm>
          <a:custGeom>
            <a:avLst/>
            <a:gdLst>
              <a:gd name="connsiteX0" fmla="*/ 518352 w 1107883"/>
              <a:gd name="connsiteY0" fmla="*/ 3 h 1189060"/>
              <a:gd name="connsiteX1" fmla="*/ 916906 w 1107883"/>
              <a:gd name="connsiteY1" fmla="*/ 119284 h 1189060"/>
              <a:gd name="connsiteX2" fmla="*/ 1107883 w 1107883"/>
              <a:gd name="connsiteY2" fmla="*/ 511437 h 1189060"/>
              <a:gd name="connsiteX3" fmla="*/ 1088833 w 1107883"/>
              <a:gd name="connsiteY3" fmla="*/ 665779 h 1189060"/>
              <a:gd name="connsiteX4" fmla="*/ 586579 w 1107883"/>
              <a:gd name="connsiteY4" fmla="*/ 1186029 h 1189060"/>
              <a:gd name="connsiteX5" fmla="*/ 239869 w 1107883"/>
              <a:gd name="connsiteY5" fmla="*/ 1070344 h 1189060"/>
              <a:gd name="connsiteX6" fmla="*/ 316 w 1107883"/>
              <a:gd name="connsiteY6" fmla="*/ 469749 h 1189060"/>
              <a:gd name="connsiteX7" fmla="*/ 261967 w 1107883"/>
              <a:gd name="connsiteY7" fmla="*/ 46424 h 1189060"/>
              <a:gd name="connsiteX8" fmla="*/ 518352 w 1107883"/>
              <a:gd name="connsiteY8" fmla="*/ 3 h 118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883" h="1189060">
                <a:moveTo>
                  <a:pt x="518352" y="3"/>
                </a:moveTo>
                <a:cubicBezTo>
                  <a:pt x="664673" y="-378"/>
                  <a:pt x="809989" y="40763"/>
                  <a:pt x="916906" y="119284"/>
                </a:cubicBezTo>
                <a:cubicBezTo>
                  <a:pt x="1041779" y="212419"/>
                  <a:pt x="1107883" y="350748"/>
                  <a:pt x="1107883" y="511437"/>
                </a:cubicBezTo>
                <a:cubicBezTo>
                  <a:pt x="1107883" y="560990"/>
                  <a:pt x="1101596" y="612626"/>
                  <a:pt x="1088833" y="665779"/>
                </a:cubicBezTo>
                <a:cubicBezTo>
                  <a:pt x="1025015" y="931068"/>
                  <a:pt x="818513" y="1144909"/>
                  <a:pt x="586579" y="1186029"/>
                </a:cubicBezTo>
                <a:cubicBezTo>
                  <a:pt x="459516" y="1200904"/>
                  <a:pt x="339596" y="1160827"/>
                  <a:pt x="239869" y="1070344"/>
                </a:cubicBezTo>
                <a:cubicBezTo>
                  <a:pt x="90327" y="934668"/>
                  <a:pt x="-6257" y="692781"/>
                  <a:pt x="316" y="469749"/>
                </a:cubicBezTo>
                <a:cubicBezTo>
                  <a:pt x="3554" y="272109"/>
                  <a:pt x="106234" y="105924"/>
                  <a:pt x="261967" y="46424"/>
                </a:cubicBezTo>
                <a:cubicBezTo>
                  <a:pt x="342406" y="15407"/>
                  <a:pt x="430560" y="231"/>
                  <a:pt x="518352" y="3"/>
                </a:cubicBezTo>
                <a:close/>
              </a:path>
            </a:pathLst>
          </a:custGeom>
        </p:spPr>
        <p:txBody>
          <a:bodyPr wrap="square" anchor="ctr">
            <a:noAutofit/>
          </a:bodyPr>
          <a:lstStyle>
            <a:lvl1pPr marL="0" indent="0" algn="ctr">
              <a:buNone/>
              <a:defRPr sz="1000">
                <a:solidFill>
                  <a:schemeClr val="tx1"/>
                </a:solidFill>
              </a:defRPr>
            </a:lvl1pPr>
          </a:lstStyle>
          <a:p>
            <a:r>
              <a:rPr lang="en-US"/>
              <a:t>Click icon to add picture</a:t>
            </a:r>
          </a:p>
        </p:txBody>
      </p:sp>
      <p:sp>
        <p:nvSpPr>
          <p:cNvPr id="6" name="Picture Placeholder 67">
            <a:extLst>
              <a:ext uri="{FF2B5EF4-FFF2-40B4-BE49-F238E27FC236}">
                <a16:creationId xmlns:a16="http://schemas.microsoft.com/office/drawing/2014/main" id="{0E68EB39-C372-168A-A3CC-8F3CF1317A85}"/>
              </a:ext>
            </a:extLst>
          </p:cNvPr>
          <p:cNvSpPr>
            <a:spLocks noGrp="1"/>
          </p:cNvSpPr>
          <p:nvPr>
            <p:ph type="pic" sz="quarter" idx="17"/>
          </p:nvPr>
        </p:nvSpPr>
        <p:spPr>
          <a:xfrm>
            <a:off x="7803666" y="2055915"/>
            <a:ext cx="1164457" cy="1154057"/>
          </a:xfrm>
          <a:custGeom>
            <a:avLst/>
            <a:gdLst>
              <a:gd name="connsiteX0" fmla="*/ 657822 w 1164457"/>
              <a:gd name="connsiteY0" fmla="*/ 2070 h 1154057"/>
              <a:gd name="connsiteX1" fmla="*/ 957005 w 1164457"/>
              <a:gd name="connsiteY1" fmla="*/ 147925 h 1154057"/>
              <a:gd name="connsiteX2" fmla="*/ 1052947 w 1164457"/>
              <a:gd name="connsiteY2" fmla="*/ 270411 h 1154057"/>
              <a:gd name="connsiteX3" fmla="*/ 1067576 w 1164457"/>
              <a:gd name="connsiteY3" fmla="*/ 991397 h 1154057"/>
              <a:gd name="connsiteX4" fmla="*/ 741089 w 1164457"/>
              <a:gd name="connsiteY4" fmla="*/ 1153384 h 1154057"/>
              <a:gd name="connsiteX5" fmla="*/ 741184 w 1164457"/>
              <a:gd name="connsiteY5" fmla="*/ 1153479 h 1154057"/>
              <a:gd name="connsiteX6" fmla="*/ 146440 w 1164457"/>
              <a:gd name="connsiteY6" fmla="*/ 897331 h 1154057"/>
              <a:gd name="connsiteX7" fmla="*/ 30930 w 1164457"/>
              <a:gd name="connsiteY7" fmla="*/ 414021 h 1154057"/>
              <a:gd name="connsiteX8" fmla="*/ 544361 w 1164457"/>
              <a:gd name="connsiteY8" fmla="*/ 4979 h 1154057"/>
              <a:gd name="connsiteX9" fmla="*/ 657822 w 1164457"/>
              <a:gd name="connsiteY9" fmla="*/ 2070 h 115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4457" h="1154057">
                <a:moveTo>
                  <a:pt x="657822" y="2070"/>
                </a:moveTo>
                <a:cubicBezTo>
                  <a:pt x="768851" y="12563"/>
                  <a:pt x="871584" y="62740"/>
                  <a:pt x="957005" y="147925"/>
                </a:cubicBezTo>
                <a:cubicBezTo>
                  <a:pt x="992152" y="182975"/>
                  <a:pt x="1024355" y="223898"/>
                  <a:pt x="1052947" y="270411"/>
                </a:cubicBezTo>
                <a:cubicBezTo>
                  <a:pt x="1196005" y="502877"/>
                  <a:pt x="1201990" y="799286"/>
                  <a:pt x="1067576" y="991397"/>
                </a:cubicBezTo>
                <a:cubicBezTo>
                  <a:pt x="988543" y="1091242"/>
                  <a:pt x="875502" y="1147227"/>
                  <a:pt x="741089" y="1153384"/>
                </a:cubicBezTo>
                <a:lnTo>
                  <a:pt x="741184" y="1153479"/>
                </a:lnTo>
                <a:cubicBezTo>
                  <a:pt x="539516" y="1162763"/>
                  <a:pt x="299947" y="1059602"/>
                  <a:pt x="146440" y="897331"/>
                </a:cubicBezTo>
                <a:cubicBezTo>
                  <a:pt x="8702" y="755331"/>
                  <a:pt x="-36705" y="565588"/>
                  <a:pt x="30930" y="414021"/>
                </a:cubicBezTo>
                <a:cubicBezTo>
                  <a:pt x="123547" y="204668"/>
                  <a:pt x="334714" y="36429"/>
                  <a:pt x="544361" y="4979"/>
                </a:cubicBezTo>
                <a:cubicBezTo>
                  <a:pt x="582880" y="-515"/>
                  <a:pt x="620812" y="-1427"/>
                  <a:pt x="657822" y="2070"/>
                </a:cubicBezTo>
                <a:close/>
              </a:path>
            </a:pathLst>
          </a:custGeom>
        </p:spPr>
        <p:txBody>
          <a:bodyPr wrap="square" anchor="ctr">
            <a:noAutofit/>
          </a:bodyPr>
          <a:lstStyle>
            <a:lvl1pPr marL="0" indent="0" algn="ctr">
              <a:buNone/>
              <a:defRPr sz="1000">
                <a:solidFill>
                  <a:schemeClr val="tx1"/>
                </a:solidFill>
              </a:defRPr>
            </a:lvl1pPr>
          </a:lstStyle>
          <a:p>
            <a:r>
              <a:rPr lang="en-US"/>
              <a:t>Click icon to add picture</a:t>
            </a:r>
          </a:p>
        </p:txBody>
      </p:sp>
      <p:sp>
        <p:nvSpPr>
          <p:cNvPr id="7" name="Picture Placeholder 68">
            <a:extLst>
              <a:ext uri="{FF2B5EF4-FFF2-40B4-BE49-F238E27FC236}">
                <a16:creationId xmlns:a16="http://schemas.microsoft.com/office/drawing/2014/main" id="{CC390C26-22D6-1A6E-8B73-EB0A727B0C7A}"/>
              </a:ext>
            </a:extLst>
          </p:cNvPr>
          <p:cNvSpPr>
            <a:spLocks noGrp="1"/>
          </p:cNvSpPr>
          <p:nvPr>
            <p:ph type="pic" sz="quarter" idx="18"/>
          </p:nvPr>
        </p:nvSpPr>
        <p:spPr>
          <a:xfrm>
            <a:off x="9065723" y="3648937"/>
            <a:ext cx="1189061" cy="1107883"/>
          </a:xfrm>
          <a:custGeom>
            <a:avLst/>
            <a:gdLst>
              <a:gd name="connsiteX0" fmla="*/ 719312 w 1189061"/>
              <a:gd name="connsiteY0" fmla="*/ 316 h 1107883"/>
              <a:gd name="connsiteX1" fmla="*/ 1142638 w 1189061"/>
              <a:gd name="connsiteY1" fmla="*/ 261967 h 1107883"/>
              <a:gd name="connsiteX2" fmla="*/ 1069778 w 1189061"/>
              <a:gd name="connsiteY2" fmla="*/ 916906 h 1107883"/>
              <a:gd name="connsiteX3" fmla="*/ 677624 w 1189061"/>
              <a:gd name="connsiteY3" fmla="*/ 1107883 h 1107883"/>
              <a:gd name="connsiteX4" fmla="*/ 523283 w 1189061"/>
              <a:gd name="connsiteY4" fmla="*/ 1088833 h 1107883"/>
              <a:gd name="connsiteX5" fmla="*/ 3032 w 1189061"/>
              <a:gd name="connsiteY5" fmla="*/ 586579 h 1107883"/>
              <a:gd name="connsiteX6" fmla="*/ 118717 w 1189061"/>
              <a:gd name="connsiteY6" fmla="*/ 239869 h 1107883"/>
              <a:gd name="connsiteX7" fmla="*/ 719312 w 1189061"/>
              <a:gd name="connsiteY7" fmla="*/ 316 h 110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1" h="1107883">
                <a:moveTo>
                  <a:pt x="719312" y="316"/>
                </a:moveTo>
                <a:cubicBezTo>
                  <a:pt x="916953" y="3554"/>
                  <a:pt x="1083137" y="106234"/>
                  <a:pt x="1142638" y="261967"/>
                </a:cubicBezTo>
                <a:cubicBezTo>
                  <a:pt x="1225351" y="476470"/>
                  <a:pt x="1195411" y="745838"/>
                  <a:pt x="1069778" y="916906"/>
                </a:cubicBezTo>
                <a:cubicBezTo>
                  <a:pt x="976643" y="1041779"/>
                  <a:pt x="838313" y="1107883"/>
                  <a:pt x="677624" y="1107883"/>
                </a:cubicBezTo>
                <a:cubicBezTo>
                  <a:pt x="628072" y="1107883"/>
                  <a:pt x="576435" y="1101596"/>
                  <a:pt x="523283" y="1088833"/>
                </a:cubicBezTo>
                <a:cubicBezTo>
                  <a:pt x="257994" y="1025015"/>
                  <a:pt x="44152" y="818513"/>
                  <a:pt x="3032" y="586579"/>
                </a:cubicBezTo>
                <a:cubicBezTo>
                  <a:pt x="-11843" y="459516"/>
                  <a:pt x="28235" y="339596"/>
                  <a:pt x="118717" y="239869"/>
                </a:cubicBezTo>
                <a:cubicBezTo>
                  <a:pt x="254394" y="90327"/>
                  <a:pt x="496280" y="-6257"/>
                  <a:pt x="719312" y="316"/>
                </a:cubicBezTo>
                <a:close/>
              </a:path>
            </a:pathLst>
          </a:custGeom>
        </p:spPr>
        <p:txBody>
          <a:bodyPr wrap="square" anchor="ctr">
            <a:noAutofit/>
          </a:bodyPr>
          <a:lstStyle>
            <a:lvl1pPr marL="0" indent="0" algn="ctr">
              <a:buNone/>
              <a:defRPr sz="1000">
                <a:solidFill>
                  <a:schemeClr val="tx1"/>
                </a:solidFill>
              </a:defRPr>
            </a:lvl1pPr>
          </a:lstStyle>
          <a:p>
            <a:r>
              <a:rPr lang="en-US"/>
              <a:t>Click icon to add picture</a:t>
            </a:r>
          </a:p>
        </p:txBody>
      </p:sp>
      <p:sp>
        <p:nvSpPr>
          <p:cNvPr id="8" name="Picture Placeholder 69">
            <a:extLst>
              <a:ext uri="{FF2B5EF4-FFF2-40B4-BE49-F238E27FC236}">
                <a16:creationId xmlns:a16="http://schemas.microsoft.com/office/drawing/2014/main" id="{636EDA37-306D-666A-B716-712DC5667441}"/>
              </a:ext>
            </a:extLst>
          </p:cNvPr>
          <p:cNvSpPr>
            <a:spLocks noGrp="1"/>
          </p:cNvSpPr>
          <p:nvPr>
            <p:ph type="pic" sz="quarter" idx="19"/>
          </p:nvPr>
        </p:nvSpPr>
        <p:spPr>
          <a:xfrm>
            <a:off x="9091307" y="2055915"/>
            <a:ext cx="1164633" cy="1154057"/>
          </a:xfrm>
          <a:custGeom>
            <a:avLst/>
            <a:gdLst>
              <a:gd name="connsiteX0" fmla="*/ 423358 w 1164633"/>
              <a:gd name="connsiteY0" fmla="*/ 579 h 1154057"/>
              <a:gd name="connsiteX1" fmla="*/ 1018102 w 1164633"/>
              <a:gd name="connsiteY1" fmla="*/ 256727 h 1154057"/>
              <a:gd name="connsiteX2" fmla="*/ 1133708 w 1164633"/>
              <a:gd name="connsiteY2" fmla="*/ 740037 h 1154057"/>
              <a:gd name="connsiteX3" fmla="*/ 620182 w 1164633"/>
              <a:gd name="connsiteY3" fmla="*/ 1149079 h 1154057"/>
              <a:gd name="connsiteX4" fmla="*/ 207537 w 1164633"/>
              <a:gd name="connsiteY4" fmla="*/ 1006132 h 1154057"/>
              <a:gd name="connsiteX5" fmla="*/ 111595 w 1164633"/>
              <a:gd name="connsiteY5" fmla="*/ 883647 h 1154057"/>
              <a:gd name="connsiteX6" fmla="*/ 96871 w 1164633"/>
              <a:gd name="connsiteY6" fmla="*/ 162661 h 1154057"/>
              <a:gd name="connsiteX7" fmla="*/ 423358 w 1164633"/>
              <a:gd name="connsiteY7" fmla="*/ 579 h 115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4633" h="1154057">
                <a:moveTo>
                  <a:pt x="423358" y="579"/>
                </a:moveTo>
                <a:cubicBezTo>
                  <a:pt x="625026" y="-8705"/>
                  <a:pt x="864596" y="94456"/>
                  <a:pt x="1018102" y="256727"/>
                </a:cubicBezTo>
                <a:cubicBezTo>
                  <a:pt x="1155936" y="398727"/>
                  <a:pt x="1201342" y="588470"/>
                  <a:pt x="1133708" y="740037"/>
                </a:cubicBezTo>
                <a:cubicBezTo>
                  <a:pt x="1041090" y="949389"/>
                  <a:pt x="829924" y="1117629"/>
                  <a:pt x="620182" y="1149079"/>
                </a:cubicBezTo>
                <a:cubicBezTo>
                  <a:pt x="466105" y="1171057"/>
                  <a:pt x="321432" y="1119713"/>
                  <a:pt x="207537" y="1006132"/>
                </a:cubicBezTo>
                <a:cubicBezTo>
                  <a:pt x="172390" y="971083"/>
                  <a:pt x="140188" y="930159"/>
                  <a:pt x="111595" y="883647"/>
                </a:cubicBezTo>
                <a:cubicBezTo>
                  <a:pt x="-31558" y="651181"/>
                  <a:pt x="-37542" y="354772"/>
                  <a:pt x="96871" y="162661"/>
                </a:cubicBezTo>
                <a:cubicBezTo>
                  <a:pt x="175905" y="62721"/>
                  <a:pt x="288850" y="6736"/>
                  <a:pt x="423358" y="579"/>
                </a:cubicBezTo>
                <a:close/>
              </a:path>
            </a:pathLst>
          </a:custGeom>
        </p:spPr>
        <p:txBody>
          <a:bodyPr wrap="square" anchor="ctr">
            <a:noAutofit/>
          </a:bodyPr>
          <a:lstStyle>
            <a:lvl1pPr marL="0" indent="0" algn="ctr">
              <a:buNone/>
              <a:defRPr sz="1000">
                <a:solidFill>
                  <a:schemeClr val="tx1"/>
                </a:solidFill>
              </a:defRPr>
            </a:lvl1pPr>
          </a:lstStyle>
          <a:p>
            <a:r>
              <a:rPr lang="en-US"/>
              <a:t>Click icon to add picture</a:t>
            </a:r>
          </a:p>
        </p:txBody>
      </p:sp>
      <p:sp>
        <p:nvSpPr>
          <p:cNvPr id="9" name="Picture Placeholder 70">
            <a:extLst>
              <a:ext uri="{FF2B5EF4-FFF2-40B4-BE49-F238E27FC236}">
                <a16:creationId xmlns:a16="http://schemas.microsoft.com/office/drawing/2014/main" id="{F44AAF14-9864-C522-76DD-39D054272F76}"/>
              </a:ext>
            </a:extLst>
          </p:cNvPr>
          <p:cNvSpPr>
            <a:spLocks noGrp="1"/>
          </p:cNvSpPr>
          <p:nvPr>
            <p:ph type="pic" sz="quarter" idx="20"/>
          </p:nvPr>
        </p:nvSpPr>
        <p:spPr>
          <a:xfrm>
            <a:off x="10402215" y="3608348"/>
            <a:ext cx="1107882" cy="1189061"/>
          </a:xfrm>
          <a:custGeom>
            <a:avLst/>
            <a:gdLst>
              <a:gd name="connsiteX0" fmla="*/ 615058 w 1107882"/>
              <a:gd name="connsiteY0" fmla="*/ 2108 h 1189061"/>
              <a:gd name="connsiteX1" fmla="*/ 868013 w 1107882"/>
              <a:gd name="connsiteY1" fmla="*/ 118717 h 1189061"/>
              <a:gd name="connsiteX2" fmla="*/ 1107567 w 1107882"/>
              <a:gd name="connsiteY2" fmla="*/ 719312 h 1189061"/>
              <a:gd name="connsiteX3" fmla="*/ 845915 w 1107882"/>
              <a:gd name="connsiteY3" fmla="*/ 1142638 h 1189061"/>
              <a:gd name="connsiteX4" fmla="*/ 190976 w 1107882"/>
              <a:gd name="connsiteY4" fmla="*/ 1069778 h 1189061"/>
              <a:gd name="connsiteX5" fmla="*/ 0 w 1107882"/>
              <a:gd name="connsiteY5" fmla="*/ 677624 h 1189061"/>
              <a:gd name="connsiteX6" fmla="*/ 19050 w 1107882"/>
              <a:gd name="connsiteY6" fmla="*/ 523283 h 1189061"/>
              <a:gd name="connsiteX7" fmla="*/ 521303 w 1107882"/>
              <a:gd name="connsiteY7" fmla="*/ 3032 h 1189061"/>
              <a:gd name="connsiteX8" fmla="*/ 615058 w 1107882"/>
              <a:gd name="connsiteY8" fmla="*/ 2108 h 118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882" h="1189061">
                <a:moveTo>
                  <a:pt x="615058" y="2108"/>
                </a:moveTo>
                <a:cubicBezTo>
                  <a:pt x="707065" y="11346"/>
                  <a:pt x="793218" y="50856"/>
                  <a:pt x="868013" y="118717"/>
                </a:cubicBezTo>
                <a:cubicBezTo>
                  <a:pt x="1017556" y="254394"/>
                  <a:pt x="1114139" y="496280"/>
                  <a:pt x="1107567" y="719312"/>
                </a:cubicBezTo>
                <a:cubicBezTo>
                  <a:pt x="1104329" y="916953"/>
                  <a:pt x="1001649" y="1083137"/>
                  <a:pt x="845915" y="1142638"/>
                </a:cubicBezTo>
                <a:cubicBezTo>
                  <a:pt x="631412" y="1225351"/>
                  <a:pt x="362045" y="1195411"/>
                  <a:pt x="190976" y="1069778"/>
                </a:cubicBezTo>
                <a:cubicBezTo>
                  <a:pt x="66104" y="976643"/>
                  <a:pt x="0" y="838313"/>
                  <a:pt x="0" y="677624"/>
                </a:cubicBezTo>
                <a:cubicBezTo>
                  <a:pt x="0" y="628072"/>
                  <a:pt x="6287" y="576435"/>
                  <a:pt x="19050" y="523283"/>
                </a:cubicBezTo>
                <a:cubicBezTo>
                  <a:pt x="82868" y="257994"/>
                  <a:pt x="289370" y="44152"/>
                  <a:pt x="521303" y="3032"/>
                </a:cubicBezTo>
                <a:cubicBezTo>
                  <a:pt x="553069" y="-687"/>
                  <a:pt x="584389" y="-971"/>
                  <a:pt x="615058" y="2108"/>
                </a:cubicBezTo>
                <a:close/>
              </a:path>
            </a:pathLst>
          </a:custGeom>
        </p:spPr>
        <p:txBody>
          <a:bodyPr wrap="square" anchor="ctr">
            <a:noAutofit/>
          </a:bodyPr>
          <a:lstStyle>
            <a:lvl1pPr marL="0" indent="0" algn="ctr">
              <a:buNone/>
              <a:defRPr sz="1000">
                <a:solidFill>
                  <a:schemeClr val="tx1"/>
                </a:solidFill>
              </a:defRPr>
            </a:lvl1pPr>
          </a:lstStyle>
          <a:p>
            <a:r>
              <a:rPr lang="en-US"/>
              <a:t>Click icon to add picture</a:t>
            </a:r>
          </a:p>
        </p:txBody>
      </p:sp>
      <p:sp>
        <p:nvSpPr>
          <p:cNvPr id="10" name="Picture Placeholder 71">
            <a:extLst>
              <a:ext uri="{FF2B5EF4-FFF2-40B4-BE49-F238E27FC236}">
                <a16:creationId xmlns:a16="http://schemas.microsoft.com/office/drawing/2014/main" id="{D59DBC40-79B4-11A4-D6E6-9057D54002E1}"/>
              </a:ext>
            </a:extLst>
          </p:cNvPr>
          <p:cNvSpPr>
            <a:spLocks noGrp="1"/>
          </p:cNvSpPr>
          <p:nvPr>
            <p:ph type="pic" sz="quarter" idx="21"/>
          </p:nvPr>
        </p:nvSpPr>
        <p:spPr>
          <a:xfrm>
            <a:off x="10379124" y="2050622"/>
            <a:ext cx="1154064" cy="1164642"/>
          </a:xfrm>
          <a:custGeom>
            <a:avLst/>
            <a:gdLst>
              <a:gd name="connsiteX0" fmla="*/ 646043 w 1154064"/>
              <a:gd name="connsiteY0" fmla="*/ 144 h 1164642"/>
              <a:gd name="connsiteX1" fmla="*/ 991404 w 1154064"/>
              <a:gd name="connsiteY1" fmla="*/ 96881 h 1164642"/>
              <a:gd name="connsiteX2" fmla="*/ 1153391 w 1154064"/>
              <a:gd name="connsiteY2" fmla="*/ 423368 h 1164642"/>
              <a:gd name="connsiteX3" fmla="*/ 1153486 w 1154064"/>
              <a:gd name="connsiteY3" fmla="*/ 423368 h 1164642"/>
              <a:gd name="connsiteX4" fmla="*/ 897337 w 1154064"/>
              <a:gd name="connsiteY4" fmla="*/ 1018112 h 1164642"/>
              <a:gd name="connsiteX5" fmla="*/ 414027 w 1154064"/>
              <a:gd name="connsiteY5" fmla="*/ 1133717 h 1164642"/>
              <a:gd name="connsiteX6" fmla="*/ 4985 w 1154064"/>
              <a:gd name="connsiteY6" fmla="*/ 620191 h 1164642"/>
              <a:gd name="connsiteX7" fmla="*/ 147932 w 1154064"/>
              <a:gd name="connsiteY7" fmla="*/ 207451 h 1164642"/>
              <a:gd name="connsiteX8" fmla="*/ 270417 w 1154064"/>
              <a:gd name="connsiteY8" fmla="*/ 111510 h 1164642"/>
              <a:gd name="connsiteX9" fmla="*/ 646043 w 1154064"/>
              <a:gd name="connsiteY9" fmla="*/ 144 h 116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064" h="1164642">
                <a:moveTo>
                  <a:pt x="646043" y="144"/>
                </a:moveTo>
                <a:cubicBezTo>
                  <a:pt x="773218" y="-2433"/>
                  <a:pt x="895348" y="29674"/>
                  <a:pt x="991404" y="96881"/>
                </a:cubicBezTo>
                <a:cubicBezTo>
                  <a:pt x="1091248" y="175914"/>
                  <a:pt x="1147234" y="288954"/>
                  <a:pt x="1153391" y="423368"/>
                </a:cubicBezTo>
                <a:lnTo>
                  <a:pt x="1153486" y="423368"/>
                </a:lnTo>
                <a:cubicBezTo>
                  <a:pt x="1162769" y="625036"/>
                  <a:pt x="1059609" y="864605"/>
                  <a:pt x="897337" y="1018112"/>
                </a:cubicBezTo>
                <a:cubicBezTo>
                  <a:pt x="755338" y="1155945"/>
                  <a:pt x="565594" y="1201351"/>
                  <a:pt x="414027" y="1133717"/>
                </a:cubicBezTo>
                <a:cubicBezTo>
                  <a:pt x="204675" y="1041100"/>
                  <a:pt x="36435" y="829838"/>
                  <a:pt x="4985" y="620191"/>
                </a:cubicBezTo>
                <a:cubicBezTo>
                  <a:pt x="-16992" y="466114"/>
                  <a:pt x="34257" y="321442"/>
                  <a:pt x="147932" y="207451"/>
                </a:cubicBezTo>
                <a:cubicBezTo>
                  <a:pt x="182982" y="172304"/>
                  <a:pt x="223905" y="140102"/>
                  <a:pt x="270417" y="111510"/>
                </a:cubicBezTo>
                <a:cubicBezTo>
                  <a:pt x="386650" y="39981"/>
                  <a:pt x="518869" y="2720"/>
                  <a:pt x="646043" y="144"/>
                </a:cubicBezTo>
                <a:close/>
              </a:path>
            </a:pathLst>
          </a:custGeom>
        </p:spPr>
        <p:txBody>
          <a:bodyPr wrap="square" anchor="ctr">
            <a:noAutofit/>
          </a:bodyPr>
          <a:lstStyle>
            <a:lvl1pPr marL="0" indent="0" algn="ctr">
              <a:buNone/>
              <a:defRPr sz="1000">
                <a:solidFill>
                  <a:schemeClr val="tx1"/>
                </a:solidFill>
              </a:defRPr>
            </a:lvl1pPr>
          </a:lstStyle>
          <a:p>
            <a:r>
              <a:rPr lang="en-US"/>
              <a:t>Click icon to add picture</a:t>
            </a:r>
          </a:p>
        </p:txBody>
      </p:sp>
      <p:sp>
        <p:nvSpPr>
          <p:cNvPr id="11" name="Picture Placeholder 46">
            <a:extLst>
              <a:ext uri="{FF2B5EF4-FFF2-40B4-BE49-F238E27FC236}">
                <a16:creationId xmlns:a16="http://schemas.microsoft.com/office/drawing/2014/main" id="{F04AB762-4CF8-5C82-6AD3-6CED58E97DED}"/>
              </a:ext>
            </a:extLst>
          </p:cNvPr>
          <p:cNvSpPr>
            <a:spLocks noGrp="1"/>
          </p:cNvSpPr>
          <p:nvPr>
            <p:ph type="pic" sz="quarter" idx="13"/>
          </p:nvPr>
        </p:nvSpPr>
        <p:spPr>
          <a:xfrm>
            <a:off x="6491422" y="2079002"/>
            <a:ext cx="1189060" cy="1107882"/>
          </a:xfrm>
          <a:custGeom>
            <a:avLst/>
            <a:gdLst>
              <a:gd name="connsiteX0" fmla="*/ 511437 w 1189060"/>
              <a:gd name="connsiteY0" fmla="*/ 0 h 1107882"/>
              <a:gd name="connsiteX1" fmla="*/ 665779 w 1189060"/>
              <a:gd name="connsiteY1" fmla="*/ 19050 h 1107882"/>
              <a:gd name="connsiteX2" fmla="*/ 1186029 w 1189060"/>
              <a:gd name="connsiteY2" fmla="*/ 521303 h 1107882"/>
              <a:gd name="connsiteX3" fmla="*/ 1070344 w 1189060"/>
              <a:gd name="connsiteY3" fmla="*/ 868013 h 1107882"/>
              <a:gd name="connsiteX4" fmla="*/ 469749 w 1189060"/>
              <a:gd name="connsiteY4" fmla="*/ 1107567 h 1107882"/>
              <a:gd name="connsiteX5" fmla="*/ 46424 w 1189060"/>
              <a:gd name="connsiteY5" fmla="*/ 845915 h 1107882"/>
              <a:gd name="connsiteX6" fmla="*/ 119284 w 1189060"/>
              <a:gd name="connsiteY6" fmla="*/ 190976 h 1107882"/>
              <a:gd name="connsiteX7" fmla="*/ 511437 w 1189060"/>
              <a:gd name="connsiteY7" fmla="*/ 0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511437" y="0"/>
                </a:moveTo>
                <a:cubicBezTo>
                  <a:pt x="560990" y="0"/>
                  <a:pt x="612626" y="6287"/>
                  <a:pt x="665779" y="19050"/>
                </a:cubicBezTo>
                <a:cubicBezTo>
                  <a:pt x="931068" y="82868"/>
                  <a:pt x="1144909" y="289370"/>
                  <a:pt x="1186029" y="521303"/>
                </a:cubicBezTo>
                <a:cubicBezTo>
                  <a:pt x="1200904" y="648367"/>
                  <a:pt x="1160827" y="768287"/>
                  <a:pt x="1070344" y="868013"/>
                </a:cubicBez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lose/>
              </a:path>
            </a:pathLst>
          </a:custGeom>
        </p:spPr>
        <p:txBody>
          <a:bodyPr wrap="square" anchor="ctr">
            <a:noAutofit/>
          </a:bodyPr>
          <a:lstStyle>
            <a:lvl1pPr marL="0" indent="0" algn="ctr">
              <a:buNone/>
              <a:defRPr sz="1000">
                <a:solidFill>
                  <a:schemeClr val="tx1"/>
                </a:solidFill>
              </a:defRPr>
            </a:lvl1pPr>
          </a:lstStyle>
          <a:p>
            <a:r>
              <a:rPr lang="en-US"/>
              <a:t>Click icon to add picture</a:t>
            </a:r>
          </a:p>
        </p:txBody>
      </p:sp>
    </p:spTree>
    <p:extLst>
      <p:ext uri="{BB962C8B-B14F-4D97-AF65-F5344CB8AC3E}">
        <p14:creationId xmlns:p14="http://schemas.microsoft.com/office/powerpoint/2010/main" val="3715661423"/>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Slide (Green)">
    <p:spTree>
      <p:nvGrpSpPr>
        <p:cNvPr id="1" name=""/>
        <p:cNvGrpSpPr/>
        <p:nvPr/>
      </p:nvGrpSpPr>
      <p:grpSpPr>
        <a:xfrm>
          <a:off x="0" y="0"/>
          <a:ext cx="0" cy="0"/>
          <a:chOff x="0" y="0"/>
          <a:chExt cx="0" cy="0"/>
        </a:xfrm>
      </p:grpSpPr>
      <p:sp>
        <p:nvSpPr>
          <p:cNvPr id="3" name="Graphic 2">
            <a:extLst>
              <a:ext uri="{FF2B5EF4-FFF2-40B4-BE49-F238E27FC236}">
                <a16:creationId xmlns:a16="http://schemas.microsoft.com/office/drawing/2014/main" id="{BC540ADC-D630-3558-C7DE-7A4AB74E66DD}"/>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NL"/>
          </a:p>
        </p:txBody>
      </p:sp>
      <p:sp>
        <p:nvSpPr>
          <p:cNvPr id="4" name="Slide Number Placeholder 3">
            <a:extLst>
              <a:ext uri="{FF2B5EF4-FFF2-40B4-BE49-F238E27FC236}">
                <a16:creationId xmlns:a16="http://schemas.microsoft.com/office/drawing/2014/main" id="{B1720F34-EE38-1EB6-D2BC-389D6E7C2435}"/>
              </a:ext>
            </a:extLst>
          </p:cNvPr>
          <p:cNvSpPr>
            <a:spLocks noGrp="1"/>
          </p:cNvSpPr>
          <p:nvPr>
            <p:ph type="sldNum" sz="quarter" idx="25"/>
          </p:nvPr>
        </p:nvSpPr>
        <p:spPr/>
        <p:txBody>
          <a:bodyPr/>
          <a:lstStyle/>
          <a:p>
            <a:fld id="{0994303E-A424-9540-91A8-53B791C91E8F}" type="slidenum">
              <a:rPr lang="en-NL" smtClean="0"/>
              <a:pPr/>
              <a:t>‹#›</a:t>
            </a:fld>
            <a:endParaRPr lang="en-NL"/>
          </a:p>
        </p:txBody>
      </p:sp>
    </p:spTree>
    <p:extLst>
      <p:ext uri="{BB962C8B-B14F-4D97-AF65-F5344CB8AC3E}">
        <p14:creationId xmlns:p14="http://schemas.microsoft.com/office/powerpoint/2010/main" val="350522095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6F3918CB-A61A-8A43-05DE-7D51ECBE796D}"/>
              </a:ext>
            </a:extLst>
          </p:cNvPr>
          <p:cNvSpPr>
            <a:spLocks noGrp="1"/>
          </p:cNvSpPr>
          <p:nvPr>
            <p:ph type="sldNum" sz="quarter" idx="18"/>
          </p:nvPr>
        </p:nvSpPr>
        <p:spPr/>
        <p:txBody>
          <a:bodyPr/>
          <a:lstStyle/>
          <a:p>
            <a:fld id="{0994303E-A424-9540-91A8-53B791C91E8F}" type="slidenum">
              <a:rPr lang="en-GB" smtClean="0"/>
              <a:pPr/>
              <a:t>‹#›</a:t>
            </a:fld>
            <a:endParaRPr lang="en-GB" dirty="0"/>
          </a:p>
        </p:txBody>
      </p:sp>
      <p:sp>
        <p:nvSpPr>
          <p:cNvPr id="14" name="Title 13">
            <a:extLst>
              <a:ext uri="{FF2B5EF4-FFF2-40B4-BE49-F238E27FC236}">
                <a16:creationId xmlns:a16="http://schemas.microsoft.com/office/drawing/2014/main" id="{B2461144-37F7-1B8E-8C8F-A142D7874919}"/>
              </a:ext>
            </a:extLst>
          </p:cNvPr>
          <p:cNvSpPr>
            <a:spLocks noGrp="1"/>
          </p:cNvSpPr>
          <p:nvPr>
            <p:ph type="title" hasCustomPrompt="1"/>
          </p:nvPr>
        </p:nvSpPr>
        <p:spPr/>
        <p:txBody>
          <a:bodyPr/>
          <a:lstStyle/>
          <a:p>
            <a:r>
              <a:rPr lang="en-GB" dirty="0"/>
              <a:t>Regular heading </a:t>
            </a:r>
            <a:r>
              <a:rPr lang="en-GB"/>
              <a:t>goes here</a:t>
            </a:r>
            <a:endParaRPr lang="en-GB" dirty="0"/>
          </a:p>
        </p:txBody>
      </p:sp>
      <p:sp>
        <p:nvSpPr>
          <p:cNvPr id="2" name="Text Placeholder 9">
            <a:extLst>
              <a:ext uri="{FF2B5EF4-FFF2-40B4-BE49-F238E27FC236}">
                <a16:creationId xmlns:a16="http://schemas.microsoft.com/office/drawing/2014/main" id="{54B0AF49-A51C-151B-05A9-7178FFC369D8}"/>
              </a:ext>
            </a:extLst>
          </p:cNvPr>
          <p:cNvSpPr>
            <a:spLocks noGrp="1"/>
          </p:cNvSpPr>
          <p:nvPr>
            <p:ph type="body" sz="quarter" idx="19" hasCustomPrompt="1"/>
          </p:nvPr>
        </p:nvSpPr>
        <p:spPr>
          <a:xfrm>
            <a:off x="674159" y="1051658"/>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dirty="0"/>
              <a:t>Subheading </a:t>
            </a:r>
            <a:r>
              <a:rPr lang="en-GB"/>
              <a:t>goes here</a:t>
            </a:r>
            <a:endParaRPr lang="en-GB" dirty="0"/>
          </a:p>
        </p:txBody>
      </p:sp>
    </p:spTree>
    <p:extLst>
      <p:ext uri="{BB962C8B-B14F-4D97-AF65-F5344CB8AC3E}">
        <p14:creationId xmlns:p14="http://schemas.microsoft.com/office/powerpoint/2010/main" val="293370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hapter Title">
    <p:spTree>
      <p:nvGrpSpPr>
        <p:cNvPr id="1" name=""/>
        <p:cNvGrpSpPr/>
        <p:nvPr/>
      </p:nvGrpSpPr>
      <p:grpSpPr>
        <a:xfrm>
          <a:off x="0" y="0"/>
          <a:ext cx="0" cy="0"/>
          <a:chOff x="0" y="0"/>
          <a:chExt cx="0" cy="0"/>
        </a:xfrm>
      </p:grpSpPr>
      <p:sp>
        <p:nvSpPr>
          <p:cNvPr id="3" name="Graphic 48">
            <a:extLst>
              <a:ext uri="{FF2B5EF4-FFF2-40B4-BE49-F238E27FC236}">
                <a16:creationId xmlns:a16="http://schemas.microsoft.com/office/drawing/2014/main" id="{75DAC041-23E1-D93E-FCC2-75B842262D09}"/>
              </a:ext>
            </a:extLst>
          </p:cNvPr>
          <p:cNvSpPr/>
          <p:nvPr/>
        </p:nvSpPr>
        <p:spPr>
          <a:xfrm>
            <a:off x="674768" y="1054310"/>
            <a:ext cx="5097382" cy="4749380"/>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bg1"/>
          </a:solidFill>
          <a:ln w="9449" cap="flat">
            <a:noFill/>
            <a:prstDash val="solid"/>
            <a:miter/>
          </a:ln>
        </p:spPr>
        <p:txBody>
          <a:bodyPr rtlCol="0" anchor="ctr"/>
          <a:lstStyle/>
          <a:p>
            <a:endParaRPr lang="en-US">
              <a:solidFill>
                <a:schemeClr val="bg1"/>
              </a:solidFill>
            </a:endParaRPr>
          </a:p>
        </p:txBody>
      </p:sp>
      <p:sp>
        <p:nvSpPr>
          <p:cNvPr id="2" name="Title Placeholder 1">
            <a:extLst>
              <a:ext uri="{FF2B5EF4-FFF2-40B4-BE49-F238E27FC236}">
                <a16:creationId xmlns:a16="http://schemas.microsoft.com/office/drawing/2014/main" id="{21ABC006-C4FF-A1F4-36AF-0C94003C2FA9}"/>
              </a:ext>
            </a:extLst>
          </p:cNvPr>
          <p:cNvSpPr>
            <a:spLocks noGrp="1"/>
          </p:cNvSpPr>
          <p:nvPr>
            <p:ph type="title" hasCustomPrompt="1"/>
          </p:nvPr>
        </p:nvSpPr>
        <p:spPr>
          <a:xfrm>
            <a:off x="6419849" y="549275"/>
            <a:ext cx="5113339" cy="5759449"/>
          </a:xfrm>
          <a:prstGeom prst="rect">
            <a:avLst/>
          </a:prstGeom>
        </p:spPr>
        <p:txBody>
          <a:bodyPr vert="horz" lIns="0" tIns="0" rIns="0" bIns="0" rtlCol="0" anchor="ctr">
            <a:noAutofit/>
          </a:bodyPr>
          <a:lstStyle>
            <a:lvl1pPr>
              <a:lnSpc>
                <a:spcPct val="90000"/>
              </a:lnSpc>
              <a:defRPr sz="6500" b="1">
                <a:solidFill>
                  <a:schemeClr val="bg1"/>
                </a:solidFill>
              </a:defRPr>
            </a:lvl1pPr>
          </a:lstStyle>
          <a:p>
            <a:r>
              <a:rPr lang="en-GB" dirty="0"/>
              <a:t>Chapter Slide Title</a:t>
            </a:r>
            <a:endParaRPr lang="en-NL" dirty="0"/>
          </a:p>
        </p:txBody>
      </p:sp>
      <p:sp>
        <p:nvSpPr>
          <p:cNvPr id="4" name="Text Placeholder 3">
            <a:extLst>
              <a:ext uri="{FF2B5EF4-FFF2-40B4-BE49-F238E27FC236}">
                <a16:creationId xmlns:a16="http://schemas.microsoft.com/office/drawing/2014/main" id="{F9D378FF-8076-D182-237A-7F57163EC86A}"/>
              </a:ext>
            </a:extLst>
          </p:cNvPr>
          <p:cNvSpPr>
            <a:spLocks noGrp="1"/>
          </p:cNvSpPr>
          <p:nvPr>
            <p:ph type="body" sz="quarter" idx="10" hasCustomPrompt="1"/>
          </p:nvPr>
        </p:nvSpPr>
        <p:spPr>
          <a:xfrm>
            <a:off x="674768" y="2161200"/>
            <a:ext cx="5097382" cy="2593361"/>
          </a:xfrm>
          <a:prstGeom prst="rect">
            <a:avLst/>
          </a:prstGeom>
        </p:spPr>
        <p:txBody>
          <a:bodyPr anchor="ctr">
            <a:noAutofit/>
          </a:bodyPr>
          <a:lstStyle>
            <a:lvl1pPr marL="0" indent="0" algn="ctr">
              <a:lnSpc>
                <a:spcPct val="100000"/>
              </a:lnSpc>
              <a:spcBef>
                <a:spcPts val="0"/>
              </a:spcBef>
              <a:buNone/>
              <a:defRPr sz="25000">
                <a:solidFill>
                  <a:schemeClr val="tx2"/>
                </a:solidFill>
              </a:defRPr>
            </a:lvl1pPr>
          </a:lstStyle>
          <a:p>
            <a:pPr lvl="0"/>
            <a:r>
              <a:rPr lang="en-GB" dirty="0"/>
              <a:t>01</a:t>
            </a:r>
          </a:p>
        </p:txBody>
      </p:sp>
    </p:spTree>
    <p:extLst>
      <p:ext uri="{BB962C8B-B14F-4D97-AF65-F5344CB8AC3E}">
        <p14:creationId xmlns:p14="http://schemas.microsoft.com/office/powerpoint/2010/main" val="1317812965"/>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hapter Title (Alternative)">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8D288F47-5881-6080-C980-2A2AD3E28F3C}"/>
              </a:ext>
            </a:extLst>
          </p:cNvPr>
          <p:cNvSpPr>
            <a:spLocks noGrp="1"/>
          </p:cNvSpPr>
          <p:nvPr>
            <p:ph type="title" hasCustomPrompt="1"/>
          </p:nvPr>
        </p:nvSpPr>
        <p:spPr>
          <a:xfrm>
            <a:off x="658812" y="2766218"/>
            <a:ext cx="10874375" cy="1325563"/>
          </a:xfrm>
          <a:prstGeom prst="rect">
            <a:avLst/>
          </a:prstGeom>
        </p:spPr>
        <p:txBody>
          <a:bodyPr vert="horz" lIns="0" tIns="0" rIns="0" bIns="0" rtlCol="0" anchor="ctr">
            <a:noAutofit/>
          </a:bodyPr>
          <a:lstStyle>
            <a:lvl1pPr>
              <a:lnSpc>
                <a:spcPct val="90000"/>
              </a:lnSpc>
              <a:defRPr sz="6500" b="1">
                <a:solidFill>
                  <a:schemeClr val="bg1"/>
                </a:solidFill>
              </a:defRPr>
            </a:lvl1pPr>
          </a:lstStyle>
          <a:p>
            <a:r>
              <a:rPr lang="en-GB" dirty="0"/>
              <a:t>Chapter Slide Title</a:t>
            </a:r>
            <a:endParaRPr lang="en-NL" dirty="0"/>
          </a:p>
        </p:txBody>
      </p:sp>
      <p:sp>
        <p:nvSpPr>
          <p:cNvPr id="7" name="Text Placeholder 11">
            <a:extLst>
              <a:ext uri="{FF2B5EF4-FFF2-40B4-BE49-F238E27FC236}">
                <a16:creationId xmlns:a16="http://schemas.microsoft.com/office/drawing/2014/main" id="{32E93567-6F5B-4FC6-6CBE-65990259E126}"/>
              </a:ext>
            </a:extLst>
          </p:cNvPr>
          <p:cNvSpPr>
            <a:spLocks noGrp="1"/>
          </p:cNvSpPr>
          <p:nvPr>
            <p:ph type="body" sz="quarter" idx="17" hasCustomPrompt="1"/>
          </p:nvPr>
        </p:nvSpPr>
        <p:spPr>
          <a:xfrm>
            <a:off x="658812" y="4091781"/>
            <a:ext cx="10874376" cy="626878"/>
          </a:xfrm>
          <a:prstGeom prst="rect">
            <a:avLst/>
          </a:prstGeom>
        </p:spPr>
        <p:txBody>
          <a:bodyPr lIns="0">
            <a:noAutofit/>
          </a:bodyPr>
          <a:lstStyle>
            <a:lvl1pPr marL="0" indent="0">
              <a:buNone/>
              <a:defRPr sz="3500" b="0">
                <a:solidFill>
                  <a:schemeClr val="tx2"/>
                </a:solidFill>
              </a:defRPr>
            </a:lvl1pPr>
          </a:lstStyle>
          <a:p>
            <a:pPr lvl="0"/>
            <a:r>
              <a:rPr lang="en-GB" dirty="0"/>
              <a:t>With </a:t>
            </a:r>
            <a:r>
              <a:rPr lang="en-GB" dirty="0" err="1"/>
              <a:t>subheadline</a:t>
            </a:r>
            <a:endParaRPr lang="en-NL" dirty="0"/>
          </a:p>
        </p:txBody>
      </p:sp>
      <p:sp>
        <p:nvSpPr>
          <p:cNvPr id="6" name="Text Placeholder 5">
            <a:extLst>
              <a:ext uri="{FF2B5EF4-FFF2-40B4-BE49-F238E27FC236}">
                <a16:creationId xmlns:a16="http://schemas.microsoft.com/office/drawing/2014/main" id="{FF172E3E-335A-B483-BB34-6EE33C77F51F}"/>
              </a:ext>
            </a:extLst>
          </p:cNvPr>
          <p:cNvSpPr>
            <a:spLocks noGrp="1"/>
          </p:cNvSpPr>
          <p:nvPr>
            <p:ph type="body" sz="quarter" idx="18" hasCustomPrompt="1"/>
          </p:nvPr>
        </p:nvSpPr>
        <p:spPr>
          <a:xfrm>
            <a:off x="658813" y="549274"/>
            <a:ext cx="5113336" cy="1681635"/>
          </a:xfrm>
          <a:prstGeom prst="rect">
            <a:avLst/>
          </a:prstGeom>
        </p:spPr>
        <p:txBody>
          <a:bodyPr lIns="0">
            <a:noAutofit/>
          </a:bodyPr>
          <a:lstStyle>
            <a:lvl1pPr marL="0" indent="0">
              <a:buNone/>
              <a:defRPr sz="12500" b="0">
                <a:solidFill>
                  <a:schemeClr val="tx2"/>
                </a:solidFill>
              </a:defRPr>
            </a:lvl1pPr>
          </a:lstStyle>
          <a:p>
            <a:pPr lvl="0"/>
            <a:r>
              <a:rPr lang="en-GB" dirty="0"/>
              <a:t>01</a:t>
            </a:r>
            <a:endParaRPr lang="en-NL" dirty="0"/>
          </a:p>
        </p:txBody>
      </p:sp>
    </p:spTree>
    <p:extLst>
      <p:ext uri="{BB962C8B-B14F-4D97-AF65-F5344CB8AC3E}">
        <p14:creationId xmlns:p14="http://schemas.microsoft.com/office/powerpoint/2010/main" val="603625561"/>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ntent Main (Light Green)">
    <p:spTree>
      <p:nvGrpSpPr>
        <p:cNvPr id="1" name=""/>
        <p:cNvGrpSpPr/>
        <p:nvPr/>
      </p:nvGrpSpPr>
      <p:grpSpPr>
        <a:xfrm>
          <a:off x="0" y="0"/>
          <a:ext cx="0" cy="0"/>
          <a:chOff x="0" y="0"/>
          <a:chExt cx="0" cy="0"/>
        </a:xfrm>
      </p:grpSpPr>
      <p:sp>
        <p:nvSpPr>
          <p:cNvPr id="2" name="Graphic 2">
            <a:extLst>
              <a:ext uri="{FF2B5EF4-FFF2-40B4-BE49-F238E27FC236}">
                <a16:creationId xmlns:a16="http://schemas.microsoft.com/office/drawing/2014/main" id="{3D42C624-5105-7C6E-1043-74957C695D78}"/>
              </a:ext>
            </a:extLst>
          </p:cNvPr>
          <p:cNvSpPr>
            <a:spLocks noChangeAspect="1"/>
          </p:cNvSpPr>
          <p:nvPr/>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NL"/>
          </a:p>
        </p:txBody>
      </p:sp>
      <p:sp>
        <p:nvSpPr>
          <p:cNvPr id="4" name="Text Placeholder 11">
            <a:extLst>
              <a:ext uri="{FF2B5EF4-FFF2-40B4-BE49-F238E27FC236}">
                <a16:creationId xmlns:a16="http://schemas.microsoft.com/office/drawing/2014/main" id="{61CA10EC-C76B-6E28-1E1B-B5B3617FC32E}"/>
              </a:ext>
            </a:extLst>
          </p:cNvPr>
          <p:cNvSpPr>
            <a:spLocks noGrp="1"/>
          </p:cNvSpPr>
          <p:nvPr>
            <p:ph type="body" sz="quarter" idx="21" hasCustomPrompt="1"/>
          </p:nvPr>
        </p:nvSpPr>
        <p:spPr>
          <a:xfrm>
            <a:off x="658811" y="1168710"/>
            <a:ext cx="10874377" cy="411161"/>
          </a:xfrm>
        </p:spPr>
        <p:txBody>
          <a:bodyPr>
            <a:noAutofit/>
          </a:bodyPr>
          <a:lstStyle>
            <a:lvl1pPr marL="0" indent="0">
              <a:buNone/>
              <a:defRPr sz="2000">
                <a:solidFill>
                  <a:schemeClr val="bg1"/>
                </a:solidFill>
              </a:defRPr>
            </a:lvl1pPr>
          </a:lstStyle>
          <a:p>
            <a:pPr lvl="0"/>
            <a:r>
              <a:rPr lang="en-GB" dirty="0"/>
              <a:t>Subheading goes here</a:t>
            </a:r>
            <a:endParaRPr lang="en-US" dirty="0"/>
          </a:p>
        </p:txBody>
      </p:sp>
      <p:sp>
        <p:nvSpPr>
          <p:cNvPr id="5" name="Title 1">
            <a:extLst>
              <a:ext uri="{FF2B5EF4-FFF2-40B4-BE49-F238E27FC236}">
                <a16:creationId xmlns:a16="http://schemas.microsoft.com/office/drawing/2014/main" id="{0388462D-E8F8-6206-9649-58FA71E88CC9}"/>
              </a:ext>
            </a:extLst>
          </p:cNvPr>
          <p:cNvSpPr>
            <a:spLocks noGrp="1"/>
          </p:cNvSpPr>
          <p:nvPr>
            <p:ph type="title"/>
          </p:nvPr>
        </p:nvSpPr>
        <p:spPr>
          <a:xfrm>
            <a:off x="658813" y="549276"/>
            <a:ext cx="10874373" cy="602630"/>
          </a:xfrm>
        </p:spPr>
        <p:txBody>
          <a:bodyPr>
            <a:noAutofit/>
          </a:bodyPr>
          <a:lstStyle/>
          <a:p>
            <a:r>
              <a:rPr lang="en-GB"/>
              <a:t>Click to edit Master title style</a:t>
            </a:r>
            <a:endParaRPr lang="en-US" dirty="0"/>
          </a:p>
        </p:txBody>
      </p:sp>
      <p:sp>
        <p:nvSpPr>
          <p:cNvPr id="6" name="Content Placeholder 5">
            <a:extLst>
              <a:ext uri="{FF2B5EF4-FFF2-40B4-BE49-F238E27FC236}">
                <a16:creationId xmlns:a16="http://schemas.microsoft.com/office/drawing/2014/main" id="{D0B20A09-BCB6-86AD-2F50-2A4C20D4649F}"/>
              </a:ext>
            </a:extLst>
          </p:cNvPr>
          <p:cNvSpPr>
            <a:spLocks noGrp="1"/>
          </p:cNvSpPr>
          <p:nvPr>
            <p:ph sz="quarter" idx="24"/>
          </p:nvPr>
        </p:nvSpPr>
        <p:spPr>
          <a:xfrm>
            <a:off x="658813" y="1820007"/>
            <a:ext cx="5113337" cy="4488717"/>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Content Placeholder 5">
            <a:extLst>
              <a:ext uri="{FF2B5EF4-FFF2-40B4-BE49-F238E27FC236}">
                <a16:creationId xmlns:a16="http://schemas.microsoft.com/office/drawing/2014/main" id="{55866116-8030-8143-1DFE-3B70055A9F20}"/>
              </a:ext>
            </a:extLst>
          </p:cNvPr>
          <p:cNvSpPr>
            <a:spLocks noGrp="1"/>
          </p:cNvSpPr>
          <p:nvPr>
            <p:ph sz="quarter" idx="25"/>
          </p:nvPr>
        </p:nvSpPr>
        <p:spPr>
          <a:xfrm>
            <a:off x="6419851" y="1820007"/>
            <a:ext cx="5113337" cy="4488717"/>
          </a:xfrm>
        </p:spPr>
        <p:txBody>
          <a:bodyPr>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Slide Number Placeholder 2">
            <a:extLst>
              <a:ext uri="{FF2B5EF4-FFF2-40B4-BE49-F238E27FC236}">
                <a16:creationId xmlns:a16="http://schemas.microsoft.com/office/drawing/2014/main" id="{6301D0C5-48E8-3094-1782-ADBFEB98F115}"/>
              </a:ext>
            </a:extLst>
          </p:cNvPr>
          <p:cNvSpPr>
            <a:spLocks noGrp="1"/>
          </p:cNvSpPr>
          <p:nvPr>
            <p:ph type="sldNum" sz="quarter" idx="26"/>
          </p:nvPr>
        </p:nvSpPr>
        <p:spPr/>
        <p:txBody>
          <a:bodyPr/>
          <a:lstStyle/>
          <a:p>
            <a:fld id="{9B2A305F-D5DD-E143-90C1-708547DE3F23}" type="slidenum">
              <a:rPr lang="en-US" smtClean="0"/>
              <a:pPr/>
              <a:t>‹#›</a:t>
            </a:fld>
            <a:endParaRPr lang="en-US" dirty="0"/>
          </a:p>
        </p:txBody>
      </p:sp>
    </p:spTree>
    <p:extLst>
      <p:ext uri="{BB962C8B-B14F-4D97-AF65-F5344CB8AC3E}">
        <p14:creationId xmlns:p14="http://schemas.microsoft.com/office/powerpoint/2010/main" val="348064353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Image List (Light Green)">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88500907-6177-1837-EE8C-28EBF9D577A8}"/>
              </a:ext>
            </a:extLst>
          </p:cNvPr>
          <p:cNvSpPr>
            <a:spLocks noGrp="1"/>
          </p:cNvSpPr>
          <p:nvPr>
            <p:ph type="body" sz="quarter" idx="16" hasCustomPrompt="1"/>
          </p:nvPr>
        </p:nvSpPr>
        <p:spPr>
          <a:xfrm>
            <a:off x="658813" y="3755424"/>
            <a:ext cx="3187973" cy="520092"/>
          </a:xfrm>
          <a:prstGeom prst="rect">
            <a:avLst/>
          </a:prstGeom>
        </p:spPr>
        <p:txBody>
          <a:bodyPr>
            <a:noAutofit/>
          </a:bodyPr>
          <a:lstStyle>
            <a:lvl1pPr marL="0" indent="0" algn="ctr">
              <a:lnSpc>
                <a:spcPct val="100000"/>
              </a:lnSpc>
              <a:spcBef>
                <a:spcPts val="0"/>
              </a:spcBef>
              <a:spcAft>
                <a:spcPts val="1000"/>
              </a:spcAft>
              <a:buNone/>
              <a:defRPr sz="2400" b="1">
                <a:solidFill>
                  <a:schemeClr val="bg1"/>
                </a:solidFill>
              </a:defRPr>
            </a:lvl1pPr>
          </a:lstStyle>
          <a:p>
            <a:pPr lvl="0"/>
            <a:r>
              <a:rPr lang="en-GB" dirty="0"/>
              <a:t>Header 1</a:t>
            </a:r>
            <a:endParaRPr lang="en-NL" dirty="0"/>
          </a:p>
        </p:txBody>
      </p:sp>
      <p:sp>
        <p:nvSpPr>
          <p:cNvPr id="10" name="Text Placeholder 11">
            <a:extLst>
              <a:ext uri="{FF2B5EF4-FFF2-40B4-BE49-F238E27FC236}">
                <a16:creationId xmlns:a16="http://schemas.microsoft.com/office/drawing/2014/main" id="{6FFE71A5-58F5-11A2-E38C-407FB3D38EAA}"/>
              </a:ext>
            </a:extLst>
          </p:cNvPr>
          <p:cNvSpPr>
            <a:spLocks noGrp="1"/>
          </p:cNvSpPr>
          <p:nvPr>
            <p:ph type="body" sz="quarter" idx="17" hasCustomPrompt="1"/>
          </p:nvPr>
        </p:nvSpPr>
        <p:spPr>
          <a:xfrm>
            <a:off x="658813" y="4275516"/>
            <a:ext cx="3187973" cy="1634791"/>
          </a:xfrm>
          <a:prstGeom prst="rect">
            <a:avLst/>
          </a:prstGeom>
        </p:spPr>
        <p:txBody>
          <a:bodyPr>
            <a:noAutofit/>
          </a:bodyPr>
          <a:lstStyle>
            <a:lvl1pPr marL="0" indent="0" algn="ctr">
              <a:buNone/>
              <a:defRPr sz="1200" b="0">
                <a:solidFill>
                  <a:schemeClr val="tx2"/>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endParaRPr lang="en-NL" dirty="0"/>
          </a:p>
        </p:txBody>
      </p:sp>
      <p:sp>
        <p:nvSpPr>
          <p:cNvPr id="11" name="Picture Placeholder 10">
            <a:extLst>
              <a:ext uri="{FF2B5EF4-FFF2-40B4-BE49-F238E27FC236}">
                <a16:creationId xmlns:a16="http://schemas.microsoft.com/office/drawing/2014/main" id="{132D89C5-8B8A-0FBA-F742-DCE5B63EDD5F}"/>
              </a:ext>
            </a:extLst>
          </p:cNvPr>
          <p:cNvSpPr>
            <a:spLocks noGrp="1"/>
          </p:cNvSpPr>
          <p:nvPr>
            <p:ph type="pic" sz="quarter" idx="18"/>
          </p:nvPr>
        </p:nvSpPr>
        <p:spPr>
          <a:xfrm>
            <a:off x="4619918"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tx2"/>
                </a:solidFill>
              </a:defRPr>
            </a:lvl1pPr>
          </a:lstStyle>
          <a:p>
            <a:r>
              <a:rPr lang="en-GB"/>
              <a:t>Click icon to add picture</a:t>
            </a:r>
            <a:endParaRPr lang="en-US" dirty="0"/>
          </a:p>
        </p:txBody>
      </p:sp>
      <p:sp>
        <p:nvSpPr>
          <p:cNvPr id="12" name="Text Placeholder 11">
            <a:extLst>
              <a:ext uri="{FF2B5EF4-FFF2-40B4-BE49-F238E27FC236}">
                <a16:creationId xmlns:a16="http://schemas.microsoft.com/office/drawing/2014/main" id="{9536AA97-F495-8EAD-7D23-C05F66EFBF5E}"/>
              </a:ext>
            </a:extLst>
          </p:cNvPr>
          <p:cNvSpPr>
            <a:spLocks noGrp="1"/>
          </p:cNvSpPr>
          <p:nvPr>
            <p:ph type="body" sz="quarter" idx="19" hasCustomPrompt="1"/>
          </p:nvPr>
        </p:nvSpPr>
        <p:spPr>
          <a:xfrm>
            <a:off x="4500345" y="4275516"/>
            <a:ext cx="3187973" cy="1634791"/>
          </a:xfrm>
          <a:prstGeom prst="rect">
            <a:avLst/>
          </a:prstGeom>
        </p:spPr>
        <p:txBody>
          <a:bodyPr>
            <a:noAutofit/>
          </a:bodyPr>
          <a:lstStyle>
            <a:lvl1pPr marL="0" indent="0" algn="ctr">
              <a:buNone/>
              <a:defRPr sz="1200" b="0">
                <a:solidFill>
                  <a:schemeClr val="tx2"/>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endParaRPr lang="en-NL" dirty="0"/>
          </a:p>
        </p:txBody>
      </p:sp>
      <p:sp>
        <p:nvSpPr>
          <p:cNvPr id="13" name="Text Placeholder 11">
            <a:extLst>
              <a:ext uri="{FF2B5EF4-FFF2-40B4-BE49-F238E27FC236}">
                <a16:creationId xmlns:a16="http://schemas.microsoft.com/office/drawing/2014/main" id="{7C963B89-7477-66FC-0968-BBA6D8F2DC59}"/>
              </a:ext>
            </a:extLst>
          </p:cNvPr>
          <p:cNvSpPr>
            <a:spLocks noGrp="1"/>
          </p:cNvSpPr>
          <p:nvPr>
            <p:ph type="body" sz="quarter" idx="20" hasCustomPrompt="1"/>
          </p:nvPr>
        </p:nvSpPr>
        <p:spPr>
          <a:xfrm>
            <a:off x="8343546" y="4275516"/>
            <a:ext cx="3187973" cy="1634791"/>
          </a:xfrm>
          <a:prstGeom prst="rect">
            <a:avLst/>
          </a:prstGeom>
        </p:spPr>
        <p:txBody>
          <a:bodyPr>
            <a:noAutofit/>
          </a:bodyPr>
          <a:lstStyle>
            <a:lvl1pPr marL="0" indent="0" algn="ctr">
              <a:buNone/>
              <a:defRPr sz="1200" b="0">
                <a:solidFill>
                  <a:schemeClr val="tx2"/>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endParaRPr lang="en-NL" dirty="0"/>
          </a:p>
        </p:txBody>
      </p:sp>
      <p:sp>
        <p:nvSpPr>
          <p:cNvPr id="15" name="Picture Placeholder 14">
            <a:extLst>
              <a:ext uri="{FF2B5EF4-FFF2-40B4-BE49-F238E27FC236}">
                <a16:creationId xmlns:a16="http://schemas.microsoft.com/office/drawing/2014/main" id="{23E2FBDF-5239-189C-2DB8-DBBB70EB600A}"/>
              </a:ext>
            </a:extLst>
          </p:cNvPr>
          <p:cNvSpPr>
            <a:spLocks noGrp="1"/>
          </p:cNvSpPr>
          <p:nvPr>
            <p:ph type="pic" sz="quarter" idx="21"/>
          </p:nvPr>
        </p:nvSpPr>
        <p:spPr>
          <a:xfrm>
            <a:off x="8463119"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tx2"/>
                </a:solidFill>
              </a:defRPr>
            </a:lvl1pPr>
          </a:lstStyle>
          <a:p>
            <a:r>
              <a:rPr lang="en-GB"/>
              <a:t>Click icon to add picture</a:t>
            </a:r>
            <a:endParaRPr lang="en-US" dirty="0"/>
          </a:p>
        </p:txBody>
      </p:sp>
      <p:sp>
        <p:nvSpPr>
          <p:cNvPr id="17" name="Picture Placeholder 16">
            <a:extLst>
              <a:ext uri="{FF2B5EF4-FFF2-40B4-BE49-F238E27FC236}">
                <a16:creationId xmlns:a16="http://schemas.microsoft.com/office/drawing/2014/main" id="{5F5CC71D-15CD-C902-7B81-E9881716049F}"/>
              </a:ext>
            </a:extLst>
          </p:cNvPr>
          <p:cNvSpPr>
            <a:spLocks noGrp="1"/>
          </p:cNvSpPr>
          <p:nvPr>
            <p:ph type="pic" sz="quarter" idx="22"/>
          </p:nvPr>
        </p:nvSpPr>
        <p:spPr>
          <a:xfrm>
            <a:off x="778386"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tx2"/>
                </a:solidFill>
              </a:defRPr>
            </a:lvl1pPr>
          </a:lstStyle>
          <a:p>
            <a:r>
              <a:rPr lang="en-GB"/>
              <a:t>Click icon to add picture</a:t>
            </a:r>
            <a:endParaRPr lang="en-US" dirty="0"/>
          </a:p>
        </p:txBody>
      </p:sp>
      <p:sp>
        <p:nvSpPr>
          <p:cNvPr id="19" name="Text Placeholder 11">
            <a:extLst>
              <a:ext uri="{FF2B5EF4-FFF2-40B4-BE49-F238E27FC236}">
                <a16:creationId xmlns:a16="http://schemas.microsoft.com/office/drawing/2014/main" id="{E41D0B81-9E30-7BC1-D8EE-C0A7FCABD9FF}"/>
              </a:ext>
            </a:extLst>
          </p:cNvPr>
          <p:cNvSpPr>
            <a:spLocks noGrp="1"/>
          </p:cNvSpPr>
          <p:nvPr>
            <p:ph type="body" sz="quarter" idx="23" hasCustomPrompt="1"/>
          </p:nvPr>
        </p:nvSpPr>
        <p:spPr>
          <a:xfrm>
            <a:off x="4500345" y="3755424"/>
            <a:ext cx="3187973" cy="520092"/>
          </a:xfrm>
          <a:prstGeom prst="rect">
            <a:avLst/>
          </a:prstGeom>
        </p:spPr>
        <p:txBody>
          <a:bodyPr>
            <a:noAutofit/>
          </a:bodyPr>
          <a:lstStyle>
            <a:lvl1pPr marL="0" indent="0" algn="ctr">
              <a:lnSpc>
                <a:spcPct val="100000"/>
              </a:lnSpc>
              <a:spcBef>
                <a:spcPts val="0"/>
              </a:spcBef>
              <a:spcAft>
                <a:spcPts val="1000"/>
              </a:spcAft>
              <a:buNone/>
              <a:defRPr sz="2400" b="1">
                <a:solidFill>
                  <a:schemeClr val="bg1"/>
                </a:solidFill>
              </a:defRPr>
            </a:lvl1pPr>
          </a:lstStyle>
          <a:p>
            <a:pPr lvl="0"/>
            <a:r>
              <a:rPr lang="en-GB" dirty="0"/>
              <a:t>Header 2</a:t>
            </a:r>
            <a:endParaRPr lang="en-NL" dirty="0"/>
          </a:p>
        </p:txBody>
      </p:sp>
      <p:sp>
        <p:nvSpPr>
          <p:cNvPr id="20" name="Text Placeholder 11">
            <a:extLst>
              <a:ext uri="{FF2B5EF4-FFF2-40B4-BE49-F238E27FC236}">
                <a16:creationId xmlns:a16="http://schemas.microsoft.com/office/drawing/2014/main" id="{81235BED-6852-1C88-8BB1-C82C76768766}"/>
              </a:ext>
            </a:extLst>
          </p:cNvPr>
          <p:cNvSpPr>
            <a:spLocks noGrp="1"/>
          </p:cNvSpPr>
          <p:nvPr>
            <p:ph type="body" sz="quarter" idx="24" hasCustomPrompt="1"/>
          </p:nvPr>
        </p:nvSpPr>
        <p:spPr>
          <a:xfrm>
            <a:off x="8343546" y="3755424"/>
            <a:ext cx="3187973" cy="520092"/>
          </a:xfrm>
          <a:prstGeom prst="rect">
            <a:avLst/>
          </a:prstGeom>
        </p:spPr>
        <p:txBody>
          <a:bodyPr>
            <a:noAutofit/>
          </a:bodyPr>
          <a:lstStyle>
            <a:lvl1pPr marL="0" indent="0" algn="ctr">
              <a:lnSpc>
                <a:spcPct val="100000"/>
              </a:lnSpc>
              <a:spcBef>
                <a:spcPts val="0"/>
              </a:spcBef>
              <a:spcAft>
                <a:spcPts val="1000"/>
              </a:spcAft>
              <a:buNone/>
              <a:defRPr sz="2400" b="1">
                <a:solidFill>
                  <a:schemeClr val="bg1"/>
                </a:solidFill>
              </a:defRPr>
            </a:lvl1pPr>
          </a:lstStyle>
          <a:p>
            <a:pPr lvl="0"/>
            <a:r>
              <a:rPr lang="en-GB" dirty="0"/>
              <a:t>Header 3</a:t>
            </a:r>
            <a:endParaRPr lang="en-NL" dirty="0"/>
          </a:p>
        </p:txBody>
      </p:sp>
      <p:sp>
        <p:nvSpPr>
          <p:cNvPr id="2" name="Graphic 2">
            <a:extLst>
              <a:ext uri="{FF2B5EF4-FFF2-40B4-BE49-F238E27FC236}">
                <a16:creationId xmlns:a16="http://schemas.microsoft.com/office/drawing/2014/main" id="{9A939E8E-674F-D53C-196D-8AB0EFCC047C}"/>
              </a:ext>
            </a:extLst>
          </p:cNvPr>
          <p:cNvSpPr>
            <a:spLocks noChangeAspect="1"/>
          </p:cNvSpPr>
          <p:nvPr/>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00625F"/>
          </a:solidFill>
          <a:ln w="6350" cap="flat">
            <a:noFill/>
            <a:prstDash val="solid"/>
            <a:miter/>
          </a:ln>
        </p:spPr>
        <p:txBody>
          <a:bodyPr rtlCol="0" anchor="ctr"/>
          <a:lstStyle/>
          <a:p>
            <a:endParaRPr lang="en-NL"/>
          </a:p>
        </p:txBody>
      </p:sp>
      <p:sp>
        <p:nvSpPr>
          <p:cNvPr id="4" name="Slide Number Placeholder 3">
            <a:extLst>
              <a:ext uri="{FF2B5EF4-FFF2-40B4-BE49-F238E27FC236}">
                <a16:creationId xmlns:a16="http://schemas.microsoft.com/office/drawing/2014/main" id="{3B82515A-5019-7AD2-FA53-48E0769FAA49}"/>
              </a:ext>
            </a:extLst>
          </p:cNvPr>
          <p:cNvSpPr>
            <a:spLocks noGrp="1"/>
          </p:cNvSpPr>
          <p:nvPr>
            <p:ph type="sldNum" sz="quarter" idx="25"/>
          </p:nvPr>
        </p:nvSpPr>
        <p:spPr/>
        <p:txBody>
          <a:bodyPr/>
          <a:lstStyle/>
          <a:p>
            <a:fld id="{9B2A305F-D5DD-E143-90C1-708547DE3F23}" type="slidenum">
              <a:rPr lang="en-US" smtClean="0"/>
              <a:pPr/>
              <a:t>‹#›</a:t>
            </a:fld>
            <a:endParaRPr lang="en-US" dirty="0"/>
          </a:p>
        </p:txBody>
      </p:sp>
    </p:spTree>
    <p:extLst>
      <p:ext uri="{BB962C8B-B14F-4D97-AF65-F5344CB8AC3E}">
        <p14:creationId xmlns:p14="http://schemas.microsoft.com/office/powerpoint/2010/main" val="1302707863"/>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ntact Page (Final Slide)">
    <p:spTree>
      <p:nvGrpSpPr>
        <p:cNvPr id="1" name=""/>
        <p:cNvGrpSpPr/>
        <p:nvPr/>
      </p:nvGrpSpPr>
      <p:grpSpPr>
        <a:xfrm>
          <a:off x="0" y="0"/>
          <a:ext cx="0" cy="0"/>
          <a:chOff x="0" y="0"/>
          <a:chExt cx="0" cy="0"/>
        </a:xfrm>
      </p:grpSpPr>
      <p:sp>
        <p:nvSpPr>
          <p:cNvPr id="46" name="Freeform 45">
            <a:extLst>
              <a:ext uri="{FF2B5EF4-FFF2-40B4-BE49-F238E27FC236}">
                <a16:creationId xmlns:a16="http://schemas.microsoft.com/office/drawing/2014/main" id="{ED58F06A-4E75-11CA-DD84-D82A28580E6C}"/>
              </a:ext>
            </a:extLst>
          </p:cNvPr>
          <p:cNvSpPr/>
          <p:nvPr/>
        </p:nvSpPr>
        <p:spPr>
          <a:xfrm rot="16200000">
            <a:off x="6526030" y="1192031"/>
            <a:ext cx="6858001" cy="4473941"/>
          </a:xfrm>
          <a:custGeom>
            <a:avLst/>
            <a:gdLst>
              <a:gd name="connsiteX0" fmla="*/ 6858001 w 6858001"/>
              <a:gd name="connsiteY0" fmla="*/ 1481976 h 4473941"/>
              <a:gd name="connsiteX1" fmla="*/ 6858001 w 6858001"/>
              <a:gd name="connsiteY1" fmla="*/ 4473941 h 4473941"/>
              <a:gd name="connsiteX2" fmla="*/ 0 w 6858001"/>
              <a:gd name="connsiteY2" fmla="*/ 4473940 h 4473941"/>
              <a:gd name="connsiteX3" fmla="*/ 0 w 6858001"/>
              <a:gd name="connsiteY3" fmla="*/ 1453992 h 4473941"/>
              <a:gd name="connsiteX4" fmla="*/ 180785 w 6858001"/>
              <a:gd name="connsiteY4" fmla="*/ 1237882 h 4473941"/>
              <a:gd name="connsiteX5" fmla="*/ 1224135 w 6858001"/>
              <a:gd name="connsiteY5" fmla="*/ 494665 h 4473941"/>
              <a:gd name="connsiteX6" fmla="*/ 6850143 w 6858001"/>
              <a:gd name="connsiteY6" fmla="*/ 1470727 h 447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1" h="4473941">
                <a:moveTo>
                  <a:pt x="6858001" y="1481976"/>
                </a:moveTo>
                <a:lnTo>
                  <a:pt x="6858001" y="4473941"/>
                </a:lnTo>
                <a:lnTo>
                  <a:pt x="0" y="4473940"/>
                </a:lnTo>
                <a:lnTo>
                  <a:pt x="0" y="1453992"/>
                </a:lnTo>
                <a:lnTo>
                  <a:pt x="180785" y="1237882"/>
                </a:lnTo>
                <a:cubicBezTo>
                  <a:pt x="455780" y="940752"/>
                  <a:pt x="802029" y="686848"/>
                  <a:pt x="1224135" y="494665"/>
                </a:cubicBezTo>
                <a:cubicBezTo>
                  <a:pt x="3073807" y="-359263"/>
                  <a:pt x="5639368" y="-153222"/>
                  <a:pt x="6850143" y="1470727"/>
                </a:cubicBezTo>
                <a:close/>
              </a:path>
            </a:pathLst>
          </a:custGeom>
          <a:solidFill>
            <a:schemeClr val="tx2"/>
          </a:solidFill>
          <a:ln w="6350" cap="flat">
            <a:noFill/>
            <a:prstDash val="solid"/>
            <a:miter/>
          </a:ln>
        </p:spPr>
        <p:txBody>
          <a:bodyPr wrap="square" rtlCol="0" anchor="ctr">
            <a:noAutofit/>
          </a:bodyPr>
          <a:lstStyle/>
          <a:p>
            <a:endParaRPr lang="en-NL"/>
          </a:p>
        </p:txBody>
      </p:sp>
      <p:sp>
        <p:nvSpPr>
          <p:cNvPr id="2" name="Text Placeholder 11">
            <a:extLst>
              <a:ext uri="{FF2B5EF4-FFF2-40B4-BE49-F238E27FC236}">
                <a16:creationId xmlns:a16="http://schemas.microsoft.com/office/drawing/2014/main" id="{E22C4AC5-96D3-7189-5886-4FE0212159BA}"/>
              </a:ext>
            </a:extLst>
          </p:cNvPr>
          <p:cNvSpPr>
            <a:spLocks noGrp="1"/>
          </p:cNvSpPr>
          <p:nvPr>
            <p:ph type="body" sz="quarter" idx="16" hasCustomPrompt="1"/>
          </p:nvPr>
        </p:nvSpPr>
        <p:spPr>
          <a:xfrm>
            <a:off x="658813" y="888335"/>
            <a:ext cx="5113337" cy="877403"/>
          </a:xfrm>
          <a:prstGeom prst="rect">
            <a:avLst/>
          </a:prstGeom>
        </p:spPr>
        <p:txBody>
          <a:bodyPr lIns="0">
            <a:noAutofit/>
          </a:bodyPr>
          <a:lstStyle>
            <a:lvl1pPr marL="0" indent="0">
              <a:lnSpc>
                <a:spcPct val="80000"/>
              </a:lnSpc>
              <a:buNone/>
              <a:defRPr sz="6600" b="1">
                <a:solidFill>
                  <a:schemeClr val="bg1"/>
                </a:solidFill>
              </a:defRPr>
            </a:lvl1pPr>
          </a:lstStyle>
          <a:p>
            <a:pPr lvl="0"/>
            <a:r>
              <a:rPr lang="en-GB" dirty="0"/>
              <a:t>Contact Us</a:t>
            </a:r>
            <a:endParaRPr lang="en-NL" dirty="0"/>
          </a:p>
        </p:txBody>
      </p:sp>
      <p:sp>
        <p:nvSpPr>
          <p:cNvPr id="4" name="Text Placeholder 11">
            <a:extLst>
              <a:ext uri="{FF2B5EF4-FFF2-40B4-BE49-F238E27FC236}">
                <a16:creationId xmlns:a16="http://schemas.microsoft.com/office/drawing/2014/main" id="{C3B0FC59-A6B2-62AF-6E58-C250AB0F4720}"/>
              </a:ext>
            </a:extLst>
          </p:cNvPr>
          <p:cNvSpPr>
            <a:spLocks noGrp="1"/>
          </p:cNvSpPr>
          <p:nvPr>
            <p:ph type="body" sz="quarter" idx="19" hasCustomPrompt="1"/>
          </p:nvPr>
        </p:nvSpPr>
        <p:spPr>
          <a:xfrm>
            <a:off x="8684529" y="1479812"/>
            <a:ext cx="2848659" cy="571851"/>
          </a:xfrm>
          <a:prstGeom prst="rect">
            <a:avLst/>
          </a:prstGeom>
        </p:spPr>
        <p:txBody>
          <a:bodyPr>
            <a:noAutofit/>
          </a:bodyPr>
          <a:lstStyle>
            <a:lvl1pPr marL="0" marR="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1">
                <a:solidFill>
                  <a:srgbClr val="00625F"/>
                </a:solidFill>
              </a:defRPr>
            </a:lvl1pPr>
          </a:lstStyle>
          <a:p>
            <a:pPr lvl="0"/>
            <a:r>
              <a:rPr lang="en-GB" dirty="0"/>
              <a:t>This content made possible through the funding of:</a:t>
            </a:r>
          </a:p>
        </p:txBody>
      </p:sp>
      <p:sp>
        <p:nvSpPr>
          <p:cNvPr id="5" name="Text Placeholder 11">
            <a:extLst>
              <a:ext uri="{FF2B5EF4-FFF2-40B4-BE49-F238E27FC236}">
                <a16:creationId xmlns:a16="http://schemas.microsoft.com/office/drawing/2014/main" id="{9E83BBAB-1045-7AEF-2E19-E4B77CB02FEE}"/>
              </a:ext>
            </a:extLst>
          </p:cNvPr>
          <p:cNvSpPr>
            <a:spLocks noGrp="1"/>
          </p:cNvSpPr>
          <p:nvPr>
            <p:ph type="body" sz="quarter" idx="20" hasCustomPrompt="1"/>
          </p:nvPr>
        </p:nvSpPr>
        <p:spPr>
          <a:xfrm>
            <a:off x="658812" y="3787265"/>
            <a:ext cx="5113337" cy="447092"/>
          </a:xfrm>
          <a:prstGeom prst="rect">
            <a:avLst/>
          </a:prstGeom>
        </p:spPr>
        <p:txBody>
          <a:bodyPr lIns="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2400" b="1" i="0">
                <a:solidFill>
                  <a:schemeClr val="bg1"/>
                </a:solidFill>
                <a:latin typeface="Arial" panose="020B0604020202020204" pitchFamily="34" charset="0"/>
                <a:cs typeface="Arial" panose="020B0604020202020204" pitchFamily="34" charset="0"/>
              </a:defRPr>
            </a:lvl1pPr>
          </a:lstStyle>
          <a:p>
            <a:pPr lvl="0"/>
            <a:r>
              <a:rPr lang="en-GB" dirty="0"/>
              <a:t>Name Surname</a:t>
            </a:r>
          </a:p>
        </p:txBody>
      </p:sp>
      <p:sp>
        <p:nvSpPr>
          <p:cNvPr id="9" name="Text Placeholder 11">
            <a:extLst>
              <a:ext uri="{FF2B5EF4-FFF2-40B4-BE49-F238E27FC236}">
                <a16:creationId xmlns:a16="http://schemas.microsoft.com/office/drawing/2014/main" id="{B96F8581-777C-F944-7BB7-C749DB8995F2}"/>
              </a:ext>
            </a:extLst>
          </p:cNvPr>
          <p:cNvSpPr>
            <a:spLocks noGrp="1"/>
          </p:cNvSpPr>
          <p:nvPr>
            <p:ph type="body" sz="quarter" idx="22" hasCustomPrompt="1"/>
          </p:nvPr>
        </p:nvSpPr>
        <p:spPr>
          <a:xfrm>
            <a:off x="658812" y="4348215"/>
            <a:ext cx="5113337" cy="962820"/>
          </a:xfrm>
          <a:prstGeom prst="rect">
            <a:avLst/>
          </a:prstGeom>
        </p:spPr>
        <p:txBody>
          <a:bodyPr lIns="0">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tx2"/>
                </a:solidFill>
              </a:defRPr>
            </a:lvl1pPr>
          </a:lstStyle>
          <a:p>
            <a:pPr lvl="0"/>
            <a:r>
              <a:rPr lang="en-GB" dirty="0"/>
              <a:t>Name of Job Position</a:t>
            </a:r>
          </a:p>
          <a:p>
            <a:pPr lvl="0"/>
            <a:r>
              <a:rPr lang="en-GB" dirty="0" err="1"/>
              <a:t>name@idhtrade.org</a:t>
            </a:r>
            <a:endParaRPr lang="en-GB" dirty="0"/>
          </a:p>
        </p:txBody>
      </p:sp>
      <p:pic>
        <p:nvPicPr>
          <p:cNvPr id="16" name="Picture 15">
            <a:extLst>
              <a:ext uri="{FF2B5EF4-FFF2-40B4-BE49-F238E27FC236}">
                <a16:creationId xmlns:a16="http://schemas.microsoft.com/office/drawing/2014/main" id="{C2F429DD-6783-6D1F-03DD-3FCD7D374DC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757919" y="2387600"/>
            <a:ext cx="2682241" cy="1226452"/>
          </a:xfrm>
          <a:prstGeom prst="rect">
            <a:avLst/>
          </a:prstGeom>
        </p:spPr>
      </p:pic>
      <p:pic>
        <p:nvPicPr>
          <p:cNvPr id="18" name="Picture 17">
            <a:extLst>
              <a:ext uri="{FF2B5EF4-FFF2-40B4-BE49-F238E27FC236}">
                <a16:creationId xmlns:a16="http://schemas.microsoft.com/office/drawing/2014/main" id="{8A975317-6BC8-AC61-CFC7-F779B29C063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8653466" y="3891280"/>
            <a:ext cx="3198737" cy="1584960"/>
          </a:xfrm>
          <a:prstGeom prst="rect">
            <a:avLst/>
          </a:prstGeom>
        </p:spPr>
      </p:pic>
      <p:grpSp>
        <p:nvGrpSpPr>
          <p:cNvPr id="47" name="Graphic 77">
            <a:extLst>
              <a:ext uri="{FF2B5EF4-FFF2-40B4-BE49-F238E27FC236}">
                <a16:creationId xmlns:a16="http://schemas.microsoft.com/office/drawing/2014/main" id="{D3DB2466-759A-BEE6-FD80-51C730E1EB6E}"/>
              </a:ext>
            </a:extLst>
          </p:cNvPr>
          <p:cNvGrpSpPr>
            <a:grpSpLocks noChangeAspect="1"/>
          </p:cNvGrpSpPr>
          <p:nvPr/>
        </p:nvGrpSpPr>
        <p:grpSpPr>
          <a:xfrm>
            <a:off x="658813" y="5600144"/>
            <a:ext cx="1935718" cy="708581"/>
            <a:chOff x="4489439" y="2838428"/>
            <a:chExt cx="3217768" cy="1177883"/>
          </a:xfrm>
          <a:solidFill>
            <a:schemeClr val="tx2"/>
          </a:solidFill>
        </p:grpSpPr>
        <p:sp>
          <p:nvSpPr>
            <p:cNvPr id="48" name="Freeform 47">
              <a:extLst>
                <a:ext uri="{FF2B5EF4-FFF2-40B4-BE49-F238E27FC236}">
                  <a16:creationId xmlns:a16="http://schemas.microsoft.com/office/drawing/2014/main" id="{770B7D1E-71B1-1F4B-E7B4-3B362402317E}"/>
                </a:ext>
              </a:extLst>
            </p:cNvPr>
            <p:cNvSpPr/>
            <p:nvPr/>
          </p:nvSpPr>
          <p:spPr>
            <a:xfrm>
              <a:off x="4489439" y="2838428"/>
              <a:ext cx="3217388" cy="1177883"/>
            </a:xfrm>
            <a:custGeom>
              <a:avLst/>
              <a:gdLst>
                <a:gd name="connsiteX0" fmla="*/ 1527089 w 3217388"/>
                <a:gd name="connsiteY0" fmla="*/ 295107 h 1177883"/>
                <a:gd name="connsiteX1" fmla="*/ 1705520 w 3217388"/>
                <a:gd name="connsiteY1" fmla="*/ 295107 h 1177883"/>
                <a:gd name="connsiteX2" fmla="*/ 1705520 w 3217388"/>
                <a:gd name="connsiteY2" fmla="*/ 947283 h 1177883"/>
                <a:gd name="connsiteX3" fmla="*/ 1527089 w 3217388"/>
                <a:gd name="connsiteY3" fmla="*/ 947283 h 1177883"/>
                <a:gd name="connsiteX4" fmla="*/ 1527089 w 3217388"/>
                <a:gd name="connsiteY4" fmla="*/ 295107 h 1177883"/>
                <a:gd name="connsiteX5" fmla="*/ 2318481 w 3217388"/>
                <a:gd name="connsiteY5" fmla="*/ 4403 h 1177883"/>
                <a:gd name="connsiteX6" fmla="*/ 2318481 w 3217388"/>
                <a:gd name="connsiteY6" fmla="*/ 386070 h 1177883"/>
                <a:gd name="connsiteX7" fmla="*/ 2100884 w 3217388"/>
                <a:gd name="connsiteY7" fmla="*/ 274533 h 1177883"/>
                <a:gd name="connsiteX8" fmla="*/ 1939848 w 3217388"/>
                <a:gd name="connsiteY8" fmla="*/ 318919 h 1177883"/>
                <a:gd name="connsiteX9" fmla="*/ 1819785 w 3217388"/>
                <a:gd name="connsiteY9" fmla="*/ 441792 h 1177883"/>
                <a:gd name="connsiteX10" fmla="*/ 1776817 w 3217388"/>
                <a:gd name="connsiteY10" fmla="*/ 620576 h 1177883"/>
                <a:gd name="connsiteX11" fmla="*/ 1819785 w 3217388"/>
                <a:gd name="connsiteY11" fmla="*/ 800027 h 1177883"/>
                <a:gd name="connsiteX12" fmla="*/ 1940419 w 3217388"/>
                <a:gd name="connsiteY12" fmla="*/ 922899 h 1177883"/>
                <a:gd name="connsiteX13" fmla="*/ 2111816 w 3217388"/>
                <a:gd name="connsiteY13" fmla="*/ 966619 h 1177883"/>
                <a:gd name="connsiteX14" fmla="*/ 2318481 w 3217388"/>
                <a:gd name="connsiteY14" fmla="*/ 864606 h 1177883"/>
                <a:gd name="connsiteX15" fmla="*/ 2318481 w 3217388"/>
                <a:gd name="connsiteY15" fmla="*/ 947283 h 1177883"/>
                <a:gd name="connsiteX16" fmla="*/ 2496913 w 3217388"/>
                <a:gd name="connsiteY16" fmla="*/ 947283 h 1177883"/>
                <a:gd name="connsiteX17" fmla="*/ 2496913 w 3217388"/>
                <a:gd name="connsiteY17" fmla="*/ 4403 h 1177883"/>
                <a:gd name="connsiteX18" fmla="*/ 2318481 w 3217388"/>
                <a:gd name="connsiteY18" fmla="*/ 4403 h 1177883"/>
                <a:gd name="connsiteX19" fmla="*/ 2146323 w 3217388"/>
                <a:gd name="connsiteY19" fmla="*/ 813648 h 1177883"/>
                <a:gd name="connsiteX20" fmla="*/ 1957815 w 3217388"/>
                <a:gd name="connsiteY20" fmla="*/ 620576 h 1177883"/>
                <a:gd name="connsiteX21" fmla="*/ 2146323 w 3217388"/>
                <a:gd name="connsiteY21" fmla="*/ 427504 h 1177883"/>
                <a:gd name="connsiteX22" fmla="*/ 2334832 w 3217388"/>
                <a:gd name="connsiteY22" fmla="*/ 620576 h 1177883"/>
                <a:gd name="connsiteX23" fmla="*/ 2146323 w 3217388"/>
                <a:gd name="connsiteY23" fmla="*/ 813648 h 1177883"/>
                <a:gd name="connsiteX24" fmla="*/ 3186113 w 3217388"/>
                <a:gd name="connsiteY24" fmla="*/ 403787 h 1177883"/>
                <a:gd name="connsiteX25" fmla="*/ 3097515 w 3217388"/>
                <a:gd name="connsiteY25" fmla="*/ 307298 h 1177883"/>
                <a:gd name="connsiteX26" fmla="*/ 2959485 w 3217388"/>
                <a:gd name="connsiteY26" fmla="*/ 274533 h 1177883"/>
                <a:gd name="connsiteX27" fmla="*/ 2759189 w 3217388"/>
                <a:gd name="connsiteY27" fmla="*/ 385975 h 1177883"/>
                <a:gd name="connsiteX28" fmla="*/ 2759189 w 3217388"/>
                <a:gd name="connsiteY28" fmla="*/ 4403 h 1177883"/>
                <a:gd name="connsiteX29" fmla="*/ 2580567 w 3217388"/>
                <a:gd name="connsiteY29" fmla="*/ 4403 h 1177883"/>
                <a:gd name="connsiteX30" fmla="*/ 2580567 w 3217388"/>
                <a:gd name="connsiteY30" fmla="*/ 947283 h 1177883"/>
                <a:gd name="connsiteX31" fmla="*/ 2759094 w 3217388"/>
                <a:gd name="connsiteY31" fmla="*/ 947283 h 1177883"/>
                <a:gd name="connsiteX32" fmla="*/ 2759094 w 3217388"/>
                <a:gd name="connsiteY32" fmla="*/ 598097 h 1177883"/>
                <a:gd name="connsiteX33" fmla="*/ 2902162 w 3217388"/>
                <a:gd name="connsiteY33" fmla="*/ 429219 h 1177883"/>
                <a:gd name="connsiteX34" fmla="*/ 3038957 w 3217388"/>
                <a:gd name="connsiteY34" fmla="*/ 598097 h 1177883"/>
                <a:gd name="connsiteX35" fmla="*/ 3038957 w 3217388"/>
                <a:gd name="connsiteY35" fmla="*/ 947283 h 1177883"/>
                <a:gd name="connsiteX36" fmla="*/ 3217388 w 3217388"/>
                <a:gd name="connsiteY36" fmla="*/ 947283 h 1177883"/>
                <a:gd name="connsiteX37" fmla="*/ 3217388 w 3217388"/>
                <a:gd name="connsiteY37" fmla="*/ 560092 h 1177883"/>
                <a:gd name="connsiteX38" fmla="*/ 3185923 w 3217388"/>
                <a:gd name="connsiteY38" fmla="*/ 403787 h 1177883"/>
                <a:gd name="connsiteX39" fmla="*/ 1731282 w 3217388"/>
                <a:gd name="connsiteY39" fmla="*/ 100701 h 1177883"/>
                <a:gd name="connsiteX40" fmla="*/ 1615972 w 3217388"/>
                <a:gd name="connsiteY40" fmla="*/ 216906 h 1177883"/>
                <a:gd name="connsiteX41" fmla="*/ 1507221 w 3217388"/>
                <a:gd name="connsiteY41" fmla="*/ 156803 h 1177883"/>
                <a:gd name="connsiteX42" fmla="*/ 1560836 w 3217388"/>
                <a:gd name="connsiteY42" fmla="*/ 8499 h 1177883"/>
                <a:gd name="connsiteX43" fmla="*/ 1731187 w 3217388"/>
                <a:gd name="connsiteY43" fmla="*/ 100606 h 1177883"/>
                <a:gd name="connsiteX44" fmla="*/ 1731187 w 3217388"/>
                <a:gd name="connsiteY44" fmla="*/ 100606 h 1177883"/>
                <a:gd name="connsiteX45" fmla="*/ 243274 w 3217388"/>
                <a:gd name="connsiteY45" fmla="*/ 1020912 h 1177883"/>
                <a:gd name="connsiteX46" fmla="*/ 250974 w 3217388"/>
                <a:gd name="connsiteY46" fmla="*/ 1046439 h 1177883"/>
                <a:gd name="connsiteX47" fmla="*/ 217798 w 3217388"/>
                <a:gd name="connsiteY47" fmla="*/ 1047010 h 1177883"/>
                <a:gd name="connsiteX48" fmla="*/ 198975 w 3217388"/>
                <a:gd name="connsiteY48" fmla="*/ 1012625 h 1177883"/>
                <a:gd name="connsiteX49" fmla="*/ 243274 w 3217388"/>
                <a:gd name="connsiteY49" fmla="*/ 1020912 h 1177883"/>
                <a:gd name="connsiteX50" fmla="*/ 848820 w 3217388"/>
                <a:gd name="connsiteY50" fmla="*/ 564283 h 1177883"/>
                <a:gd name="connsiteX51" fmla="*/ 826290 w 3217388"/>
                <a:gd name="connsiteY51" fmla="*/ 650103 h 1177883"/>
                <a:gd name="connsiteX52" fmla="*/ 712121 w 3217388"/>
                <a:gd name="connsiteY52" fmla="*/ 716302 h 1177883"/>
                <a:gd name="connsiteX53" fmla="*/ 683507 w 3217388"/>
                <a:gd name="connsiteY53" fmla="*/ 719255 h 1177883"/>
                <a:gd name="connsiteX54" fmla="*/ 564489 w 3217388"/>
                <a:gd name="connsiteY54" fmla="*/ 646103 h 1177883"/>
                <a:gd name="connsiteX55" fmla="*/ 631223 w 3217388"/>
                <a:gd name="connsiteY55" fmla="*/ 446173 h 1177883"/>
                <a:gd name="connsiteX56" fmla="*/ 765451 w 3217388"/>
                <a:gd name="connsiteY56" fmla="*/ 454841 h 1177883"/>
                <a:gd name="connsiteX57" fmla="*/ 848915 w 3217388"/>
                <a:gd name="connsiteY57" fmla="*/ 563997 h 1177883"/>
                <a:gd name="connsiteX58" fmla="*/ 848915 w 3217388"/>
                <a:gd name="connsiteY58" fmla="*/ 564188 h 1177883"/>
                <a:gd name="connsiteX59" fmla="*/ 808039 w 3217388"/>
                <a:gd name="connsiteY59" fmla="*/ 570760 h 1177883"/>
                <a:gd name="connsiteX60" fmla="*/ 718680 w 3217388"/>
                <a:gd name="connsiteY60" fmla="*/ 484749 h 1177883"/>
                <a:gd name="connsiteX61" fmla="*/ 692158 w 3217388"/>
                <a:gd name="connsiteY61" fmla="*/ 481511 h 1177883"/>
                <a:gd name="connsiteX62" fmla="*/ 624759 w 3217388"/>
                <a:gd name="connsiteY62" fmla="*/ 514182 h 1177883"/>
                <a:gd name="connsiteX63" fmla="*/ 612211 w 3217388"/>
                <a:gd name="connsiteY63" fmla="*/ 626291 h 1177883"/>
                <a:gd name="connsiteX64" fmla="*/ 684933 w 3217388"/>
                <a:gd name="connsiteY64" fmla="*/ 671058 h 1177883"/>
                <a:gd name="connsiteX65" fmla="*/ 788076 w 3217388"/>
                <a:gd name="connsiteY65" fmla="*/ 630006 h 1177883"/>
                <a:gd name="connsiteX66" fmla="*/ 807943 w 3217388"/>
                <a:gd name="connsiteY66" fmla="*/ 570665 h 1177883"/>
                <a:gd name="connsiteX67" fmla="*/ 893024 w 3217388"/>
                <a:gd name="connsiteY67" fmla="*/ 502656 h 1177883"/>
                <a:gd name="connsiteX68" fmla="*/ 838173 w 3217388"/>
                <a:gd name="connsiteY68" fmla="*/ 782977 h 1177883"/>
                <a:gd name="connsiteX69" fmla="*/ 677043 w 3217388"/>
                <a:gd name="connsiteY69" fmla="*/ 846414 h 1177883"/>
                <a:gd name="connsiteX70" fmla="*/ 622097 w 3217388"/>
                <a:gd name="connsiteY70" fmla="*/ 840508 h 1177883"/>
                <a:gd name="connsiteX71" fmla="*/ 418569 w 3217388"/>
                <a:gd name="connsiteY71" fmla="*/ 675059 h 1177883"/>
                <a:gd name="connsiteX72" fmla="*/ 419710 w 3217388"/>
                <a:gd name="connsiteY72" fmla="*/ 475224 h 1177883"/>
                <a:gd name="connsiteX73" fmla="*/ 569147 w 3217388"/>
                <a:gd name="connsiteY73" fmla="*/ 334254 h 1177883"/>
                <a:gd name="connsiteX74" fmla="*/ 753663 w 3217388"/>
                <a:gd name="connsiteY74" fmla="*/ 342922 h 1177883"/>
                <a:gd name="connsiteX75" fmla="*/ 893024 w 3217388"/>
                <a:gd name="connsiteY75" fmla="*/ 502561 h 1177883"/>
                <a:gd name="connsiteX76" fmla="*/ 880381 w 3217388"/>
                <a:gd name="connsiteY76" fmla="*/ 507323 h 1177883"/>
                <a:gd name="connsiteX77" fmla="*/ 880381 w 3217388"/>
                <a:gd name="connsiteY77" fmla="*/ 507323 h 1177883"/>
                <a:gd name="connsiteX78" fmla="*/ 670198 w 3217388"/>
                <a:gd name="connsiteY78" fmla="*/ 370449 h 1177883"/>
                <a:gd name="connsiteX79" fmla="*/ 669153 w 3217388"/>
                <a:gd name="connsiteY79" fmla="*/ 370449 h 1177883"/>
                <a:gd name="connsiteX80" fmla="*/ 485588 w 3217388"/>
                <a:gd name="connsiteY80" fmla="*/ 460746 h 1177883"/>
                <a:gd name="connsiteX81" fmla="*/ 448704 w 3217388"/>
                <a:gd name="connsiteY81" fmla="*/ 664391 h 1177883"/>
                <a:gd name="connsiteX82" fmla="*/ 557170 w 3217388"/>
                <a:gd name="connsiteY82" fmla="*/ 793264 h 1177883"/>
                <a:gd name="connsiteX83" fmla="*/ 734270 w 3217388"/>
                <a:gd name="connsiteY83" fmla="*/ 794121 h 1177883"/>
                <a:gd name="connsiteX84" fmla="*/ 880381 w 3217388"/>
                <a:gd name="connsiteY84" fmla="*/ 507419 h 1177883"/>
                <a:gd name="connsiteX85" fmla="*/ 634645 w 3217388"/>
                <a:gd name="connsiteY85" fmla="*/ 996051 h 1177883"/>
                <a:gd name="connsiteX86" fmla="*/ 488535 w 3217388"/>
                <a:gd name="connsiteY86" fmla="*/ 966524 h 1177883"/>
                <a:gd name="connsiteX87" fmla="*/ 255062 w 3217388"/>
                <a:gd name="connsiteY87" fmla="*/ 426742 h 1177883"/>
                <a:gd name="connsiteX88" fmla="*/ 580460 w 3217388"/>
                <a:gd name="connsiteY88" fmla="*/ 157280 h 1177883"/>
                <a:gd name="connsiteX89" fmla="*/ 969359 w 3217388"/>
                <a:gd name="connsiteY89" fmla="*/ 317490 h 1177883"/>
                <a:gd name="connsiteX90" fmla="*/ 1014704 w 3217388"/>
                <a:gd name="connsiteY90" fmla="*/ 721255 h 1177883"/>
                <a:gd name="connsiteX91" fmla="*/ 785129 w 3217388"/>
                <a:gd name="connsiteY91" fmla="*/ 964714 h 1177883"/>
                <a:gd name="connsiteX92" fmla="*/ 634645 w 3217388"/>
                <a:gd name="connsiteY92" fmla="*/ 996051 h 1177883"/>
                <a:gd name="connsiteX93" fmla="*/ 1002631 w 3217388"/>
                <a:gd name="connsiteY93" fmla="*/ 716493 h 1177883"/>
                <a:gd name="connsiteX94" fmla="*/ 945593 w 3217388"/>
                <a:gd name="connsiteY94" fmla="*/ 359496 h 1177883"/>
                <a:gd name="connsiteX95" fmla="*/ 637212 w 3217388"/>
                <a:gd name="connsiteY95" fmla="*/ 204333 h 1177883"/>
                <a:gd name="connsiteX96" fmla="*/ 590156 w 3217388"/>
                <a:gd name="connsiteY96" fmla="*/ 207191 h 1177883"/>
                <a:gd name="connsiteX97" fmla="*/ 284151 w 3217388"/>
                <a:gd name="connsiteY97" fmla="*/ 438077 h 1177883"/>
                <a:gd name="connsiteX98" fmla="*/ 376456 w 3217388"/>
                <a:gd name="connsiteY98" fmla="*/ 851748 h 1177883"/>
                <a:gd name="connsiteX99" fmla="*/ 744632 w 3217388"/>
                <a:gd name="connsiteY99" fmla="*/ 937568 h 1177883"/>
                <a:gd name="connsiteX100" fmla="*/ 1002536 w 3217388"/>
                <a:gd name="connsiteY100" fmla="*/ 716493 h 1177883"/>
                <a:gd name="connsiteX101" fmla="*/ 1002536 w 3217388"/>
                <a:gd name="connsiteY101" fmla="*/ 716493 h 1177883"/>
                <a:gd name="connsiteX102" fmla="*/ 43834 w 3217388"/>
                <a:gd name="connsiteY102" fmla="*/ 569617 h 1177883"/>
                <a:gd name="connsiteX103" fmla="*/ 240328 w 3217388"/>
                <a:gd name="connsiteY103" fmla="*/ 192998 h 1177883"/>
                <a:gd name="connsiteX104" fmla="*/ 636451 w 3217388"/>
                <a:gd name="connsiteY104" fmla="*/ 44408 h 1177883"/>
                <a:gd name="connsiteX105" fmla="*/ 1012897 w 3217388"/>
                <a:gd name="connsiteY105" fmla="*/ 220240 h 1177883"/>
                <a:gd name="connsiteX106" fmla="*/ 1019742 w 3217388"/>
                <a:gd name="connsiteY106" fmla="*/ 223955 h 1177883"/>
                <a:gd name="connsiteX107" fmla="*/ 1027537 w 3217388"/>
                <a:gd name="connsiteY107" fmla="*/ 221288 h 1177883"/>
                <a:gd name="connsiteX108" fmla="*/ 1030674 w 3217388"/>
                <a:gd name="connsiteY108" fmla="*/ 213668 h 1177883"/>
                <a:gd name="connsiteX109" fmla="*/ 1027822 w 3217388"/>
                <a:gd name="connsiteY109" fmla="*/ 206905 h 1177883"/>
                <a:gd name="connsiteX110" fmla="*/ 565345 w 3217388"/>
                <a:gd name="connsiteY110" fmla="*/ 212 h 1177883"/>
                <a:gd name="connsiteX111" fmla="*/ 119504 w 3217388"/>
                <a:gd name="connsiteY111" fmla="*/ 229765 h 1177883"/>
                <a:gd name="connsiteX112" fmla="*/ 148402 w 3217388"/>
                <a:gd name="connsiteY112" fmla="*/ 978049 h 1177883"/>
                <a:gd name="connsiteX113" fmla="*/ 152775 w 3217388"/>
                <a:gd name="connsiteY113" fmla="*/ 982907 h 1177883"/>
                <a:gd name="connsiteX114" fmla="*/ 155057 w 3217388"/>
                <a:gd name="connsiteY114" fmla="*/ 985383 h 1177883"/>
                <a:gd name="connsiteX115" fmla="*/ 156198 w 3217388"/>
                <a:gd name="connsiteY115" fmla="*/ 986050 h 1177883"/>
                <a:gd name="connsiteX116" fmla="*/ 162852 w 3217388"/>
                <a:gd name="connsiteY116" fmla="*/ 987860 h 1177883"/>
                <a:gd name="connsiteX117" fmla="*/ 166464 w 3217388"/>
                <a:gd name="connsiteY117" fmla="*/ 987384 h 1177883"/>
                <a:gd name="connsiteX118" fmla="*/ 173974 w 3217388"/>
                <a:gd name="connsiteY118" fmla="*/ 981383 h 1177883"/>
                <a:gd name="connsiteX119" fmla="*/ 172168 w 3217388"/>
                <a:gd name="connsiteY119" fmla="*/ 967191 h 1177883"/>
                <a:gd name="connsiteX120" fmla="*/ 43929 w 3217388"/>
                <a:gd name="connsiteY120" fmla="*/ 569712 h 1177883"/>
                <a:gd name="connsiteX121" fmla="*/ 1172032 w 3217388"/>
                <a:gd name="connsiteY121" fmla="*/ 561997 h 1177883"/>
                <a:gd name="connsiteX122" fmla="*/ 1171651 w 3217388"/>
                <a:gd name="connsiteY122" fmla="*/ 559902 h 1177883"/>
                <a:gd name="connsiteX123" fmla="*/ 1159578 w 3217388"/>
                <a:gd name="connsiteY123" fmla="*/ 550853 h 1177883"/>
                <a:gd name="connsiteX124" fmla="*/ 1150738 w 3217388"/>
                <a:gd name="connsiteY124" fmla="*/ 555520 h 1177883"/>
                <a:gd name="connsiteX125" fmla="*/ 1148076 w 3217388"/>
                <a:gd name="connsiteY125" fmla="*/ 565521 h 1177883"/>
                <a:gd name="connsiteX126" fmla="*/ 1074403 w 3217388"/>
                <a:gd name="connsiteY126" fmla="*/ 861939 h 1177883"/>
                <a:gd name="connsiteX127" fmla="*/ 621241 w 3217388"/>
                <a:gd name="connsiteY127" fmla="*/ 1150642 h 1177883"/>
                <a:gd name="connsiteX128" fmla="*/ 609169 w 3217388"/>
                <a:gd name="connsiteY128" fmla="*/ 1165692 h 1177883"/>
                <a:gd name="connsiteX129" fmla="*/ 620481 w 3217388"/>
                <a:gd name="connsiteY129" fmla="*/ 1177693 h 1177883"/>
                <a:gd name="connsiteX130" fmla="*/ 621432 w 3217388"/>
                <a:gd name="connsiteY130" fmla="*/ 1177884 h 1177883"/>
                <a:gd name="connsiteX131" fmla="*/ 622382 w 3217388"/>
                <a:gd name="connsiteY131" fmla="*/ 1177884 h 1177883"/>
                <a:gd name="connsiteX132" fmla="*/ 664685 w 3217388"/>
                <a:gd name="connsiteY132" fmla="*/ 1174264 h 1177883"/>
                <a:gd name="connsiteX133" fmla="*/ 1045599 w 3217388"/>
                <a:gd name="connsiteY133" fmla="*/ 963285 h 1177883"/>
                <a:gd name="connsiteX134" fmla="*/ 1172032 w 3217388"/>
                <a:gd name="connsiteY134" fmla="*/ 561997 h 1177883"/>
                <a:gd name="connsiteX135" fmla="*/ 1170130 w 3217388"/>
                <a:gd name="connsiteY135" fmla="*/ 489226 h 1177883"/>
                <a:gd name="connsiteX136" fmla="*/ 1142657 w 3217388"/>
                <a:gd name="connsiteY136" fmla="*/ 363591 h 1177883"/>
                <a:gd name="connsiteX137" fmla="*/ 1115565 w 3217388"/>
                <a:gd name="connsiteY137" fmla="*/ 352923 h 1177883"/>
                <a:gd name="connsiteX138" fmla="*/ 1114804 w 3217388"/>
                <a:gd name="connsiteY138" fmla="*/ 389975 h 1177883"/>
                <a:gd name="connsiteX139" fmla="*/ 1145414 w 3217388"/>
                <a:gd name="connsiteY139" fmla="*/ 486559 h 1177883"/>
                <a:gd name="connsiteX140" fmla="*/ 1158913 w 3217388"/>
                <a:gd name="connsiteY140" fmla="*/ 501418 h 1177883"/>
                <a:gd name="connsiteX141" fmla="*/ 1170130 w 3217388"/>
                <a:gd name="connsiteY141" fmla="*/ 489321 h 117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217388" h="1177883">
                  <a:moveTo>
                    <a:pt x="1527089" y="295107"/>
                  </a:moveTo>
                  <a:lnTo>
                    <a:pt x="1705520" y="295107"/>
                  </a:lnTo>
                  <a:lnTo>
                    <a:pt x="1705520" y="947283"/>
                  </a:lnTo>
                  <a:lnTo>
                    <a:pt x="1527089" y="947283"/>
                  </a:lnTo>
                  <a:lnTo>
                    <a:pt x="1527089" y="295107"/>
                  </a:lnTo>
                  <a:close/>
                  <a:moveTo>
                    <a:pt x="2318481" y="4403"/>
                  </a:moveTo>
                  <a:lnTo>
                    <a:pt x="2318481" y="386070"/>
                  </a:lnTo>
                  <a:cubicBezTo>
                    <a:pt x="2295095" y="345779"/>
                    <a:pt x="2216669" y="274533"/>
                    <a:pt x="2100884" y="274533"/>
                  </a:cubicBezTo>
                  <a:cubicBezTo>
                    <a:pt x="2046888" y="274533"/>
                    <a:pt x="1991182" y="289296"/>
                    <a:pt x="1939848" y="318919"/>
                  </a:cubicBezTo>
                  <a:cubicBezTo>
                    <a:pt x="1888515" y="348542"/>
                    <a:pt x="1848494" y="389499"/>
                    <a:pt x="1819785" y="441792"/>
                  </a:cubicBezTo>
                  <a:cubicBezTo>
                    <a:pt x="1791076" y="494084"/>
                    <a:pt x="1776817" y="553710"/>
                    <a:pt x="1776817" y="620576"/>
                  </a:cubicBezTo>
                  <a:cubicBezTo>
                    <a:pt x="1776817" y="687441"/>
                    <a:pt x="1791171" y="747258"/>
                    <a:pt x="1819785" y="800027"/>
                  </a:cubicBezTo>
                  <a:cubicBezTo>
                    <a:pt x="1848399" y="852795"/>
                    <a:pt x="1888705" y="893753"/>
                    <a:pt x="1940419" y="922899"/>
                  </a:cubicBezTo>
                  <a:cubicBezTo>
                    <a:pt x="1992228" y="952046"/>
                    <a:pt x="2048409" y="966619"/>
                    <a:pt x="2111816" y="966619"/>
                  </a:cubicBezTo>
                  <a:cubicBezTo>
                    <a:pt x="2223704" y="966619"/>
                    <a:pt x="2302605" y="899182"/>
                    <a:pt x="2318481" y="864606"/>
                  </a:cubicBezTo>
                  <a:lnTo>
                    <a:pt x="2318481" y="947283"/>
                  </a:lnTo>
                  <a:cubicBezTo>
                    <a:pt x="2318481" y="947283"/>
                    <a:pt x="2496913" y="947283"/>
                    <a:pt x="2496913" y="947283"/>
                  </a:cubicBezTo>
                  <a:lnTo>
                    <a:pt x="2496913" y="4403"/>
                  </a:lnTo>
                  <a:lnTo>
                    <a:pt x="2318481" y="4403"/>
                  </a:lnTo>
                  <a:close/>
                  <a:moveTo>
                    <a:pt x="2146323" y="813648"/>
                  </a:moveTo>
                  <a:cubicBezTo>
                    <a:pt x="2030633" y="813648"/>
                    <a:pt x="1957815" y="728304"/>
                    <a:pt x="1957815" y="620576"/>
                  </a:cubicBezTo>
                  <a:cubicBezTo>
                    <a:pt x="1957815" y="512848"/>
                    <a:pt x="2030252" y="427504"/>
                    <a:pt x="2146323" y="427504"/>
                  </a:cubicBezTo>
                  <a:cubicBezTo>
                    <a:pt x="2262394" y="427504"/>
                    <a:pt x="2334832" y="512848"/>
                    <a:pt x="2334832" y="620576"/>
                  </a:cubicBezTo>
                  <a:cubicBezTo>
                    <a:pt x="2334832" y="728304"/>
                    <a:pt x="2260398" y="813648"/>
                    <a:pt x="2146323" y="813648"/>
                  </a:cubicBezTo>
                  <a:close/>
                  <a:moveTo>
                    <a:pt x="3186113" y="403787"/>
                  </a:moveTo>
                  <a:cubicBezTo>
                    <a:pt x="3165104" y="361305"/>
                    <a:pt x="3135635" y="329206"/>
                    <a:pt x="3097515" y="307298"/>
                  </a:cubicBezTo>
                  <a:cubicBezTo>
                    <a:pt x="3059395" y="285391"/>
                    <a:pt x="3013480" y="274533"/>
                    <a:pt x="2959485" y="274533"/>
                  </a:cubicBezTo>
                  <a:cubicBezTo>
                    <a:pt x="2848832" y="274533"/>
                    <a:pt x="2777441" y="350351"/>
                    <a:pt x="2759189" y="385975"/>
                  </a:cubicBezTo>
                  <a:lnTo>
                    <a:pt x="2759189" y="4403"/>
                  </a:lnTo>
                  <a:lnTo>
                    <a:pt x="2580567" y="4403"/>
                  </a:lnTo>
                  <a:lnTo>
                    <a:pt x="2580567" y="947283"/>
                  </a:lnTo>
                  <a:lnTo>
                    <a:pt x="2759094" y="947283"/>
                  </a:lnTo>
                  <a:lnTo>
                    <a:pt x="2759094" y="598097"/>
                  </a:lnTo>
                  <a:cubicBezTo>
                    <a:pt x="2759094" y="495227"/>
                    <a:pt x="2816987" y="429219"/>
                    <a:pt x="2902162" y="429219"/>
                  </a:cubicBezTo>
                  <a:cubicBezTo>
                    <a:pt x="2947792" y="429219"/>
                    <a:pt x="3038957" y="462175"/>
                    <a:pt x="3038957" y="598097"/>
                  </a:cubicBezTo>
                  <a:lnTo>
                    <a:pt x="3038957" y="947283"/>
                  </a:lnTo>
                  <a:lnTo>
                    <a:pt x="3217388" y="947283"/>
                  </a:lnTo>
                  <a:lnTo>
                    <a:pt x="3217388" y="560092"/>
                  </a:lnTo>
                  <a:cubicBezTo>
                    <a:pt x="3217388" y="498370"/>
                    <a:pt x="3206932" y="446268"/>
                    <a:pt x="3185923" y="403787"/>
                  </a:cubicBezTo>
                  <a:close/>
                  <a:moveTo>
                    <a:pt x="1731282" y="100701"/>
                  </a:moveTo>
                  <a:cubicBezTo>
                    <a:pt x="1740503" y="166900"/>
                    <a:pt x="1673104" y="211667"/>
                    <a:pt x="1615972" y="216906"/>
                  </a:cubicBezTo>
                  <a:cubicBezTo>
                    <a:pt x="1570342" y="223193"/>
                    <a:pt x="1522621" y="204333"/>
                    <a:pt x="1507221" y="156803"/>
                  </a:cubicBezTo>
                  <a:cubicBezTo>
                    <a:pt x="1489539" y="102987"/>
                    <a:pt x="1506555" y="32978"/>
                    <a:pt x="1560836" y="8499"/>
                  </a:cubicBezTo>
                  <a:cubicBezTo>
                    <a:pt x="1627474" y="-20266"/>
                    <a:pt x="1718163" y="27359"/>
                    <a:pt x="1731187" y="100606"/>
                  </a:cubicBezTo>
                  <a:lnTo>
                    <a:pt x="1731187" y="100606"/>
                  </a:lnTo>
                  <a:close/>
                  <a:moveTo>
                    <a:pt x="243274" y="1020912"/>
                  </a:moveTo>
                  <a:cubicBezTo>
                    <a:pt x="251735" y="1025864"/>
                    <a:pt x="257819" y="1034437"/>
                    <a:pt x="250974" y="1046439"/>
                  </a:cubicBezTo>
                  <a:cubicBezTo>
                    <a:pt x="244130" y="1058440"/>
                    <a:pt x="225213" y="1053297"/>
                    <a:pt x="217798" y="1047010"/>
                  </a:cubicBezTo>
                  <a:cubicBezTo>
                    <a:pt x="206961" y="1037771"/>
                    <a:pt x="194793" y="1016816"/>
                    <a:pt x="198975" y="1012625"/>
                  </a:cubicBezTo>
                  <a:cubicBezTo>
                    <a:pt x="203158" y="1008434"/>
                    <a:pt x="234814" y="1015959"/>
                    <a:pt x="243274" y="1020912"/>
                  </a:cubicBezTo>
                  <a:close/>
                  <a:moveTo>
                    <a:pt x="848820" y="564283"/>
                  </a:moveTo>
                  <a:cubicBezTo>
                    <a:pt x="853383" y="594382"/>
                    <a:pt x="845588" y="624100"/>
                    <a:pt x="826290" y="650103"/>
                  </a:cubicBezTo>
                  <a:cubicBezTo>
                    <a:pt x="800814" y="684489"/>
                    <a:pt x="757085" y="709825"/>
                    <a:pt x="712121" y="716302"/>
                  </a:cubicBezTo>
                  <a:cubicBezTo>
                    <a:pt x="702900" y="718302"/>
                    <a:pt x="693299" y="719255"/>
                    <a:pt x="683507" y="719255"/>
                  </a:cubicBezTo>
                  <a:cubicBezTo>
                    <a:pt x="635406" y="719255"/>
                    <a:pt x="583692" y="695157"/>
                    <a:pt x="564489" y="646103"/>
                  </a:cubicBezTo>
                  <a:cubicBezTo>
                    <a:pt x="536161" y="577332"/>
                    <a:pt x="556219" y="480558"/>
                    <a:pt x="631223" y="446173"/>
                  </a:cubicBezTo>
                  <a:cubicBezTo>
                    <a:pt x="672955" y="428361"/>
                    <a:pt x="721912" y="431504"/>
                    <a:pt x="765451" y="454841"/>
                  </a:cubicBezTo>
                  <a:cubicBezTo>
                    <a:pt x="809750" y="478558"/>
                    <a:pt x="840170" y="518372"/>
                    <a:pt x="848915" y="563997"/>
                  </a:cubicBezTo>
                  <a:lnTo>
                    <a:pt x="848915" y="564188"/>
                  </a:lnTo>
                  <a:close/>
                  <a:moveTo>
                    <a:pt x="808039" y="570760"/>
                  </a:moveTo>
                  <a:cubicBezTo>
                    <a:pt x="801004" y="531041"/>
                    <a:pt x="764215" y="495703"/>
                    <a:pt x="718680" y="484749"/>
                  </a:cubicBezTo>
                  <a:cubicBezTo>
                    <a:pt x="709554" y="482559"/>
                    <a:pt x="700713" y="481511"/>
                    <a:pt x="692158" y="481511"/>
                  </a:cubicBezTo>
                  <a:cubicBezTo>
                    <a:pt x="664590" y="481511"/>
                    <a:pt x="640824" y="492846"/>
                    <a:pt x="624759" y="514182"/>
                  </a:cubicBezTo>
                  <a:cubicBezTo>
                    <a:pt x="603180" y="543423"/>
                    <a:pt x="598046" y="589620"/>
                    <a:pt x="612211" y="626291"/>
                  </a:cubicBezTo>
                  <a:cubicBezTo>
                    <a:pt x="622477" y="652961"/>
                    <a:pt x="650996" y="670487"/>
                    <a:pt x="684933" y="671058"/>
                  </a:cubicBezTo>
                  <a:cubicBezTo>
                    <a:pt x="723243" y="672201"/>
                    <a:pt x="764785" y="655628"/>
                    <a:pt x="788076" y="630006"/>
                  </a:cubicBezTo>
                  <a:cubicBezTo>
                    <a:pt x="803666" y="612956"/>
                    <a:pt x="810510" y="592382"/>
                    <a:pt x="807943" y="570665"/>
                  </a:cubicBezTo>
                  <a:close/>
                  <a:moveTo>
                    <a:pt x="893024" y="502656"/>
                  </a:moveTo>
                  <a:cubicBezTo>
                    <a:pt x="924014" y="587715"/>
                    <a:pt x="919166" y="707444"/>
                    <a:pt x="838173" y="782977"/>
                  </a:cubicBezTo>
                  <a:cubicBezTo>
                    <a:pt x="794730" y="824411"/>
                    <a:pt x="737883" y="846414"/>
                    <a:pt x="677043" y="846414"/>
                  </a:cubicBezTo>
                  <a:cubicBezTo>
                    <a:pt x="658981" y="846414"/>
                    <a:pt x="640634" y="844509"/>
                    <a:pt x="622097" y="840508"/>
                  </a:cubicBezTo>
                  <a:cubicBezTo>
                    <a:pt x="530742" y="821172"/>
                    <a:pt x="452791" y="757736"/>
                    <a:pt x="418569" y="675059"/>
                  </a:cubicBezTo>
                  <a:cubicBezTo>
                    <a:pt x="391096" y="613241"/>
                    <a:pt x="391476" y="540375"/>
                    <a:pt x="419710" y="475224"/>
                  </a:cubicBezTo>
                  <a:cubicBezTo>
                    <a:pt x="448609" y="408454"/>
                    <a:pt x="503079" y="357019"/>
                    <a:pt x="569147" y="334254"/>
                  </a:cubicBezTo>
                  <a:cubicBezTo>
                    <a:pt x="631413" y="311966"/>
                    <a:pt x="695200" y="315014"/>
                    <a:pt x="753663" y="342922"/>
                  </a:cubicBezTo>
                  <a:cubicBezTo>
                    <a:pt x="817165" y="373307"/>
                    <a:pt x="867928" y="431409"/>
                    <a:pt x="893024" y="502561"/>
                  </a:cubicBezTo>
                  <a:close/>
                  <a:moveTo>
                    <a:pt x="880381" y="507323"/>
                  </a:moveTo>
                  <a:lnTo>
                    <a:pt x="880381" y="507323"/>
                  </a:lnTo>
                  <a:cubicBezTo>
                    <a:pt x="851957" y="425885"/>
                    <a:pt x="765356" y="369497"/>
                    <a:pt x="670198" y="370449"/>
                  </a:cubicBezTo>
                  <a:cubicBezTo>
                    <a:pt x="669818" y="370449"/>
                    <a:pt x="669533" y="370449"/>
                    <a:pt x="669153" y="370449"/>
                  </a:cubicBezTo>
                  <a:cubicBezTo>
                    <a:pt x="595765" y="370449"/>
                    <a:pt x="528936" y="403311"/>
                    <a:pt x="485588" y="460746"/>
                  </a:cubicBezTo>
                  <a:cubicBezTo>
                    <a:pt x="441859" y="518658"/>
                    <a:pt x="428360" y="592858"/>
                    <a:pt x="448704" y="664391"/>
                  </a:cubicBezTo>
                  <a:cubicBezTo>
                    <a:pt x="465720" y="722493"/>
                    <a:pt x="504220" y="768309"/>
                    <a:pt x="557170" y="793264"/>
                  </a:cubicBezTo>
                  <a:cubicBezTo>
                    <a:pt x="611735" y="818982"/>
                    <a:pt x="676378" y="819267"/>
                    <a:pt x="734270" y="794121"/>
                  </a:cubicBezTo>
                  <a:cubicBezTo>
                    <a:pt x="839029" y="752307"/>
                    <a:pt x="924680" y="624291"/>
                    <a:pt x="880381" y="507419"/>
                  </a:cubicBezTo>
                  <a:close/>
                  <a:moveTo>
                    <a:pt x="634645" y="996051"/>
                  </a:moveTo>
                  <a:cubicBezTo>
                    <a:pt x="585118" y="996051"/>
                    <a:pt x="535686" y="986241"/>
                    <a:pt x="488535" y="966524"/>
                  </a:cubicBezTo>
                  <a:cubicBezTo>
                    <a:pt x="287383" y="883371"/>
                    <a:pt x="180438" y="636197"/>
                    <a:pt x="255062" y="426742"/>
                  </a:cubicBezTo>
                  <a:cubicBezTo>
                    <a:pt x="305065" y="281391"/>
                    <a:pt x="426744" y="180616"/>
                    <a:pt x="580460" y="157280"/>
                  </a:cubicBezTo>
                  <a:cubicBezTo>
                    <a:pt x="733605" y="134039"/>
                    <a:pt x="878955" y="193856"/>
                    <a:pt x="969359" y="317490"/>
                  </a:cubicBezTo>
                  <a:cubicBezTo>
                    <a:pt x="1049972" y="427790"/>
                    <a:pt x="1067748" y="586286"/>
                    <a:pt x="1014704" y="721255"/>
                  </a:cubicBezTo>
                  <a:cubicBezTo>
                    <a:pt x="972876" y="831078"/>
                    <a:pt x="889127" y="919851"/>
                    <a:pt x="785129" y="964714"/>
                  </a:cubicBezTo>
                  <a:cubicBezTo>
                    <a:pt x="736647" y="985574"/>
                    <a:pt x="685599" y="996051"/>
                    <a:pt x="634645" y="996051"/>
                  </a:cubicBezTo>
                  <a:close/>
                  <a:moveTo>
                    <a:pt x="1002631" y="716493"/>
                  </a:moveTo>
                  <a:cubicBezTo>
                    <a:pt x="1047975" y="601907"/>
                    <a:pt x="1025541" y="461794"/>
                    <a:pt x="945593" y="359496"/>
                  </a:cubicBezTo>
                  <a:cubicBezTo>
                    <a:pt x="870019" y="260340"/>
                    <a:pt x="757180" y="204333"/>
                    <a:pt x="637212" y="204333"/>
                  </a:cubicBezTo>
                  <a:cubicBezTo>
                    <a:pt x="621622" y="204333"/>
                    <a:pt x="605937" y="205286"/>
                    <a:pt x="590156" y="207191"/>
                  </a:cubicBezTo>
                  <a:cubicBezTo>
                    <a:pt x="454407" y="223669"/>
                    <a:pt x="339953" y="309966"/>
                    <a:pt x="284151" y="438077"/>
                  </a:cubicBezTo>
                  <a:cubicBezTo>
                    <a:pt x="221410" y="578952"/>
                    <a:pt x="260196" y="752878"/>
                    <a:pt x="376456" y="851748"/>
                  </a:cubicBezTo>
                  <a:cubicBezTo>
                    <a:pt x="472089" y="937187"/>
                    <a:pt x="613066" y="970048"/>
                    <a:pt x="744632" y="937568"/>
                  </a:cubicBezTo>
                  <a:cubicBezTo>
                    <a:pt x="866882" y="907469"/>
                    <a:pt x="960898" y="826887"/>
                    <a:pt x="1002536" y="716493"/>
                  </a:cubicBezTo>
                  <a:lnTo>
                    <a:pt x="1002536" y="716493"/>
                  </a:lnTo>
                  <a:close/>
                  <a:moveTo>
                    <a:pt x="43834" y="569617"/>
                  </a:moveTo>
                  <a:cubicBezTo>
                    <a:pt x="57713" y="426551"/>
                    <a:pt x="127584" y="292725"/>
                    <a:pt x="240328" y="192998"/>
                  </a:cubicBezTo>
                  <a:cubicBezTo>
                    <a:pt x="352881" y="93462"/>
                    <a:pt x="493478" y="40598"/>
                    <a:pt x="636451" y="44408"/>
                  </a:cubicBezTo>
                  <a:cubicBezTo>
                    <a:pt x="781516" y="48218"/>
                    <a:pt x="915174" y="110607"/>
                    <a:pt x="1012897" y="220240"/>
                  </a:cubicBezTo>
                  <a:cubicBezTo>
                    <a:pt x="1014609" y="222335"/>
                    <a:pt x="1017080" y="223669"/>
                    <a:pt x="1019742" y="223955"/>
                  </a:cubicBezTo>
                  <a:cubicBezTo>
                    <a:pt x="1022594" y="224241"/>
                    <a:pt x="1025541" y="223288"/>
                    <a:pt x="1027537" y="221288"/>
                  </a:cubicBezTo>
                  <a:cubicBezTo>
                    <a:pt x="1029628" y="219383"/>
                    <a:pt x="1030769" y="216525"/>
                    <a:pt x="1030674" y="213668"/>
                  </a:cubicBezTo>
                  <a:cubicBezTo>
                    <a:pt x="1030674" y="211096"/>
                    <a:pt x="1029533" y="208715"/>
                    <a:pt x="1027822" y="206905"/>
                  </a:cubicBezTo>
                  <a:cubicBezTo>
                    <a:pt x="912512" y="70888"/>
                    <a:pt x="743967" y="-4264"/>
                    <a:pt x="565345" y="212"/>
                  </a:cubicBezTo>
                  <a:cubicBezTo>
                    <a:pt x="389765" y="4784"/>
                    <a:pt x="227304" y="88414"/>
                    <a:pt x="119504" y="229765"/>
                  </a:cubicBezTo>
                  <a:cubicBezTo>
                    <a:pt x="-50277" y="450459"/>
                    <a:pt x="-37824" y="772214"/>
                    <a:pt x="148402" y="978049"/>
                  </a:cubicBezTo>
                  <a:cubicBezTo>
                    <a:pt x="149828" y="979668"/>
                    <a:pt x="151349" y="981287"/>
                    <a:pt x="152775" y="982907"/>
                  </a:cubicBezTo>
                  <a:lnTo>
                    <a:pt x="155057" y="985383"/>
                  </a:lnTo>
                  <a:lnTo>
                    <a:pt x="156198" y="986050"/>
                  </a:lnTo>
                  <a:cubicBezTo>
                    <a:pt x="158194" y="987193"/>
                    <a:pt x="160570" y="987860"/>
                    <a:pt x="162852" y="987860"/>
                  </a:cubicBezTo>
                  <a:cubicBezTo>
                    <a:pt x="164088" y="987860"/>
                    <a:pt x="165228" y="987669"/>
                    <a:pt x="166464" y="987384"/>
                  </a:cubicBezTo>
                  <a:cubicBezTo>
                    <a:pt x="169696" y="986431"/>
                    <a:pt x="172453" y="984240"/>
                    <a:pt x="173974" y="981383"/>
                  </a:cubicBezTo>
                  <a:cubicBezTo>
                    <a:pt x="176351" y="976906"/>
                    <a:pt x="175685" y="971477"/>
                    <a:pt x="172168" y="967191"/>
                  </a:cubicBezTo>
                  <a:cubicBezTo>
                    <a:pt x="75300" y="856129"/>
                    <a:pt x="29765" y="714968"/>
                    <a:pt x="43929" y="569712"/>
                  </a:cubicBezTo>
                  <a:close/>
                  <a:moveTo>
                    <a:pt x="1172032" y="561997"/>
                  </a:moveTo>
                  <a:lnTo>
                    <a:pt x="1171651" y="559902"/>
                  </a:lnTo>
                  <a:cubicBezTo>
                    <a:pt x="1169940" y="554377"/>
                    <a:pt x="1164997" y="550567"/>
                    <a:pt x="1159578" y="550853"/>
                  </a:cubicBezTo>
                  <a:cubicBezTo>
                    <a:pt x="1156156" y="550948"/>
                    <a:pt x="1152924" y="552663"/>
                    <a:pt x="1150738" y="555520"/>
                  </a:cubicBezTo>
                  <a:cubicBezTo>
                    <a:pt x="1148551" y="558378"/>
                    <a:pt x="1147601" y="561902"/>
                    <a:pt x="1148076" y="565521"/>
                  </a:cubicBezTo>
                  <a:cubicBezTo>
                    <a:pt x="1151118" y="670677"/>
                    <a:pt x="1125641" y="773166"/>
                    <a:pt x="1074403" y="861939"/>
                  </a:cubicBezTo>
                  <a:cubicBezTo>
                    <a:pt x="980957" y="1028532"/>
                    <a:pt x="811746" y="1136450"/>
                    <a:pt x="621241" y="1150642"/>
                  </a:cubicBezTo>
                  <a:cubicBezTo>
                    <a:pt x="613827" y="1151595"/>
                    <a:pt x="608408" y="1158357"/>
                    <a:pt x="609169" y="1165692"/>
                  </a:cubicBezTo>
                  <a:cubicBezTo>
                    <a:pt x="609834" y="1171692"/>
                    <a:pt x="614397" y="1176550"/>
                    <a:pt x="620481" y="1177693"/>
                  </a:cubicBezTo>
                  <a:lnTo>
                    <a:pt x="621432" y="1177884"/>
                  </a:lnTo>
                  <a:lnTo>
                    <a:pt x="622382" y="1177884"/>
                  </a:lnTo>
                  <a:cubicBezTo>
                    <a:pt x="636642" y="1177217"/>
                    <a:pt x="650901" y="1175979"/>
                    <a:pt x="664685" y="1174264"/>
                  </a:cubicBezTo>
                  <a:cubicBezTo>
                    <a:pt x="816689" y="1155976"/>
                    <a:pt x="951963" y="1081014"/>
                    <a:pt x="1045599" y="963285"/>
                  </a:cubicBezTo>
                  <a:cubicBezTo>
                    <a:pt x="1135813" y="849843"/>
                    <a:pt x="1180682" y="707349"/>
                    <a:pt x="1172032" y="561997"/>
                  </a:cubicBezTo>
                  <a:close/>
                  <a:moveTo>
                    <a:pt x="1170130" y="489226"/>
                  </a:moveTo>
                  <a:cubicBezTo>
                    <a:pt x="1175073" y="468938"/>
                    <a:pt x="1167849" y="393595"/>
                    <a:pt x="1142657" y="363591"/>
                  </a:cubicBezTo>
                  <a:cubicBezTo>
                    <a:pt x="1134957" y="354352"/>
                    <a:pt x="1125831" y="346732"/>
                    <a:pt x="1115565" y="352923"/>
                  </a:cubicBezTo>
                  <a:cubicBezTo>
                    <a:pt x="1101876" y="361115"/>
                    <a:pt x="1104728" y="376069"/>
                    <a:pt x="1114804" y="389975"/>
                  </a:cubicBezTo>
                  <a:cubicBezTo>
                    <a:pt x="1131725" y="413407"/>
                    <a:pt x="1144559" y="466271"/>
                    <a:pt x="1145414" y="486559"/>
                  </a:cubicBezTo>
                  <a:cubicBezTo>
                    <a:pt x="1145794" y="495322"/>
                    <a:pt x="1151783" y="501227"/>
                    <a:pt x="1158913" y="501418"/>
                  </a:cubicBezTo>
                  <a:cubicBezTo>
                    <a:pt x="1166043" y="501513"/>
                    <a:pt x="1168039" y="497894"/>
                    <a:pt x="1170130" y="489321"/>
                  </a:cubicBezTo>
                  <a:close/>
                </a:path>
              </a:pathLst>
            </a:custGeom>
            <a:grpFill/>
            <a:ln w="9497" cap="flat">
              <a:noFill/>
              <a:prstDash val="solid"/>
              <a:miter/>
            </a:ln>
          </p:spPr>
          <p:txBody>
            <a:bodyPr rtlCol="0" anchor="ctr"/>
            <a:lstStyle/>
            <a:p>
              <a:endParaRPr lang="en-US">
                <a:solidFill>
                  <a:schemeClr val="tx1"/>
                </a:solidFill>
              </a:endParaRPr>
            </a:p>
          </p:txBody>
        </p:sp>
        <p:grpSp>
          <p:nvGrpSpPr>
            <p:cNvPr id="49" name="Graphic 77">
              <a:extLst>
                <a:ext uri="{FF2B5EF4-FFF2-40B4-BE49-F238E27FC236}">
                  <a16:creationId xmlns:a16="http://schemas.microsoft.com/office/drawing/2014/main" id="{847AADAB-68C7-3BC2-44F1-DFC4872A755F}"/>
                </a:ext>
              </a:extLst>
            </p:cNvPr>
            <p:cNvGrpSpPr/>
            <p:nvPr/>
          </p:nvGrpSpPr>
          <p:grpSpPr>
            <a:xfrm>
              <a:off x="6016337" y="3871817"/>
              <a:ext cx="1690870" cy="144494"/>
              <a:chOff x="6016337" y="3871817"/>
              <a:chExt cx="1690870" cy="144494"/>
            </a:xfrm>
            <a:grpFill/>
          </p:grpSpPr>
          <p:sp>
            <p:nvSpPr>
              <p:cNvPr id="50" name="Freeform 49">
                <a:extLst>
                  <a:ext uri="{FF2B5EF4-FFF2-40B4-BE49-F238E27FC236}">
                    <a16:creationId xmlns:a16="http://schemas.microsoft.com/office/drawing/2014/main" id="{E01A9E02-8F80-0939-C380-1E2040C1D97F}"/>
                  </a:ext>
                </a:extLst>
              </p:cNvPr>
              <p:cNvSpPr/>
              <p:nvPr/>
            </p:nvSpPr>
            <p:spPr>
              <a:xfrm>
                <a:off x="6016337"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2"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US">
                  <a:solidFill>
                    <a:schemeClr val="tx1"/>
                  </a:solidFill>
                </a:endParaRPr>
              </a:p>
            </p:txBody>
          </p:sp>
          <p:sp>
            <p:nvSpPr>
              <p:cNvPr id="51" name="Freeform 50">
                <a:extLst>
                  <a:ext uri="{FF2B5EF4-FFF2-40B4-BE49-F238E27FC236}">
                    <a16:creationId xmlns:a16="http://schemas.microsoft.com/office/drawing/2014/main" id="{32B76A16-BDF6-6B65-E312-8438BA646BD2}"/>
                  </a:ext>
                </a:extLst>
              </p:cNvPr>
              <p:cNvSpPr/>
              <p:nvPr/>
            </p:nvSpPr>
            <p:spPr>
              <a:xfrm>
                <a:off x="6086303" y="3904773"/>
                <a:ext cx="70250" cy="78295"/>
              </a:xfrm>
              <a:custGeom>
                <a:avLst/>
                <a:gdLst>
                  <a:gd name="connsiteX0" fmla="*/ 0 w 70250"/>
                  <a:gd name="connsiteY0" fmla="*/ 1238 h 78295"/>
                  <a:gd name="connsiteX1" fmla="*/ 17492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1 w 70250"/>
                  <a:gd name="connsiteY8" fmla="*/ 34004 h 78295"/>
                  <a:gd name="connsiteX9" fmla="*/ 38976 w 70250"/>
                  <a:gd name="connsiteY9" fmla="*/ 14954 h 78295"/>
                  <a:gd name="connsiteX10" fmla="*/ 17492 w 70250"/>
                  <a:gd name="connsiteY10" fmla="*/ 44577 h 78295"/>
                  <a:gd name="connsiteX11" fmla="*/ 17492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2"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1" y="37624"/>
                      <a:pt x="54281" y="34004"/>
                    </a:cubicBezTo>
                    <a:cubicBezTo>
                      <a:pt x="54281" y="21050"/>
                      <a:pt x="49337" y="14954"/>
                      <a:pt x="38976" y="14954"/>
                    </a:cubicBezTo>
                    <a:cubicBezTo>
                      <a:pt x="25762" y="14954"/>
                      <a:pt x="17492" y="26194"/>
                      <a:pt x="17492" y="44577"/>
                    </a:cubicBezTo>
                    <a:lnTo>
                      <a:pt x="17492" y="78296"/>
                    </a:lnTo>
                    <a:lnTo>
                      <a:pt x="0" y="78296"/>
                    </a:lnTo>
                    <a:lnTo>
                      <a:pt x="0" y="1238"/>
                    </a:lnTo>
                    <a:close/>
                  </a:path>
                </a:pathLst>
              </a:custGeom>
              <a:grpFill/>
              <a:ln w="9497" cap="flat">
                <a:noFill/>
                <a:prstDash val="solid"/>
                <a:miter/>
              </a:ln>
            </p:spPr>
            <p:txBody>
              <a:bodyPr rtlCol="0" anchor="ctr"/>
              <a:lstStyle/>
              <a:p>
                <a:endParaRPr lang="en-US">
                  <a:solidFill>
                    <a:schemeClr val="tx1"/>
                  </a:solidFill>
                </a:endParaRPr>
              </a:p>
            </p:txBody>
          </p:sp>
          <p:sp>
            <p:nvSpPr>
              <p:cNvPr id="52" name="Freeform 51">
                <a:extLst>
                  <a:ext uri="{FF2B5EF4-FFF2-40B4-BE49-F238E27FC236}">
                    <a16:creationId xmlns:a16="http://schemas.microsoft.com/office/drawing/2014/main" id="{015B7AD0-174A-D302-4997-63D98221157C}"/>
                  </a:ext>
                </a:extLst>
              </p:cNvPr>
              <p:cNvSpPr/>
              <p:nvPr/>
            </p:nvSpPr>
            <p:spPr>
              <a:xfrm>
                <a:off x="6169197" y="3904773"/>
                <a:ext cx="74909" cy="79533"/>
              </a:xfrm>
              <a:custGeom>
                <a:avLst/>
                <a:gdLst>
                  <a:gd name="connsiteX0" fmla="*/ 95 w 74909"/>
                  <a:gd name="connsiteY0" fmla="*/ 56198 h 79533"/>
                  <a:gd name="connsiteX1" fmla="*/ 28899 w 74909"/>
                  <a:gd name="connsiteY1" fmla="*/ 35243 h 79533"/>
                  <a:gd name="connsiteX2" fmla="*/ 57418 w 74909"/>
                  <a:gd name="connsiteY2" fmla="*/ 35243 h 79533"/>
                  <a:gd name="connsiteX3" fmla="*/ 57418 w 74909"/>
                  <a:gd name="connsiteY3" fmla="*/ 29813 h 79533"/>
                  <a:gd name="connsiteX4" fmla="*/ 37169 w 74909"/>
                  <a:gd name="connsiteY4" fmla="*/ 13145 h 79533"/>
                  <a:gd name="connsiteX5" fmla="*/ 18632 w 74909"/>
                  <a:gd name="connsiteY5" fmla="*/ 26289 h 79533"/>
                  <a:gd name="connsiteX6" fmla="*/ 18822 w 74909"/>
                  <a:gd name="connsiteY6" fmla="*/ 29242 h 79533"/>
                  <a:gd name="connsiteX7" fmla="*/ 2757 w 74909"/>
                  <a:gd name="connsiteY7" fmla="*/ 29242 h 79533"/>
                  <a:gd name="connsiteX8" fmla="*/ 2472 w 74909"/>
                  <a:gd name="connsiteY8" fmla="*/ 24670 h 79533"/>
                  <a:gd name="connsiteX9" fmla="*/ 37835 w 74909"/>
                  <a:gd name="connsiteY9" fmla="*/ 0 h 79533"/>
                  <a:gd name="connsiteX10" fmla="*/ 74909 w 74909"/>
                  <a:gd name="connsiteY10" fmla="*/ 31337 h 79533"/>
                  <a:gd name="connsiteX11" fmla="*/ 74909 w 74909"/>
                  <a:gd name="connsiteY11" fmla="*/ 78296 h 79533"/>
                  <a:gd name="connsiteX12" fmla="*/ 57418 w 74909"/>
                  <a:gd name="connsiteY12" fmla="*/ 78296 h 79533"/>
                  <a:gd name="connsiteX13" fmla="*/ 58178 w 74909"/>
                  <a:gd name="connsiteY13" fmla="*/ 61246 h 79533"/>
                  <a:gd name="connsiteX14" fmla="*/ 57988 w 74909"/>
                  <a:gd name="connsiteY14" fmla="*/ 61246 h 79533"/>
                  <a:gd name="connsiteX15" fmla="*/ 29279 w 74909"/>
                  <a:gd name="connsiteY15" fmla="*/ 79534 h 79533"/>
                  <a:gd name="connsiteX16" fmla="*/ 0 w 74909"/>
                  <a:gd name="connsiteY16" fmla="*/ 56102 h 79533"/>
                  <a:gd name="connsiteX17" fmla="*/ 57418 w 74909"/>
                  <a:gd name="connsiteY17" fmla="*/ 47339 h 79533"/>
                  <a:gd name="connsiteX18" fmla="*/ 57418 w 74909"/>
                  <a:gd name="connsiteY18" fmla="*/ 45910 h 79533"/>
                  <a:gd name="connsiteX19" fmla="*/ 30515 w 74909"/>
                  <a:gd name="connsiteY19" fmla="*/ 45910 h 79533"/>
                  <a:gd name="connsiteX20" fmla="*/ 16161 w 74909"/>
                  <a:gd name="connsiteY20" fmla="*/ 55435 h 79533"/>
                  <a:gd name="connsiteX21" fmla="*/ 32987 w 74909"/>
                  <a:gd name="connsiteY21" fmla="*/ 66485 h 79533"/>
                  <a:gd name="connsiteX22" fmla="*/ 57418 w 74909"/>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909" h="79533">
                    <a:moveTo>
                      <a:pt x="95" y="56198"/>
                    </a:moveTo>
                    <a:cubicBezTo>
                      <a:pt x="95" y="44482"/>
                      <a:pt x="8366" y="35243"/>
                      <a:pt x="28899" y="35243"/>
                    </a:cubicBezTo>
                    <a:lnTo>
                      <a:pt x="57418" y="35243"/>
                    </a:lnTo>
                    <a:lnTo>
                      <a:pt x="57418" y="29813"/>
                    </a:lnTo>
                    <a:cubicBezTo>
                      <a:pt x="57418" y="18288"/>
                      <a:pt x="50763" y="13145"/>
                      <a:pt x="37169" y="13145"/>
                    </a:cubicBezTo>
                    <a:cubicBezTo>
                      <a:pt x="25287" y="13145"/>
                      <a:pt x="18632" y="17717"/>
                      <a:pt x="18632" y="26289"/>
                    </a:cubicBezTo>
                    <a:cubicBezTo>
                      <a:pt x="18632" y="26765"/>
                      <a:pt x="18632" y="28004"/>
                      <a:pt x="18822" y="29242"/>
                    </a:cubicBezTo>
                    <a:lnTo>
                      <a:pt x="2757" y="29242"/>
                    </a:lnTo>
                    <a:cubicBezTo>
                      <a:pt x="2567" y="28099"/>
                      <a:pt x="2472" y="26099"/>
                      <a:pt x="2472" y="24670"/>
                    </a:cubicBezTo>
                    <a:cubicBezTo>
                      <a:pt x="2472" y="9239"/>
                      <a:pt x="15875" y="0"/>
                      <a:pt x="37835" y="0"/>
                    </a:cubicBezTo>
                    <a:cubicBezTo>
                      <a:pt x="61220" y="0"/>
                      <a:pt x="74909" y="11049"/>
                      <a:pt x="74909" y="31337"/>
                    </a:cubicBezTo>
                    <a:lnTo>
                      <a:pt x="74909" y="78296"/>
                    </a:lnTo>
                    <a:lnTo>
                      <a:pt x="57418" y="78296"/>
                    </a:lnTo>
                    <a:cubicBezTo>
                      <a:pt x="57703" y="74581"/>
                      <a:pt x="58178" y="67532"/>
                      <a:pt x="58178" y="61246"/>
                    </a:cubicBezTo>
                    <a:lnTo>
                      <a:pt x="57988" y="61246"/>
                    </a:lnTo>
                    <a:cubicBezTo>
                      <a:pt x="55516" y="72676"/>
                      <a:pt x="46295" y="79534"/>
                      <a:pt x="29279" y="79534"/>
                    </a:cubicBezTo>
                    <a:cubicBezTo>
                      <a:pt x="12263" y="79534"/>
                      <a:pt x="0" y="71152"/>
                      <a:pt x="0" y="56102"/>
                    </a:cubicBezTo>
                    <a:close/>
                    <a:moveTo>
                      <a:pt x="57418" y="47339"/>
                    </a:moveTo>
                    <a:lnTo>
                      <a:pt x="57418" y="45910"/>
                    </a:lnTo>
                    <a:lnTo>
                      <a:pt x="30515" y="45910"/>
                    </a:lnTo>
                    <a:cubicBezTo>
                      <a:pt x="20533" y="45910"/>
                      <a:pt x="16161" y="49340"/>
                      <a:pt x="16161" y="55435"/>
                    </a:cubicBezTo>
                    <a:cubicBezTo>
                      <a:pt x="16161" y="62484"/>
                      <a:pt x="22435" y="66485"/>
                      <a:pt x="32987" y="66485"/>
                    </a:cubicBezTo>
                    <a:cubicBezTo>
                      <a:pt x="48101" y="66485"/>
                      <a:pt x="57418" y="59150"/>
                      <a:pt x="57418" y="47244"/>
                    </a:cubicBezTo>
                    <a:close/>
                  </a:path>
                </a:pathLst>
              </a:custGeom>
              <a:grpFill/>
              <a:ln w="9497" cap="flat">
                <a:noFill/>
                <a:prstDash val="solid"/>
                <a:miter/>
              </a:ln>
            </p:spPr>
            <p:txBody>
              <a:bodyPr rtlCol="0" anchor="ctr"/>
              <a:lstStyle/>
              <a:p>
                <a:endParaRPr lang="en-US">
                  <a:solidFill>
                    <a:schemeClr val="tx1"/>
                  </a:solidFill>
                </a:endParaRPr>
              </a:p>
            </p:txBody>
          </p:sp>
          <p:sp>
            <p:nvSpPr>
              <p:cNvPr id="53" name="Freeform 52">
                <a:extLst>
                  <a:ext uri="{FF2B5EF4-FFF2-40B4-BE49-F238E27FC236}">
                    <a16:creationId xmlns:a16="http://schemas.microsoft.com/office/drawing/2014/main" id="{DB345BF0-1BFE-4ADF-414B-C064176BE30C}"/>
                  </a:ext>
                </a:extLst>
              </p:cNvPr>
              <p:cNvSpPr/>
              <p:nvPr/>
            </p:nvSpPr>
            <p:spPr>
              <a:xfrm>
                <a:off x="6260742" y="3904773"/>
                <a:ext cx="80612" cy="78390"/>
              </a:xfrm>
              <a:custGeom>
                <a:avLst/>
                <a:gdLst>
                  <a:gd name="connsiteX0" fmla="*/ 0 w 80612"/>
                  <a:gd name="connsiteY0" fmla="*/ 1238 h 78390"/>
                  <a:gd name="connsiteX1" fmla="*/ 17491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1 w 80612"/>
                  <a:gd name="connsiteY10" fmla="*/ 41053 h 78390"/>
                  <a:gd name="connsiteX11" fmla="*/ 17491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1"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1" y="24194"/>
                      <a:pt x="17491" y="41053"/>
                    </a:cubicBezTo>
                    <a:lnTo>
                      <a:pt x="17491" y="78391"/>
                    </a:lnTo>
                    <a:lnTo>
                      <a:pt x="0" y="78391"/>
                    </a:lnTo>
                    <a:lnTo>
                      <a:pt x="0" y="1333"/>
                    </a:lnTo>
                    <a:close/>
                  </a:path>
                </a:pathLst>
              </a:custGeom>
              <a:grpFill/>
              <a:ln w="9497" cap="flat">
                <a:noFill/>
                <a:prstDash val="solid"/>
                <a:miter/>
              </a:ln>
            </p:spPr>
            <p:txBody>
              <a:bodyPr rtlCol="0" anchor="ctr"/>
              <a:lstStyle/>
              <a:p>
                <a:endParaRPr lang="en-US">
                  <a:solidFill>
                    <a:schemeClr val="tx1"/>
                  </a:solidFill>
                </a:endParaRPr>
              </a:p>
            </p:txBody>
          </p:sp>
          <p:sp>
            <p:nvSpPr>
              <p:cNvPr id="54" name="Freeform 53">
                <a:extLst>
                  <a:ext uri="{FF2B5EF4-FFF2-40B4-BE49-F238E27FC236}">
                    <a16:creationId xmlns:a16="http://schemas.microsoft.com/office/drawing/2014/main" id="{D7DEB60C-AA27-71EB-2B0F-444B46E57BF4}"/>
                  </a:ext>
                </a:extLst>
              </p:cNvPr>
              <p:cNvSpPr/>
              <p:nvPr/>
            </p:nvSpPr>
            <p:spPr>
              <a:xfrm>
                <a:off x="635561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4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3"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1"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4" y="79629"/>
                    </a:cubicBezTo>
                    <a:cubicBezTo>
                      <a:pt x="9601" y="79629"/>
                      <a:pt x="95" y="67723"/>
                      <a:pt x="95" y="52673"/>
                    </a:cubicBezTo>
                    <a:close/>
                  </a:path>
                </a:pathLst>
              </a:custGeom>
              <a:grpFill/>
              <a:ln w="9497" cap="flat">
                <a:noFill/>
                <a:prstDash val="solid"/>
                <a:miter/>
              </a:ln>
            </p:spPr>
            <p:txBody>
              <a:bodyPr rtlCol="0" anchor="ctr"/>
              <a:lstStyle/>
              <a:p>
                <a:endParaRPr lang="en-US">
                  <a:solidFill>
                    <a:schemeClr val="tx1"/>
                  </a:solidFill>
                </a:endParaRPr>
              </a:p>
            </p:txBody>
          </p:sp>
          <p:sp>
            <p:nvSpPr>
              <p:cNvPr id="55" name="Freeform 54">
                <a:extLst>
                  <a:ext uri="{FF2B5EF4-FFF2-40B4-BE49-F238E27FC236}">
                    <a16:creationId xmlns:a16="http://schemas.microsoft.com/office/drawing/2014/main" id="{317A18C6-35A0-4860-F942-665FD22544D6}"/>
                  </a:ext>
                </a:extLst>
              </p:cNvPr>
              <p:cNvSpPr/>
              <p:nvPr/>
            </p:nvSpPr>
            <p:spPr>
              <a:xfrm>
                <a:off x="6436797" y="3871817"/>
                <a:ext cx="56466" cy="111252"/>
              </a:xfrm>
              <a:custGeom>
                <a:avLst/>
                <a:gdLst>
                  <a:gd name="connsiteX0" fmla="*/ 12263 w 56466"/>
                  <a:gd name="connsiteY0" fmla="*/ 48387 h 111252"/>
                  <a:gd name="connsiteX1" fmla="*/ 0 w 56466"/>
                  <a:gd name="connsiteY1" fmla="*/ 48387 h 111252"/>
                  <a:gd name="connsiteX2" fmla="*/ 0 w 56466"/>
                  <a:gd name="connsiteY2" fmla="*/ 34195 h 111252"/>
                  <a:gd name="connsiteX3" fmla="*/ 12263 w 56466"/>
                  <a:gd name="connsiteY3" fmla="*/ 34195 h 111252"/>
                  <a:gd name="connsiteX4" fmla="*/ 12263 w 56466"/>
                  <a:gd name="connsiteY4" fmla="*/ 26575 h 111252"/>
                  <a:gd name="connsiteX5" fmla="*/ 40306 w 56466"/>
                  <a:gd name="connsiteY5" fmla="*/ 0 h 111252"/>
                  <a:gd name="connsiteX6" fmla="*/ 55231 w 56466"/>
                  <a:gd name="connsiteY6" fmla="*/ 2191 h 111252"/>
                  <a:gd name="connsiteX7" fmla="*/ 55231 w 56466"/>
                  <a:gd name="connsiteY7" fmla="*/ 16097 h 111252"/>
                  <a:gd name="connsiteX8" fmla="*/ 43348 w 56466"/>
                  <a:gd name="connsiteY8" fmla="*/ 14192 h 111252"/>
                  <a:gd name="connsiteX9" fmla="*/ 29659 w 56466"/>
                  <a:gd name="connsiteY9" fmla="*/ 27337 h 111252"/>
                  <a:gd name="connsiteX10" fmla="*/ 29659 w 56466"/>
                  <a:gd name="connsiteY10" fmla="*/ 34195 h 111252"/>
                  <a:gd name="connsiteX11" fmla="*/ 56467 w 56466"/>
                  <a:gd name="connsiteY11" fmla="*/ 34195 h 111252"/>
                  <a:gd name="connsiteX12" fmla="*/ 56467 w 56466"/>
                  <a:gd name="connsiteY12" fmla="*/ 48387 h 111252"/>
                  <a:gd name="connsiteX13" fmla="*/ 29659 w 56466"/>
                  <a:gd name="connsiteY13" fmla="*/ 48387 h 111252"/>
                  <a:gd name="connsiteX14" fmla="*/ 29659 w 56466"/>
                  <a:gd name="connsiteY14" fmla="*/ 111252 h 111252"/>
                  <a:gd name="connsiteX15" fmla="*/ 12168 w 56466"/>
                  <a:gd name="connsiteY15" fmla="*/ 111252 h 111252"/>
                  <a:gd name="connsiteX16" fmla="*/ 12168 w 56466"/>
                  <a:gd name="connsiteY16" fmla="*/ 48387 h 11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466" h="111252">
                    <a:moveTo>
                      <a:pt x="12263" y="48387"/>
                    </a:moveTo>
                    <a:lnTo>
                      <a:pt x="0" y="48387"/>
                    </a:lnTo>
                    <a:lnTo>
                      <a:pt x="0" y="34195"/>
                    </a:lnTo>
                    <a:lnTo>
                      <a:pt x="12263" y="34195"/>
                    </a:lnTo>
                    <a:lnTo>
                      <a:pt x="12263" y="26575"/>
                    </a:lnTo>
                    <a:cubicBezTo>
                      <a:pt x="12263" y="9430"/>
                      <a:pt x="23670" y="0"/>
                      <a:pt x="40306" y="0"/>
                    </a:cubicBezTo>
                    <a:cubicBezTo>
                      <a:pt x="47151" y="0"/>
                      <a:pt x="52759" y="1238"/>
                      <a:pt x="55231" y="2191"/>
                    </a:cubicBezTo>
                    <a:lnTo>
                      <a:pt x="55231" y="16097"/>
                    </a:lnTo>
                    <a:cubicBezTo>
                      <a:pt x="52759" y="15335"/>
                      <a:pt x="48672" y="14192"/>
                      <a:pt x="43348" y="14192"/>
                    </a:cubicBezTo>
                    <a:cubicBezTo>
                      <a:pt x="34507" y="14192"/>
                      <a:pt x="29659" y="18860"/>
                      <a:pt x="29659" y="27337"/>
                    </a:cubicBezTo>
                    <a:lnTo>
                      <a:pt x="29659" y="34195"/>
                    </a:lnTo>
                    <a:lnTo>
                      <a:pt x="56467" y="34195"/>
                    </a:lnTo>
                    <a:lnTo>
                      <a:pt x="56467" y="48387"/>
                    </a:lnTo>
                    <a:lnTo>
                      <a:pt x="29659" y="48387"/>
                    </a:lnTo>
                    <a:lnTo>
                      <a:pt x="29659" y="111252"/>
                    </a:lnTo>
                    <a:lnTo>
                      <a:pt x="12168" y="111252"/>
                    </a:lnTo>
                    <a:lnTo>
                      <a:pt x="12168" y="48387"/>
                    </a:lnTo>
                    <a:close/>
                  </a:path>
                </a:pathLst>
              </a:custGeom>
              <a:grpFill/>
              <a:ln w="9497" cap="flat">
                <a:noFill/>
                <a:prstDash val="solid"/>
                <a:miter/>
              </a:ln>
            </p:spPr>
            <p:txBody>
              <a:bodyPr rtlCol="0" anchor="ctr"/>
              <a:lstStyle/>
              <a:p>
                <a:endParaRPr lang="en-US">
                  <a:solidFill>
                    <a:schemeClr val="tx1"/>
                  </a:solidFill>
                </a:endParaRPr>
              </a:p>
            </p:txBody>
          </p:sp>
          <p:sp>
            <p:nvSpPr>
              <p:cNvPr id="56" name="Freeform 55">
                <a:extLst>
                  <a:ext uri="{FF2B5EF4-FFF2-40B4-BE49-F238E27FC236}">
                    <a16:creationId xmlns:a16="http://schemas.microsoft.com/office/drawing/2014/main" id="{080AF2F7-B171-C017-AC0B-E7AADA87852D}"/>
                  </a:ext>
                </a:extLst>
              </p:cNvPr>
              <p:cNvSpPr/>
              <p:nvPr/>
            </p:nvSpPr>
            <p:spPr>
              <a:xfrm>
                <a:off x="6497732" y="3904773"/>
                <a:ext cx="80517" cy="79533"/>
              </a:xfrm>
              <a:custGeom>
                <a:avLst/>
                <a:gdLst>
                  <a:gd name="connsiteX0" fmla="*/ 0 w 80517"/>
                  <a:gd name="connsiteY0" fmla="*/ 39910 h 79533"/>
                  <a:gd name="connsiteX1" fmla="*/ 40211 w 80517"/>
                  <a:gd name="connsiteY1" fmla="*/ 0 h 79533"/>
                  <a:gd name="connsiteX2" fmla="*/ 80518 w 80517"/>
                  <a:gd name="connsiteY2" fmla="*/ 39910 h 79533"/>
                  <a:gd name="connsiteX3" fmla="*/ 40211 w 80517"/>
                  <a:gd name="connsiteY3" fmla="*/ 79534 h 79533"/>
                  <a:gd name="connsiteX4" fmla="*/ 0 w 80517"/>
                  <a:gd name="connsiteY4" fmla="*/ 39910 h 79533"/>
                  <a:gd name="connsiteX5" fmla="*/ 63121 w 80517"/>
                  <a:gd name="connsiteY5" fmla="*/ 39910 h 79533"/>
                  <a:gd name="connsiteX6" fmla="*/ 40211 w 80517"/>
                  <a:gd name="connsiteY6" fmla="*/ 14288 h 79533"/>
                  <a:gd name="connsiteX7" fmla="*/ 17492 w 80517"/>
                  <a:gd name="connsiteY7" fmla="*/ 39910 h 79533"/>
                  <a:gd name="connsiteX8" fmla="*/ 40211 w 80517"/>
                  <a:gd name="connsiteY8" fmla="*/ 65151 h 79533"/>
                  <a:gd name="connsiteX9" fmla="*/ 63121 w 80517"/>
                  <a:gd name="connsiteY9" fmla="*/ 39910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17" h="79533">
                    <a:moveTo>
                      <a:pt x="0" y="39910"/>
                    </a:moveTo>
                    <a:cubicBezTo>
                      <a:pt x="0" y="15240"/>
                      <a:pt x="15780" y="0"/>
                      <a:pt x="40211" y="0"/>
                    </a:cubicBezTo>
                    <a:cubicBezTo>
                      <a:pt x="64642" y="0"/>
                      <a:pt x="80518" y="15335"/>
                      <a:pt x="80518" y="39910"/>
                    </a:cubicBezTo>
                    <a:cubicBezTo>
                      <a:pt x="80518" y="64484"/>
                      <a:pt x="64737" y="79534"/>
                      <a:pt x="40211" y="79534"/>
                    </a:cubicBezTo>
                    <a:cubicBezTo>
                      <a:pt x="15685" y="79534"/>
                      <a:pt x="0" y="64389"/>
                      <a:pt x="0" y="39910"/>
                    </a:cubicBezTo>
                    <a:close/>
                    <a:moveTo>
                      <a:pt x="63121" y="39910"/>
                    </a:moveTo>
                    <a:cubicBezTo>
                      <a:pt x="63121" y="24098"/>
                      <a:pt x="54376" y="14288"/>
                      <a:pt x="40211" y="14288"/>
                    </a:cubicBezTo>
                    <a:cubicBezTo>
                      <a:pt x="26047" y="14288"/>
                      <a:pt x="17492" y="24098"/>
                      <a:pt x="17492" y="39910"/>
                    </a:cubicBezTo>
                    <a:cubicBezTo>
                      <a:pt x="17492" y="55721"/>
                      <a:pt x="26047" y="65151"/>
                      <a:pt x="40211" y="65151"/>
                    </a:cubicBezTo>
                    <a:cubicBezTo>
                      <a:pt x="54376" y="65151"/>
                      <a:pt x="63121" y="55435"/>
                      <a:pt x="63121" y="39910"/>
                    </a:cubicBezTo>
                    <a:close/>
                  </a:path>
                </a:pathLst>
              </a:custGeom>
              <a:grpFill/>
              <a:ln w="9497" cap="flat">
                <a:noFill/>
                <a:prstDash val="solid"/>
                <a:miter/>
              </a:ln>
            </p:spPr>
            <p:txBody>
              <a:bodyPr rtlCol="0" anchor="ctr"/>
              <a:lstStyle/>
              <a:p>
                <a:endParaRPr lang="en-US">
                  <a:solidFill>
                    <a:schemeClr val="tx1"/>
                  </a:solidFill>
                </a:endParaRPr>
              </a:p>
            </p:txBody>
          </p:sp>
          <p:sp>
            <p:nvSpPr>
              <p:cNvPr id="57" name="Freeform 56">
                <a:extLst>
                  <a:ext uri="{FF2B5EF4-FFF2-40B4-BE49-F238E27FC236}">
                    <a16:creationId xmlns:a16="http://schemas.microsoft.com/office/drawing/2014/main" id="{B441E1A2-4EE7-47FA-4D3F-E9D4109D00A2}"/>
                  </a:ext>
                </a:extLst>
              </p:cNvPr>
              <p:cNvSpPr/>
              <p:nvPr/>
            </p:nvSpPr>
            <p:spPr>
              <a:xfrm>
                <a:off x="6593174" y="3904773"/>
                <a:ext cx="70250" cy="78295"/>
              </a:xfrm>
              <a:custGeom>
                <a:avLst/>
                <a:gdLst>
                  <a:gd name="connsiteX0" fmla="*/ 0 w 70250"/>
                  <a:gd name="connsiteY0" fmla="*/ 1238 h 78295"/>
                  <a:gd name="connsiteX1" fmla="*/ 17491 w 70250"/>
                  <a:gd name="connsiteY1" fmla="*/ 1238 h 78295"/>
                  <a:gd name="connsiteX2" fmla="*/ 16826 w 70250"/>
                  <a:gd name="connsiteY2" fmla="*/ 23432 h 78295"/>
                  <a:gd name="connsiteX3" fmla="*/ 17016 w 70250"/>
                  <a:gd name="connsiteY3" fmla="*/ 23432 h 78295"/>
                  <a:gd name="connsiteX4" fmla="*/ 44394 w 70250"/>
                  <a:gd name="connsiteY4" fmla="*/ 0 h 78295"/>
                  <a:gd name="connsiteX5" fmla="*/ 70251 w 70250"/>
                  <a:gd name="connsiteY5" fmla="*/ 30099 h 78295"/>
                  <a:gd name="connsiteX6" fmla="*/ 69490 w 70250"/>
                  <a:gd name="connsiteY6" fmla="*/ 44482 h 78295"/>
                  <a:gd name="connsiteX7" fmla="*/ 53615 w 70250"/>
                  <a:gd name="connsiteY7" fmla="*/ 44482 h 78295"/>
                  <a:gd name="connsiteX8" fmla="*/ 54280 w 70250"/>
                  <a:gd name="connsiteY8" fmla="*/ 34004 h 78295"/>
                  <a:gd name="connsiteX9" fmla="*/ 38975 w 70250"/>
                  <a:gd name="connsiteY9" fmla="*/ 14954 h 78295"/>
                  <a:gd name="connsiteX10" fmla="*/ 17491 w 70250"/>
                  <a:gd name="connsiteY10" fmla="*/ 44577 h 78295"/>
                  <a:gd name="connsiteX11" fmla="*/ 17491 w 70250"/>
                  <a:gd name="connsiteY11" fmla="*/ 78296 h 78295"/>
                  <a:gd name="connsiteX12" fmla="*/ 0 w 70250"/>
                  <a:gd name="connsiteY12" fmla="*/ 78296 h 78295"/>
                  <a:gd name="connsiteX13" fmla="*/ 0 w 70250"/>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0" h="78295">
                    <a:moveTo>
                      <a:pt x="0" y="1238"/>
                    </a:moveTo>
                    <a:lnTo>
                      <a:pt x="17491" y="1238"/>
                    </a:lnTo>
                    <a:lnTo>
                      <a:pt x="16826" y="23432"/>
                    </a:lnTo>
                    <a:lnTo>
                      <a:pt x="17016" y="23432"/>
                    </a:lnTo>
                    <a:cubicBezTo>
                      <a:pt x="20628"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8975" y="14954"/>
                    </a:cubicBezTo>
                    <a:cubicBezTo>
                      <a:pt x="25762" y="14954"/>
                      <a:pt x="17491" y="26194"/>
                      <a:pt x="17491" y="44577"/>
                    </a:cubicBezTo>
                    <a:lnTo>
                      <a:pt x="17491" y="78296"/>
                    </a:lnTo>
                    <a:lnTo>
                      <a:pt x="0" y="78296"/>
                    </a:lnTo>
                    <a:lnTo>
                      <a:pt x="0" y="1238"/>
                    </a:lnTo>
                    <a:close/>
                  </a:path>
                </a:pathLst>
              </a:custGeom>
              <a:grpFill/>
              <a:ln w="9497" cap="flat">
                <a:noFill/>
                <a:prstDash val="solid"/>
                <a:miter/>
              </a:ln>
            </p:spPr>
            <p:txBody>
              <a:bodyPr rtlCol="0" anchor="ctr"/>
              <a:lstStyle/>
              <a:p>
                <a:endParaRPr lang="en-US">
                  <a:solidFill>
                    <a:schemeClr val="tx1"/>
                  </a:solidFill>
                </a:endParaRPr>
              </a:p>
            </p:txBody>
          </p:sp>
          <p:sp>
            <p:nvSpPr>
              <p:cNvPr id="58" name="Freeform 57">
                <a:extLst>
                  <a:ext uri="{FF2B5EF4-FFF2-40B4-BE49-F238E27FC236}">
                    <a16:creationId xmlns:a16="http://schemas.microsoft.com/office/drawing/2014/main" id="{5BB78B42-8975-7EF1-BF92-041EF96904FF}"/>
                  </a:ext>
                </a:extLst>
              </p:cNvPr>
              <p:cNvSpPr/>
              <p:nvPr/>
            </p:nvSpPr>
            <p:spPr>
              <a:xfrm>
                <a:off x="6678445"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293"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2"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US">
                  <a:solidFill>
                    <a:schemeClr val="tx1"/>
                  </a:solidFill>
                </a:endParaRPr>
              </a:p>
            </p:txBody>
          </p:sp>
          <p:sp>
            <p:nvSpPr>
              <p:cNvPr id="59" name="Freeform 58">
                <a:extLst>
                  <a:ext uri="{FF2B5EF4-FFF2-40B4-BE49-F238E27FC236}">
                    <a16:creationId xmlns:a16="http://schemas.microsoft.com/office/drawing/2014/main" id="{EAE599BD-013C-6049-7404-24BA1420AEDD}"/>
                  </a:ext>
                </a:extLst>
              </p:cNvPr>
              <p:cNvSpPr/>
              <p:nvPr/>
            </p:nvSpPr>
            <p:spPr>
              <a:xfrm>
                <a:off x="6819708" y="3879818"/>
                <a:ext cx="17871" cy="103250"/>
              </a:xfrm>
              <a:custGeom>
                <a:avLst/>
                <a:gdLst>
                  <a:gd name="connsiteX0" fmla="*/ 0 w 17871"/>
                  <a:gd name="connsiteY0" fmla="*/ 0 h 103250"/>
                  <a:gd name="connsiteX1" fmla="*/ 17872 w 17871"/>
                  <a:gd name="connsiteY1" fmla="*/ 0 h 103250"/>
                  <a:gd name="connsiteX2" fmla="*/ 17872 w 17871"/>
                  <a:gd name="connsiteY2" fmla="*/ 17145 h 103250"/>
                  <a:gd name="connsiteX3" fmla="*/ 0 w 17871"/>
                  <a:gd name="connsiteY3" fmla="*/ 17145 h 103250"/>
                  <a:gd name="connsiteX4" fmla="*/ 0 w 17871"/>
                  <a:gd name="connsiteY4" fmla="*/ 0 h 103250"/>
                  <a:gd name="connsiteX5" fmla="*/ 190 w 17871"/>
                  <a:gd name="connsiteY5" fmla="*/ 26194 h 103250"/>
                  <a:gd name="connsiteX6" fmla="*/ 17682 w 17871"/>
                  <a:gd name="connsiteY6" fmla="*/ 26194 h 103250"/>
                  <a:gd name="connsiteX7" fmla="*/ 17682 w 17871"/>
                  <a:gd name="connsiteY7" fmla="*/ 103251 h 103250"/>
                  <a:gd name="connsiteX8" fmla="*/ 190 w 17871"/>
                  <a:gd name="connsiteY8" fmla="*/ 103251 h 103250"/>
                  <a:gd name="connsiteX9" fmla="*/ 190 w 17871"/>
                  <a:gd name="connsiteY9" fmla="*/ 26194 h 10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71" h="103250">
                    <a:moveTo>
                      <a:pt x="0" y="0"/>
                    </a:moveTo>
                    <a:lnTo>
                      <a:pt x="17872" y="0"/>
                    </a:lnTo>
                    <a:lnTo>
                      <a:pt x="17872" y="17145"/>
                    </a:lnTo>
                    <a:lnTo>
                      <a:pt x="0" y="17145"/>
                    </a:lnTo>
                    <a:lnTo>
                      <a:pt x="0" y="0"/>
                    </a:lnTo>
                    <a:close/>
                    <a:moveTo>
                      <a:pt x="190" y="26194"/>
                    </a:moveTo>
                    <a:lnTo>
                      <a:pt x="17682" y="26194"/>
                    </a:lnTo>
                    <a:lnTo>
                      <a:pt x="17682" y="103251"/>
                    </a:lnTo>
                    <a:lnTo>
                      <a:pt x="190" y="103251"/>
                    </a:lnTo>
                    <a:lnTo>
                      <a:pt x="190" y="26194"/>
                    </a:lnTo>
                    <a:close/>
                  </a:path>
                </a:pathLst>
              </a:custGeom>
              <a:grpFill/>
              <a:ln w="9497" cap="flat">
                <a:noFill/>
                <a:prstDash val="solid"/>
                <a:miter/>
              </a:ln>
            </p:spPr>
            <p:txBody>
              <a:bodyPr rtlCol="0" anchor="ctr"/>
              <a:lstStyle/>
              <a:p>
                <a:endParaRPr lang="en-US">
                  <a:solidFill>
                    <a:schemeClr val="tx1"/>
                  </a:solidFill>
                </a:endParaRPr>
              </a:p>
            </p:txBody>
          </p:sp>
          <p:sp>
            <p:nvSpPr>
              <p:cNvPr id="60" name="Freeform 59">
                <a:extLst>
                  <a:ext uri="{FF2B5EF4-FFF2-40B4-BE49-F238E27FC236}">
                    <a16:creationId xmlns:a16="http://schemas.microsoft.com/office/drawing/2014/main" id="{6304FD5C-322F-F659-9C31-0B9BDCD8B430}"/>
                  </a:ext>
                </a:extLst>
              </p:cNvPr>
              <p:cNvSpPr/>
              <p:nvPr/>
            </p:nvSpPr>
            <p:spPr>
              <a:xfrm>
                <a:off x="6855546" y="3904773"/>
                <a:ext cx="80612" cy="78390"/>
              </a:xfrm>
              <a:custGeom>
                <a:avLst/>
                <a:gdLst>
                  <a:gd name="connsiteX0" fmla="*/ 0 w 80612"/>
                  <a:gd name="connsiteY0" fmla="*/ 1238 h 78390"/>
                  <a:gd name="connsiteX1" fmla="*/ 17492 w 80612"/>
                  <a:gd name="connsiteY1" fmla="*/ 1238 h 78390"/>
                  <a:gd name="connsiteX2" fmla="*/ 16826 w 80612"/>
                  <a:gd name="connsiteY2" fmla="*/ 21812 h 78390"/>
                  <a:gd name="connsiteX3" fmla="*/ 17016 w 80612"/>
                  <a:gd name="connsiteY3" fmla="*/ 21812 h 78390"/>
                  <a:gd name="connsiteX4" fmla="*/ 49147 w 80612"/>
                  <a:gd name="connsiteY4" fmla="*/ 0 h 78390"/>
                  <a:gd name="connsiteX5" fmla="*/ 80613 w 80612"/>
                  <a:gd name="connsiteY5" fmla="*/ 30099 h 78390"/>
                  <a:gd name="connsiteX6" fmla="*/ 80613 w 80612"/>
                  <a:gd name="connsiteY6" fmla="*/ 78296 h 78390"/>
                  <a:gd name="connsiteX7" fmla="*/ 63121 w 80612"/>
                  <a:gd name="connsiteY7" fmla="*/ 78296 h 78390"/>
                  <a:gd name="connsiteX8" fmla="*/ 63121 w 80612"/>
                  <a:gd name="connsiteY8" fmla="*/ 34004 h 78390"/>
                  <a:gd name="connsiteX9" fmla="*/ 42398 w 80612"/>
                  <a:gd name="connsiteY9" fmla="*/ 14954 h 78390"/>
                  <a:gd name="connsiteX10" fmla="*/ 17492 w 80612"/>
                  <a:gd name="connsiteY10" fmla="*/ 41053 h 78390"/>
                  <a:gd name="connsiteX11" fmla="*/ 17492 w 80612"/>
                  <a:gd name="connsiteY11" fmla="*/ 78391 h 78390"/>
                  <a:gd name="connsiteX12" fmla="*/ 0 w 80612"/>
                  <a:gd name="connsiteY12" fmla="*/ 78391 h 78390"/>
                  <a:gd name="connsiteX13" fmla="*/ 0 w 80612"/>
                  <a:gd name="connsiteY13" fmla="*/ 1333 h 7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612" h="78390">
                    <a:moveTo>
                      <a:pt x="0" y="1238"/>
                    </a:moveTo>
                    <a:lnTo>
                      <a:pt x="17492" y="1238"/>
                    </a:lnTo>
                    <a:lnTo>
                      <a:pt x="16826" y="21812"/>
                    </a:lnTo>
                    <a:lnTo>
                      <a:pt x="17016" y="21812"/>
                    </a:lnTo>
                    <a:cubicBezTo>
                      <a:pt x="21199" y="7906"/>
                      <a:pt x="31180" y="0"/>
                      <a:pt x="49147" y="0"/>
                    </a:cubicBezTo>
                    <a:cubicBezTo>
                      <a:pt x="68635" y="0"/>
                      <a:pt x="80613" y="11049"/>
                      <a:pt x="80613" y="30099"/>
                    </a:cubicBezTo>
                    <a:lnTo>
                      <a:pt x="80613" y="78296"/>
                    </a:lnTo>
                    <a:lnTo>
                      <a:pt x="63121" y="78296"/>
                    </a:lnTo>
                    <a:lnTo>
                      <a:pt x="63121" y="34004"/>
                    </a:lnTo>
                    <a:cubicBezTo>
                      <a:pt x="63121" y="21812"/>
                      <a:pt x="56277" y="14954"/>
                      <a:pt x="42398" y="14954"/>
                    </a:cubicBezTo>
                    <a:cubicBezTo>
                      <a:pt x="27093" y="14954"/>
                      <a:pt x="17492" y="24194"/>
                      <a:pt x="17492" y="41053"/>
                    </a:cubicBezTo>
                    <a:lnTo>
                      <a:pt x="17492" y="78391"/>
                    </a:lnTo>
                    <a:lnTo>
                      <a:pt x="0" y="78391"/>
                    </a:lnTo>
                    <a:lnTo>
                      <a:pt x="0" y="1333"/>
                    </a:lnTo>
                    <a:close/>
                  </a:path>
                </a:pathLst>
              </a:custGeom>
              <a:grpFill/>
              <a:ln w="9497" cap="flat">
                <a:noFill/>
                <a:prstDash val="solid"/>
                <a:miter/>
              </a:ln>
            </p:spPr>
            <p:txBody>
              <a:bodyPr rtlCol="0" anchor="ctr"/>
              <a:lstStyle/>
              <a:p>
                <a:endParaRPr lang="en-US">
                  <a:solidFill>
                    <a:schemeClr val="tx1"/>
                  </a:solidFill>
                </a:endParaRPr>
              </a:p>
            </p:txBody>
          </p:sp>
          <p:sp>
            <p:nvSpPr>
              <p:cNvPr id="61" name="Freeform 60">
                <a:extLst>
                  <a:ext uri="{FF2B5EF4-FFF2-40B4-BE49-F238E27FC236}">
                    <a16:creationId xmlns:a16="http://schemas.microsoft.com/office/drawing/2014/main" id="{934DA847-CB10-0230-A051-E5260873F2B7}"/>
                  </a:ext>
                </a:extLst>
              </p:cNvPr>
              <p:cNvSpPr/>
              <p:nvPr/>
            </p:nvSpPr>
            <p:spPr>
              <a:xfrm>
                <a:off x="6950133" y="3890581"/>
                <a:ext cx="82133" cy="125730"/>
              </a:xfrm>
              <a:custGeom>
                <a:avLst/>
                <a:gdLst>
                  <a:gd name="connsiteX0" fmla="*/ 82039 w 82133"/>
                  <a:gd name="connsiteY0" fmla="*/ 99822 h 125730"/>
                  <a:gd name="connsiteX1" fmla="*/ 41542 w 82133"/>
                  <a:gd name="connsiteY1" fmla="*/ 125730 h 125730"/>
                  <a:gd name="connsiteX2" fmla="*/ 0 w 82133"/>
                  <a:gd name="connsiteY2" fmla="*/ 103918 h 125730"/>
                  <a:gd name="connsiteX3" fmla="*/ 14925 w 82133"/>
                  <a:gd name="connsiteY3" fmla="*/ 89916 h 125730"/>
                  <a:gd name="connsiteX4" fmla="*/ 14925 w 82133"/>
                  <a:gd name="connsiteY4" fmla="*/ 89725 h 125730"/>
                  <a:gd name="connsiteX5" fmla="*/ 8175 w 82133"/>
                  <a:gd name="connsiteY5" fmla="*/ 77057 h 125730"/>
                  <a:gd name="connsiteX6" fmla="*/ 15305 w 82133"/>
                  <a:gd name="connsiteY6" fmla="*/ 63913 h 125730"/>
                  <a:gd name="connsiteX7" fmla="*/ 15305 w 82133"/>
                  <a:gd name="connsiteY7" fmla="*/ 63627 h 125730"/>
                  <a:gd name="connsiteX8" fmla="*/ 3422 w 82133"/>
                  <a:gd name="connsiteY8" fmla="*/ 41624 h 125730"/>
                  <a:gd name="connsiteX9" fmla="*/ 37740 w 82133"/>
                  <a:gd name="connsiteY9" fmla="*/ 14192 h 125730"/>
                  <a:gd name="connsiteX10" fmla="*/ 59224 w 82133"/>
                  <a:gd name="connsiteY10" fmla="*/ 19145 h 125730"/>
                  <a:gd name="connsiteX11" fmla="*/ 59414 w 82133"/>
                  <a:gd name="connsiteY11" fmla="*/ 18955 h 125730"/>
                  <a:gd name="connsiteX12" fmla="*/ 55706 w 82133"/>
                  <a:gd name="connsiteY12" fmla="*/ 10192 h 125730"/>
                  <a:gd name="connsiteX13" fmla="*/ 70821 w 82133"/>
                  <a:gd name="connsiteY13" fmla="*/ 0 h 125730"/>
                  <a:gd name="connsiteX14" fmla="*/ 78616 w 82133"/>
                  <a:gd name="connsiteY14" fmla="*/ 762 h 125730"/>
                  <a:gd name="connsiteX15" fmla="*/ 78616 w 82133"/>
                  <a:gd name="connsiteY15" fmla="*/ 13049 h 125730"/>
                  <a:gd name="connsiteX16" fmla="*/ 73483 w 82133"/>
                  <a:gd name="connsiteY16" fmla="*/ 12287 h 125730"/>
                  <a:gd name="connsiteX17" fmla="*/ 65878 w 82133"/>
                  <a:gd name="connsiteY17" fmla="*/ 18669 h 125730"/>
                  <a:gd name="connsiteX18" fmla="*/ 67589 w 82133"/>
                  <a:gd name="connsiteY18" fmla="*/ 26479 h 125730"/>
                  <a:gd name="connsiteX19" fmla="*/ 72152 w 82133"/>
                  <a:gd name="connsiteY19" fmla="*/ 41434 h 125730"/>
                  <a:gd name="connsiteX20" fmla="*/ 37930 w 82133"/>
                  <a:gd name="connsiteY20" fmla="*/ 68866 h 125730"/>
                  <a:gd name="connsiteX21" fmla="*/ 24336 w 82133"/>
                  <a:gd name="connsiteY21" fmla="*/ 67151 h 125730"/>
                  <a:gd name="connsiteX22" fmla="*/ 22435 w 82133"/>
                  <a:gd name="connsiteY22" fmla="*/ 73057 h 125730"/>
                  <a:gd name="connsiteX23" fmla="*/ 31180 w 82133"/>
                  <a:gd name="connsiteY23" fmla="*/ 80105 h 125730"/>
                  <a:gd name="connsiteX24" fmla="*/ 56087 w 82133"/>
                  <a:gd name="connsiteY24" fmla="*/ 80105 h 125730"/>
                  <a:gd name="connsiteX25" fmla="*/ 82134 w 82133"/>
                  <a:gd name="connsiteY25" fmla="*/ 99631 h 125730"/>
                  <a:gd name="connsiteX26" fmla="*/ 64547 w 82133"/>
                  <a:gd name="connsiteY26" fmla="*/ 101822 h 125730"/>
                  <a:gd name="connsiteX27" fmla="*/ 52379 w 82133"/>
                  <a:gd name="connsiteY27" fmla="*/ 93821 h 125730"/>
                  <a:gd name="connsiteX28" fmla="*/ 31466 w 82133"/>
                  <a:gd name="connsiteY28" fmla="*/ 93821 h 125730"/>
                  <a:gd name="connsiteX29" fmla="*/ 17111 w 82133"/>
                  <a:gd name="connsiteY29" fmla="*/ 102394 h 125730"/>
                  <a:gd name="connsiteX30" fmla="*/ 41257 w 82133"/>
                  <a:gd name="connsiteY30" fmla="*/ 113348 h 125730"/>
                  <a:gd name="connsiteX31" fmla="*/ 64452 w 82133"/>
                  <a:gd name="connsiteY31" fmla="*/ 101822 h 125730"/>
                  <a:gd name="connsiteX32" fmla="*/ 20153 w 82133"/>
                  <a:gd name="connsiteY32" fmla="*/ 41624 h 125730"/>
                  <a:gd name="connsiteX33" fmla="*/ 37740 w 82133"/>
                  <a:gd name="connsiteY33" fmla="*/ 56579 h 125730"/>
                  <a:gd name="connsiteX34" fmla="*/ 55326 w 82133"/>
                  <a:gd name="connsiteY34" fmla="*/ 41624 h 125730"/>
                  <a:gd name="connsiteX35" fmla="*/ 37740 w 82133"/>
                  <a:gd name="connsiteY35" fmla="*/ 26670 h 125730"/>
                  <a:gd name="connsiteX36" fmla="*/ 20153 w 82133"/>
                  <a:gd name="connsiteY36" fmla="*/ 41624 h 12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133" h="125730">
                    <a:moveTo>
                      <a:pt x="82039" y="99822"/>
                    </a:moveTo>
                    <a:cubicBezTo>
                      <a:pt x="82039" y="116015"/>
                      <a:pt x="66924" y="125730"/>
                      <a:pt x="41542" y="125730"/>
                    </a:cubicBezTo>
                    <a:cubicBezTo>
                      <a:pt x="16160" y="125730"/>
                      <a:pt x="0" y="117729"/>
                      <a:pt x="0" y="103918"/>
                    </a:cubicBezTo>
                    <a:cubicBezTo>
                      <a:pt x="0" y="96107"/>
                      <a:pt x="5799" y="90297"/>
                      <a:pt x="14925" y="89916"/>
                    </a:cubicBezTo>
                    <a:lnTo>
                      <a:pt x="14925" y="89725"/>
                    </a:lnTo>
                    <a:cubicBezTo>
                      <a:pt x="10552" y="86773"/>
                      <a:pt x="8175" y="82582"/>
                      <a:pt x="8175" y="77057"/>
                    </a:cubicBezTo>
                    <a:cubicBezTo>
                      <a:pt x="8175" y="70485"/>
                      <a:pt x="11122" y="66008"/>
                      <a:pt x="15305" y="63913"/>
                    </a:cubicBezTo>
                    <a:lnTo>
                      <a:pt x="15305" y="63627"/>
                    </a:lnTo>
                    <a:cubicBezTo>
                      <a:pt x="7700" y="58960"/>
                      <a:pt x="3422" y="51340"/>
                      <a:pt x="3422" y="41624"/>
                    </a:cubicBezTo>
                    <a:cubicBezTo>
                      <a:pt x="3422" y="24765"/>
                      <a:pt x="16541" y="14192"/>
                      <a:pt x="37740" y="14192"/>
                    </a:cubicBezTo>
                    <a:cubicBezTo>
                      <a:pt x="46485" y="14192"/>
                      <a:pt x="53615" y="15907"/>
                      <a:pt x="59224" y="19145"/>
                    </a:cubicBezTo>
                    <a:lnTo>
                      <a:pt x="59414" y="18955"/>
                    </a:lnTo>
                    <a:cubicBezTo>
                      <a:pt x="57037" y="16478"/>
                      <a:pt x="55706" y="13525"/>
                      <a:pt x="55706" y="10192"/>
                    </a:cubicBezTo>
                    <a:cubicBezTo>
                      <a:pt x="55706" y="3905"/>
                      <a:pt x="61600" y="0"/>
                      <a:pt x="70821" y="0"/>
                    </a:cubicBezTo>
                    <a:cubicBezTo>
                      <a:pt x="74529" y="0"/>
                      <a:pt x="76715" y="286"/>
                      <a:pt x="78616" y="762"/>
                    </a:cubicBezTo>
                    <a:lnTo>
                      <a:pt x="78616" y="13049"/>
                    </a:lnTo>
                    <a:cubicBezTo>
                      <a:pt x="77380" y="12573"/>
                      <a:pt x="75669" y="12287"/>
                      <a:pt x="73483" y="12287"/>
                    </a:cubicBezTo>
                    <a:cubicBezTo>
                      <a:pt x="68350" y="12287"/>
                      <a:pt x="65878" y="14478"/>
                      <a:pt x="65878" y="18669"/>
                    </a:cubicBezTo>
                    <a:cubicBezTo>
                      <a:pt x="65878" y="20860"/>
                      <a:pt x="66638" y="23527"/>
                      <a:pt x="67589" y="26479"/>
                    </a:cubicBezTo>
                    <a:cubicBezTo>
                      <a:pt x="70536" y="30575"/>
                      <a:pt x="72152" y="35719"/>
                      <a:pt x="72152" y="41434"/>
                    </a:cubicBezTo>
                    <a:cubicBezTo>
                      <a:pt x="72152" y="58483"/>
                      <a:pt x="59034" y="68866"/>
                      <a:pt x="37930" y="68866"/>
                    </a:cubicBezTo>
                    <a:cubicBezTo>
                      <a:pt x="32987" y="68866"/>
                      <a:pt x="28423" y="68199"/>
                      <a:pt x="24336" y="67151"/>
                    </a:cubicBezTo>
                    <a:cubicBezTo>
                      <a:pt x="23385" y="68199"/>
                      <a:pt x="22435" y="70390"/>
                      <a:pt x="22435" y="73057"/>
                    </a:cubicBezTo>
                    <a:cubicBezTo>
                      <a:pt x="22435" y="77438"/>
                      <a:pt x="25572" y="80105"/>
                      <a:pt x="31180" y="80105"/>
                    </a:cubicBezTo>
                    <a:lnTo>
                      <a:pt x="56087" y="80105"/>
                    </a:lnTo>
                    <a:cubicBezTo>
                      <a:pt x="72627" y="80105"/>
                      <a:pt x="82134" y="87249"/>
                      <a:pt x="82134" y="99631"/>
                    </a:cubicBezTo>
                    <a:close/>
                    <a:moveTo>
                      <a:pt x="64547" y="101822"/>
                    </a:moveTo>
                    <a:cubicBezTo>
                      <a:pt x="64547" y="96679"/>
                      <a:pt x="60650" y="93821"/>
                      <a:pt x="52379" y="93821"/>
                    </a:cubicBezTo>
                    <a:lnTo>
                      <a:pt x="31466" y="93821"/>
                    </a:lnTo>
                    <a:cubicBezTo>
                      <a:pt x="22720" y="93821"/>
                      <a:pt x="17111" y="96488"/>
                      <a:pt x="17111" y="102394"/>
                    </a:cubicBezTo>
                    <a:cubicBezTo>
                      <a:pt x="17111" y="109728"/>
                      <a:pt x="26427" y="113348"/>
                      <a:pt x="41257" y="113348"/>
                    </a:cubicBezTo>
                    <a:cubicBezTo>
                      <a:pt x="57608" y="113348"/>
                      <a:pt x="64452" y="108680"/>
                      <a:pt x="64452" y="101822"/>
                    </a:cubicBezTo>
                    <a:close/>
                    <a:moveTo>
                      <a:pt x="20153" y="41624"/>
                    </a:moveTo>
                    <a:cubicBezTo>
                      <a:pt x="20153" y="50864"/>
                      <a:pt x="26902" y="56579"/>
                      <a:pt x="37740" y="56579"/>
                    </a:cubicBezTo>
                    <a:cubicBezTo>
                      <a:pt x="48577" y="56579"/>
                      <a:pt x="55326" y="50768"/>
                      <a:pt x="55326" y="41624"/>
                    </a:cubicBezTo>
                    <a:cubicBezTo>
                      <a:pt x="55326" y="32480"/>
                      <a:pt x="48672" y="26670"/>
                      <a:pt x="37740" y="26670"/>
                    </a:cubicBezTo>
                    <a:cubicBezTo>
                      <a:pt x="26808" y="26670"/>
                      <a:pt x="20153" y="32480"/>
                      <a:pt x="20153" y="41624"/>
                    </a:cubicBezTo>
                    <a:close/>
                  </a:path>
                </a:pathLst>
              </a:custGeom>
              <a:grpFill/>
              <a:ln w="9497" cap="flat">
                <a:noFill/>
                <a:prstDash val="solid"/>
                <a:miter/>
              </a:ln>
            </p:spPr>
            <p:txBody>
              <a:bodyPr rtlCol="0" anchor="ctr"/>
              <a:lstStyle/>
              <a:p>
                <a:endParaRPr lang="en-US">
                  <a:solidFill>
                    <a:schemeClr val="tx1"/>
                  </a:solidFill>
                </a:endParaRPr>
              </a:p>
            </p:txBody>
          </p:sp>
          <p:sp>
            <p:nvSpPr>
              <p:cNvPr id="62" name="Freeform 61">
                <a:extLst>
                  <a:ext uri="{FF2B5EF4-FFF2-40B4-BE49-F238E27FC236}">
                    <a16:creationId xmlns:a16="http://schemas.microsoft.com/office/drawing/2014/main" id="{8F103FE6-3BAF-D7E1-B45B-7A593E98E1C3}"/>
                  </a:ext>
                </a:extLst>
              </p:cNvPr>
              <p:cNvSpPr/>
              <p:nvPr/>
            </p:nvSpPr>
            <p:spPr>
              <a:xfrm>
                <a:off x="7081699" y="3904773"/>
                <a:ext cx="124246" cy="78295"/>
              </a:xfrm>
              <a:custGeom>
                <a:avLst/>
                <a:gdLst>
                  <a:gd name="connsiteX0" fmla="*/ 0 w 124246"/>
                  <a:gd name="connsiteY0" fmla="*/ 1238 h 78295"/>
                  <a:gd name="connsiteX1" fmla="*/ 17491 w 124246"/>
                  <a:gd name="connsiteY1" fmla="*/ 1238 h 78295"/>
                  <a:gd name="connsiteX2" fmla="*/ 16826 w 124246"/>
                  <a:gd name="connsiteY2" fmla="*/ 21527 h 78295"/>
                  <a:gd name="connsiteX3" fmla="*/ 17016 w 124246"/>
                  <a:gd name="connsiteY3" fmla="*/ 21527 h 78295"/>
                  <a:gd name="connsiteX4" fmla="*/ 43824 w 124246"/>
                  <a:gd name="connsiteY4" fmla="*/ 0 h 78295"/>
                  <a:gd name="connsiteX5" fmla="*/ 70346 w 124246"/>
                  <a:gd name="connsiteY5" fmla="*/ 20288 h 78295"/>
                  <a:gd name="connsiteX6" fmla="*/ 70536 w 124246"/>
                  <a:gd name="connsiteY6" fmla="*/ 20288 h 78295"/>
                  <a:gd name="connsiteX7" fmla="*/ 97344 w 124246"/>
                  <a:gd name="connsiteY7" fmla="*/ 0 h 78295"/>
                  <a:gd name="connsiteX8" fmla="*/ 124246 w 124246"/>
                  <a:gd name="connsiteY8" fmla="*/ 29147 h 78295"/>
                  <a:gd name="connsiteX9" fmla="*/ 124246 w 124246"/>
                  <a:gd name="connsiteY9" fmla="*/ 78296 h 78295"/>
                  <a:gd name="connsiteX10" fmla="*/ 106755 w 124246"/>
                  <a:gd name="connsiteY10" fmla="*/ 78296 h 78295"/>
                  <a:gd name="connsiteX11" fmla="*/ 106755 w 124246"/>
                  <a:gd name="connsiteY11" fmla="*/ 33052 h 78295"/>
                  <a:gd name="connsiteX12" fmla="*/ 90879 w 124246"/>
                  <a:gd name="connsiteY12" fmla="*/ 14954 h 78295"/>
                  <a:gd name="connsiteX13" fmla="*/ 70916 w 124246"/>
                  <a:gd name="connsiteY13" fmla="*/ 40100 h 78295"/>
                  <a:gd name="connsiteX14" fmla="*/ 70916 w 124246"/>
                  <a:gd name="connsiteY14" fmla="*/ 78296 h 78295"/>
                  <a:gd name="connsiteX15" fmla="*/ 53425 w 124246"/>
                  <a:gd name="connsiteY15" fmla="*/ 78296 h 78295"/>
                  <a:gd name="connsiteX16" fmla="*/ 53425 w 124246"/>
                  <a:gd name="connsiteY16" fmla="*/ 32766 h 78295"/>
                  <a:gd name="connsiteX17" fmla="*/ 37264 w 124246"/>
                  <a:gd name="connsiteY17" fmla="*/ 14954 h 78295"/>
                  <a:gd name="connsiteX18" fmla="*/ 17491 w 124246"/>
                  <a:gd name="connsiteY18" fmla="*/ 40672 h 78295"/>
                  <a:gd name="connsiteX19" fmla="*/ 17491 w 124246"/>
                  <a:gd name="connsiteY19" fmla="*/ 78296 h 78295"/>
                  <a:gd name="connsiteX20" fmla="*/ 0 w 124246"/>
                  <a:gd name="connsiteY20" fmla="*/ 78296 h 78295"/>
                  <a:gd name="connsiteX21" fmla="*/ 0 w 124246"/>
                  <a:gd name="connsiteY21"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246" h="78295">
                    <a:moveTo>
                      <a:pt x="0" y="1238"/>
                    </a:moveTo>
                    <a:lnTo>
                      <a:pt x="17491" y="1238"/>
                    </a:lnTo>
                    <a:lnTo>
                      <a:pt x="16826" y="21527"/>
                    </a:lnTo>
                    <a:lnTo>
                      <a:pt x="17016" y="21527"/>
                    </a:lnTo>
                    <a:cubicBezTo>
                      <a:pt x="20438" y="8287"/>
                      <a:pt x="29754" y="0"/>
                      <a:pt x="43824" y="0"/>
                    </a:cubicBezTo>
                    <a:cubicBezTo>
                      <a:pt x="58748" y="0"/>
                      <a:pt x="68445" y="7810"/>
                      <a:pt x="70346" y="20288"/>
                    </a:cubicBezTo>
                    <a:lnTo>
                      <a:pt x="70536" y="20288"/>
                    </a:lnTo>
                    <a:cubicBezTo>
                      <a:pt x="73388" y="7810"/>
                      <a:pt x="82704" y="0"/>
                      <a:pt x="97344" y="0"/>
                    </a:cubicBezTo>
                    <a:cubicBezTo>
                      <a:pt x="114455" y="0"/>
                      <a:pt x="124246" y="11049"/>
                      <a:pt x="124246" y="29147"/>
                    </a:cubicBezTo>
                    <a:lnTo>
                      <a:pt x="124246" y="78296"/>
                    </a:lnTo>
                    <a:lnTo>
                      <a:pt x="106755" y="78296"/>
                    </a:lnTo>
                    <a:lnTo>
                      <a:pt x="106755" y="33052"/>
                    </a:lnTo>
                    <a:cubicBezTo>
                      <a:pt x="106755" y="21812"/>
                      <a:pt x="101336" y="14954"/>
                      <a:pt x="90879" y="14954"/>
                    </a:cubicBezTo>
                    <a:cubicBezTo>
                      <a:pt x="78711" y="14954"/>
                      <a:pt x="70916" y="24003"/>
                      <a:pt x="70916" y="40100"/>
                    </a:cubicBezTo>
                    <a:lnTo>
                      <a:pt x="70916" y="78296"/>
                    </a:lnTo>
                    <a:lnTo>
                      <a:pt x="53425" y="78296"/>
                    </a:lnTo>
                    <a:lnTo>
                      <a:pt x="53425" y="32766"/>
                    </a:lnTo>
                    <a:cubicBezTo>
                      <a:pt x="53425" y="21812"/>
                      <a:pt x="47626" y="14954"/>
                      <a:pt x="37264" y="14954"/>
                    </a:cubicBezTo>
                    <a:cubicBezTo>
                      <a:pt x="25381" y="14954"/>
                      <a:pt x="17491" y="24194"/>
                      <a:pt x="17491" y="40672"/>
                    </a:cubicBezTo>
                    <a:lnTo>
                      <a:pt x="17491" y="78296"/>
                    </a:lnTo>
                    <a:lnTo>
                      <a:pt x="0" y="78296"/>
                    </a:lnTo>
                    <a:lnTo>
                      <a:pt x="0" y="1238"/>
                    </a:lnTo>
                    <a:close/>
                  </a:path>
                </a:pathLst>
              </a:custGeom>
              <a:grpFill/>
              <a:ln w="9497" cap="flat">
                <a:noFill/>
                <a:prstDash val="solid"/>
                <a:miter/>
              </a:ln>
            </p:spPr>
            <p:txBody>
              <a:bodyPr rtlCol="0" anchor="ctr"/>
              <a:lstStyle/>
              <a:p>
                <a:endParaRPr lang="en-US">
                  <a:solidFill>
                    <a:schemeClr val="tx1"/>
                  </a:solidFill>
                </a:endParaRPr>
              </a:p>
            </p:txBody>
          </p:sp>
          <p:sp>
            <p:nvSpPr>
              <p:cNvPr id="63" name="Freeform 62">
                <a:extLst>
                  <a:ext uri="{FF2B5EF4-FFF2-40B4-BE49-F238E27FC236}">
                    <a16:creationId xmlns:a16="http://schemas.microsoft.com/office/drawing/2014/main" id="{6F60A1C0-2DF7-457D-D7C2-74B4B5BB9C10}"/>
                  </a:ext>
                </a:extLst>
              </p:cNvPr>
              <p:cNvSpPr/>
              <p:nvPr/>
            </p:nvSpPr>
            <p:spPr>
              <a:xfrm>
                <a:off x="7220394" y="3904773"/>
                <a:ext cx="74813" cy="79533"/>
              </a:xfrm>
              <a:custGeom>
                <a:avLst/>
                <a:gdLst>
                  <a:gd name="connsiteX0" fmla="*/ 0 w 74813"/>
                  <a:gd name="connsiteY0" fmla="*/ 56198 h 79533"/>
                  <a:gd name="connsiteX1" fmla="*/ 28804 w 74813"/>
                  <a:gd name="connsiteY1" fmla="*/ 35243 h 79533"/>
                  <a:gd name="connsiteX2" fmla="*/ 57322 w 74813"/>
                  <a:gd name="connsiteY2" fmla="*/ 35243 h 79533"/>
                  <a:gd name="connsiteX3" fmla="*/ 57322 w 74813"/>
                  <a:gd name="connsiteY3" fmla="*/ 29813 h 79533"/>
                  <a:gd name="connsiteX4" fmla="*/ 37074 w 74813"/>
                  <a:gd name="connsiteY4" fmla="*/ 13145 h 79533"/>
                  <a:gd name="connsiteX5" fmla="*/ 18537 w 74813"/>
                  <a:gd name="connsiteY5" fmla="*/ 26289 h 79533"/>
                  <a:gd name="connsiteX6" fmla="*/ 18727 w 74813"/>
                  <a:gd name="connsiteY6" fmla="*/ 29242 h 79533"/>
                  <a:gd name="connsiteX7" fmla="*/ 2662 w 74813"/>
                  <a:gd name="connsiteY7" fmla="*/ 29242 h 79533"/>
                  <a:gd name="connsiteX8" fmla="*/ 2377 w 74813"/>
                  <a:gd name="connsiteY8" fmla="*/ 24670 h 79533"/>
                  <a:gd name="connsiteX9" fmla="*/ 37740 w 74813"/>
                  <a:gd name="connsiteY9" fmla="*/ 0 h 79533"/>
                  <a:gd name="connsiteX10" fmla="*/ 74814 w 74813"/>
                  <a:gd name="connsiteY10" fmla="*/ 31337 h 79533"/>
                  <a:gd name="connsiteX11" fmla="*/ 74814 w 74813"/>
                  <a:gd name="connsiteY11" fmla="*/ 78296 h 79533"/>
                  <a:gd name="connsiteX12" fmla="*/ 57322 w 74813"/>
                  <a:gd name="connsiteY12" fmla="*/ 78296 h 79533"/>
                  <a:gd name="connsiteX13" fmla="*/ 58083 w 74813"/>
                  <a:gd name="connsiteY13" fmla="*/ 61246 h 79533"/>
                  <a:gd name="connsiteX14" fmla="*/ 57893 w 74813"/>
                  <a:gd name="connsiteY14" fmla="*/ 61246 h 79533"/>
                  <a:gd name="connsiteX15" fmla="*/ 29279 w 74813"/>
                  <a:gd name="connsiteY15" fmla="*/ 79534 h 79533"/>
                  <a:gd name="connsiteX16" fmla="*/ 0 w 74813"/>
                  <a:gd name="connsiteY16" fmla="*/ 56102 h 79533"/>
                  <a:gd name="connsiteX17" fmla="*/ 57322 w 74813"/>
                  <a:gd name="connsiteY17" fmla="*/ 47339 h 79533"/>
                  <a:gd name="connsiteX18" fmla="*/ 57322 w 74813"/>
                  <a:gd name="connsiteY18" fmla="*/ 45910 h 79533"/>
                  <a:gd name="connsiteX19" fmla="*/ 30420 w 74813"/>
                  <a:gd name="connsiteY19" fmla="*/ 45910 h 79533"/>
                  <a:gd name="connsiteX20" fmla="*/ 16066 w 74813"/>
                  <a:gd name="connsiteY20" fmla="*/ 55435 h 79533"/>
                  <a:gd name="connsiteX21" fmla="*/ 32891 w 74813"/>
                  <a:gd name="connsiteY21" fmla="*/ 66485 h 79533"/>
                  <a:gd name="connsiteX22" fmla="*/ 57322 w 74813"/>
                  <a:gd name="connsiteY22" fmla="*/ 47244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4813" h="79533">
                    <a:moveTo>
                      <a:pt x="0" y="56198"/>
                    </a:moveTo>
                    <a:cubicBezTo>
                      <a:pt x="0" y="44482"/>
                      <a:pt x="8270" y="35243"/>
                      <a:pt x="28804" y="35243"/>
                    </a:cubicBezTo>
                    <a:lnTo>
                      <a:pt x="57322" y="35243"/>
                    </a:lnTo>
                    <a:lnTo>
                      <a:pt x="57322" y="29813"/>
                    </a:lnTo>
                    <a:cubicBezTo>
                      <a:pt x="57322" y="18288"/>
                      <a:pt x="50668" y="13145"/>
                      <a:pt x="37074" y="13145"/>
                    </a:cubicBezTo>
                    <a:cubicBezTo>
                      <a:pt x="25287" y="13145"/>
                      <a:pt x="18537" y="17717"/>
                      <a:pt x="18537" y="26289"/>
                    </a:cubicBezTo>
                    <a:cubicBezTo>
                      <a:pt x="18537" y="26765"/>
                      <a:pt x="18537" y="28004"/>
                      <a:pt x="18727" y="29242"/>
                    </a:cubicBezTo>
                    <a:lnTo>
                      <a:pt x="2662" y="29242"/>
                    </a:lnTo>
                    <a:cubicBezTo>
                      <a:pt x="2472" y="28099"/>
                      <a:pt x="2377" y="26099"/>
                      <a:pt x="2377" y="24670"/>
                    </a:cubicBezTo>
                    <a:cubicBezTo>
                      <a:pt x="2377" y="9239"/>
                      <a:pt x="15780" y="0"/>
                      <a:pt x="37740" y="0"/>
                    </a:cubicBezTo>
                    <a:cubicBezTo>
                      <a:pt x="61125" y="0"/>
                      <a:pt x="74814" y="11049"/>
                      <a:pt x="74814" y="31337"/>
                    </a:cubicBezTo>
                    <a:lnTo>
                      <a:pt x="74814" y="78296"/>
                    </a:lnTo>
                    <a:lnTo>
                      <a:pt x="57322" y="78296"/>
                    </a:lnTo>
                    <a:cubicBezTo>
                      <a:pt x="57608" y="74581"/>
                      <a:pt x="58083" y="67532"/>
                      <a:pt x="58083" y="61246"/>
                    </a:cubicBezTo>
                    <a:lnTo>
                      <a:pt x="57893" y="61246"/>
                    </a:lnTo>
                    <a:cubicBezTo>
                      <a:pt x="55421" y="72676"/>
                      <a:pt x="46200" y="79534"/>
                      <a:pt x="29279" y="79534"/>
                    </a:cubicBezTo>
                    <a:cubicBezTo>
                      <a:pt x="12358" y="79534"/>
                      <a:pt x="0" y="71152"/>
                      <a:pt x="0" y="56102"/>
                    </a:cubicBezTo>
                    <a:close/>
                    <a:moveTo>
                      <a:pt x="57322" y="47339"/>
                    </a:moveTo>
                    <a:lnTo>
                      <a:pt x="57322" y="45910"/>
                    </a:lnTo>
                    <a:lnTo>
                      <a:pt x="30420" y="45910"/>
                    </a:lnTo>
                    <a:cubicBezTo>
                      <a:pt x="20438" y="45910"/>
                      <a:pt x="16066" y="49340"/>
                      <a:pt x="16066" y="55435"/>
                    </a:cubicBezTo>
                    <a:cubicBezTo>
                      <a:pt x="16066" y="62484"/>
                      <a:pt x="22340" y="66485"/>
                      <a:pt x="32891" y="66485"/>
                    </a:cubicBezTo>
                    <a:cubicBezTo>
                      <a:pt x="48006" y="66485"/>
                      <a:pt x="57322" y="59150"/>
                      <a:pt x="57322" y="47244"/>
                    </a:cubicBezTo>
                    <a:close/>
                  </a:path>
                </a:pathLst>
              </a:custGeom>
              <a:grpFill/>
              <a:ln w="9497" cap="flat">
                <a:noFill/>
                <a:prstDash val="solid"/>
                <a:miter/>
              </a:ln>
            </p:spPr>
            <p:txBody>
              <a:bodyPr rtlCol="0" anchor="ctr"/>
              <a:lstStyle/>
              <a:p>
                <a:endParaRPr lang="en-US">
                  <a:solidFill>
                    <a:schemeClr val="tx1"/>
                  </a:solidFill>
                </a:endParaRPr>
              </a:p>
            </p:txBody>
          </p:sp>
          <p:sp>
            <p:nvSpPr>
              <p:cNvPr id="64" name="Freeform 63">
                <a:extLst>
                  <a:ext uri="{FF2B5EF4-FFF2-40B4-BE49-F238E27FC236}">
                    <a16:creationId xmlns:a16="http://schemas.microsoft.com/office/drawing/2014/main" id="{9F310CF3-21C8-4F2F-1D1A-A66CE5F79D61}"/>
                  </a:ext>
                </a:extLst>
              </p:cNvPr>
              <p:cNvSpPr/>
              <p:nvPr/>
            </p:nvSpPr>
            <p:spPr>
              <a:xfrm>
                <a:off x="7311844" y="3904773"/>
                <a:ext cx="70251" cy="78295"/>
              </a:xfrm>
              <a:custGeom>
                <a:avLst/>
                <a:gdLst>
                  <a:gd name="connsiteX0" fmla="*/ 0 w 70251"/>
                  <a:gd name="connsiteY0" fmla="*/ 1238 h 78295"/>
                  <a:gd name="connsiteX1" fmla="*/ 17491 w 70251"/>
                  <a:gd name="connsiteY1" fmla="*/ 1238 h 78295"/>
                  <a:gd name="connsiteX2" fmla="*/ 16826 w 70251"/>
                  <a:gd name="connsiteY2" fmla="*/ 23432 h 78295"/>
                  <a:gd name="connsiteX3" fmla="*/ 17016 w 70251"/>
                  <a:gd name="connsiteY3" fmla="*/ 23432 h 78295"/>
                  <a:gd name="connsiteX4" fmla="*/ 44394 w 70251"/>
                  <a:gd name="connsiteY4" fmla="*/ 0 h 78295"/>
                  <a:gd name="connsiteX5" fmla="*/ 70251 w 70251"/>
                  <a:gd name="connsiteY5" fmla="*/ 30099 h 78295"/>
                  <a:gd name="connsiteX6" fmla="*/ 69490 w 70251"/>
                  <a:gd name="connsiteY6" fmla="*/ 44482 h 78295"/>
                  <a:gd name="connsiteX7" fmla="*/ 53615 w 70251"/>
                  <a:gd name="connsiteY7" fmla="*/ 44482 h 78295"/>
                  <a:gd name="connsiteX8" fmla="*/ 54280 w 70251"/>
                  <a:gd name="connsiteY8" fmla="*/ 34004 h 78295"/>
                  <a:gd name="connsiteX9" fmla="*/ 39071 w 70251"/>
                  <a:gd name="connsiteY9" fmla="*/ 14954 h 78295"/>
                  <a:gd name="connsiteX10" fmla="*/ 17587 w 70251"/>
                  <a:gd name="connsiteY10" fmla="*/ 44577 h 78295"/>
                  <a:gd name="connsiteX11" fmla="*/ 17587 w 70251"/>
                  <a:gd name="connsiteY11" fmla="*/ 78296 h 78295"/>
                  <a:gd name="connsiteX12" fmla="*/ 95 w 70251"/>
                  <a:gd name="connsiteY12" fmla="*/ 78296 h 78295"/>
                  <a:gd name="connsiteX13" fmla="*/ 95 w 70251"/>
                  <a:gd name="connsiteY13" fmla="*/ 1238 h 7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51" h="78295">
                    <a:moveTo>
                      <a:pt x="0" y="1238"/>
                    </a:moveTo>
                    <a:lnTo>
                      <a:pt x="17491" y="1238"/>
                    </a:lnTo>
                    <a:lnTo>
                      <a:pt x="16826" y="23432"/>
                    </a:lnTo>
                    <a:lnTo>
                      <a:pt x="17016" y="23432"/>
                    </a:lnTo>
                    <a:cubicBezTo>
                      <a:pt x="20629" y="9525"/>
                      <a:pt x="28519" y="0"/>
                      <a:pt x="44394" y="0"/>
                    </a:cubicBezTo>
                    <a:cubicBezTo>
                      <a:pt x="61030" y="0"/>
                      <a:pt x="70251" y="10954"/>
                      <a:pt x="70251" y="30099"/>
                    </a:cubicBezTo>
                    <a:cubicBezTo>
                      <a:pt x="70251" y="34957"/>
                      <a:pt x="69776" y="41148"/>
                      <a:pt x="69490" y="44482"/>
                    </a:cubicBezTo>
                    <a:lnTo>
                      <a:pt x="53615" y="44482"/>
                    </a:lnTo>
                    <a:cubicBezTo>
                      <a:pt x="53900" y="41529"/>
                      <a:pt x="54280" y="37624"/>
                      <a:pt x="54280" y="34004"/>
                    </a:cubicBezTo>
                    <a:cubicBezTo>
                      <a:pt x="54280" y="21050"/>
                      <a:pt x="49337" y="14954"/>
                      <a:pt x="39071" y="14954"/>
                    </a:cubicBezTo>
                    <a:cubicBezTo>
                      <a:pt x="25857" y="14954"/>
                      <a:pt x="17587" y="26194"/>
                      <a:pt x="17587" y="44577"/>
                    </a:cubicBezTo>
                    <a:lnTo>
                      <a:pt x="17587" y="78296"/>
                    </a:lnTo>
                    <a:lnTo>
                      <a:pt x="95" y="78296"/>
                    </a:lnTo>
                    <a:lnTo>
                      <a:pt x="95" y="1238"/>
                    </a:lnTo>
                    <a:close/>
                  </a:path>
                </a:pathLst>
              </a:custGeom>
              <a:grpFill/>
              <a:ln w="9497" cap="flat">
                <a:noFill/>
                <a:prstDash val="solid"/>
                <a:miter/>
              </a:ln>
            </p:spPr>
            <p:txBody>
              <a:bodyPr rtlCol="0" anchor="ctr"/>
              <a:lstStyle/>
              <a:p>
                <a:endParaRPr lang="en-US">
                  <a:solidFill>
                    <a:schemeClr val="tx1"/>
                  </a:solidFill>
                </a:endParaRPr>
              </a:p>
            </p:txBody>
          </p:sp>
          <p:sp>
            <p:nvSpPr>
              <p:cNvPr id="65" name="Freeform 64">
                <a:extLst>
                  <a:ext uri="{FF2B5EF4-FFF2-40B4-BE49-F238E27FC236}">
                    <a16:creationId xmlns:a16="http://schemas.microsoft.com/office/drawing/2014/main" id="{3A8E0584-2159-E422-D859-3468305CC3DE}"/>
                  </a:ext>
                </a:extLst>
              </p:cNvPr>
              <p:cNvSpPr/>
              <p:nvPr/>
            </p:nvSpPr>
            <p:spPr>
              <a:xfrm>
                <a:off x="7397495" y="3874865"/>
                <a:ext cx="83749" cy="108204"/>
              </a:xfrm>
              <a:custGeom>
                <a:avLst/>
                <a:gdLst>
                  <a:gd name="connsiteX0" fmla="*/ 0 w 83749"/>
                  <a:gd name="connsiteY0" fmla="*/ 95 h 108204"/>
                  <a:gd name="connsiteX1" fmla="*/ 17491 w 83749"/>
                  <a:gd name="connsiteY1" fmla="*/ 95 h 108204"/>
                  <a:gd name="connsiteX2" fmla="*/ 17491 w 83749"/>
                  <a:gd name="connsiteY2" fmla="*/ 71533 h 108204"/>
                  <a:gd name="connsiteX3" fmla="*/ 17681 w 83749"/>
                  <a:gd name="connsiteY3" fmla="*/ 71533 h 108204"/>
                  <a:gd name="connsiteX4" fmla="*/ 59129 w 83749"/>
                  <a:gd name="connsiteY4" fmla="*/ 31147 h 108204"/>
                  <a:gd name="connsiteX5" fmla="*/ 81753 w 83749"/>
                  <a:gd name="connsiteY5" fmla="*/ 31147 h 108204"/>
                  <a:gd name="connsiteX6" fmla="*/ 45725 w 83749"/>
                  <a:gd name="connsiteY6" fmla="*/ 64675 h 108204"/>
                  <a:gd name="connsiteX7" fmla="*/ 83750 w 83749"/>
                  <a:gd name="connsiteY7" fmla="*/ 108204 h 108204"/>
                  <a:gd name="connsiteX8" fmla="*/ 60079 w 83749"/>
                  <a:gd name="connsiteY8" fmla="*/ 108204 h 108204"/>
                  <a:gd name="connsiteX9" fmla="*/ 32987 w 83749"/>
                  <a:gd name="connsiteY9" fmla="*/ 75724 h 108204"/>
                  <a:gd name="connsiteX10" fmla="*/ 17587 w 83749"/>
                  <a:gd name="connsiteY10" fmla="*/ 89916 h 108204"/>
                  <a:gd name="connsiteX11" fmla="*/ 17587 w 83749"/>
                  <a:gd name="connsiteY11" fmla="*/ 108204 h 108204"/>
                  <a:gd name="connsiteX12" fmla="*/ 95 w 83749"/>
                  <a:gd name="connsiteY12" fmla="*/ 108204 h 108204"/>
                  <a:gd name="connsiteX13" fmla="*/ 95 w 83749"/>
                  <a:gd name="connsiteY13" fmla="*/ 0 h 10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749" h="108204">
                    <a:moveTo>
                      <a:pt x="0" y="95"/>
                    </a:moveTo>
                    <a:lnTo>
                      <a:pt x="17491" y="95"/>
                    </a:lnTo>
                    <a:lnTo>
                      <a:pt x="17491" y="71533"/>
                    </a:lnTo>
                    <a:lnTo>
                      <a:pt x="17681" y="71533"/>
                    </a:lnTo>
                    <a:lnTo>
                      <a:pt x="59129" y="31147"/>
                    </a:lnTo>
                    <a:lnTo>
                      <a:pt x="81753" y="31147"/>
                    </a:lnTo>
                    <a:lnTo>
                      <a:pt x="45725" y="64675"/>
                    </a:lnTo>
                    <a:lnTo>
                      <a:pt x="83750" y="108204"/>
                    </a:lnTo>
                    <a:lnTo>
                      <a:pt x="60079" y="108204"/>
                    </a:lnTo>
                    <a:lnTo>
                      <a:pt x="32987" y="75724"/>
                    </a:lnTo>
                    <a:lnTo>
                      <a:pt x="17587" y="89916"/>
                    </a:lnTo>
                    <a:lnTo>
                      <a:pt x="17587" y="108204"/>
                    </a:lnTo>
                    <a:lnTo>
                      <a:pt x="95" y="108204"/>
                    </a:lnTo>
                    <a:lnTo>
                      <a:pt x="95" y="0"/>
                    </a:lnTo>
                    <a:close/>
                  </a:path>
                </a:pathLst>
              </a:custGeom>
              <a:grpFill/>
              <a:ln w="9497" cap="flat">
                <a:noFill/>
                <a:prstDash val="solid"/>
                <a:miter/>
              </a:ln>
            </p:spPr>
            <p:txBody>
              <a:bodyPr rtlCol="0" anchor="ctr"/>
              <a:lstStyle/>
              <a:p>
                <a:endParaRPr lang="en-US">
                  <a:solidFill>
                    <a:schemeClr val="tx1"/>
                  </a:solidFill>
                </a:endParaRPr>
              </a:p>
            </p:txBody>
          </p:sp>
          <p:sp>
            <p:nvSpPr>
              <p:cNvPr id="66" name="Freeform 65">
                <a:extLst>
                  <a:ext uri="{FF2B5EF4-FFF2-40B4-BE49-F238E27FC236}">
                    <a16:creationId xmlns:a16="http://schemas.microsoft.com/office/drawing/2014/main" id="{0168D24B-86E8-9D58-52E4-7C405086BDB1}"/>
                  </a:ext>
                </a:extLst>
              </p:cNvPr>
              <p:cNvSpPr/>
              <p:nvPr/>
            </p:nvSpPr>
            <p:spPr>
              <a:xfrm>
                <a:off x="7484762" y="3904868"/>
                <a:ext cx="75194" cy="79533"/>
              </a:xfrm>
              <a:custGeom>
                <a:avLst/>
                <a:gdLst>
                  <a:gd name="connsiteX0" fmla="*/ 75099 w 75194"/>
                  <a:gd name="connsiteY0" fmla="*/ 43148 h 79533"/>
                  <a:gd name="connsiteX1" fmla="*/ 17491 w 75194"/>
                  <a:gd name="connsiteY1" fmla="*/ 43148 h 79533"/>
                  <a:gd name="connsiteX2" fmla="*/ 39736 w 75194"/>
                  <a:gd name="connsiteY2" fmla="*/ 65913 h 79533"/>
                  <a:gd name="connsiteX3" fmla="*/ 59414 w 75194"/>
                  <a:gd name="connsiteY3" fmla="*/ 51911 h 79533"/>
                  <a:gd name="connsiteX4" fmla="*/ 75194 w 75194"/>
                  <a:gd name="connsiteY4" fmla="*/ 51911 h 79533"/>
                  <a:gd name="connsiteX5" fmla="*/ 39546 w 75194"/>
                  <a:gd name="connsiteY5" fmla="*/ 79534 h 79533"/>
                  <a:gd name="connsiteX6" fmla="*/ 0 w 75194"/>
                  <a:gd name="connsiteY6" fmla="*/ 40386 h 79533"/>
                  <a:gd name="connsiteX7" fmla="*/ 39546 w 75194"/>
                  <a:gd name="connsiteY7" fmla="*/ 0 h 79533"/>
                  <a:gd name="connsiteX8" fmla="*/ 75194 w 75194"/>
                  <a:gd name="connsiteY8" fmla="*/ 36957 h 79533"/>
                  <a:gd name="connsiteX9" fmla="*/ 75194 w 75194"/>
                  <a:gd name="connsiteY9" fmla="*/ 43244 h 79533"/>
                  <a:gd name="connsiteX10" fmla="*/ 59319 w 75194"/>
                  <a:gd name="connsiteY10" fmla="*/ 31433 h 79533"/>
                  <a:gd name="connsiteX11" fmla="*/ 39546 w 75194"/>
                  <a:gd name="connsiteY11" fmla="*/ 13525 h 79533"/>
                  <a:gd name="connsiteX12" fmla="*/ 17872 w 75194"/>
                  <a:gd name="connsiteY12" fmla="*/ 32575 h 79533"/>
                  <a:gd name="connsiteX13" fmla="*/ 59319 w 75194"/>
                  <a:gd name="connsiteY13" fmla="*/ 32575 h 79533"/>
                  <a:gd name="connsiteX14" fmla="*/ 59319 w 75194"/>
                  <a:gd name="connsiteY14" fmla="*/ 31528 h 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194" h="79533">
                    <a:moveTo>
                      <a:pt x="75099" y="43148"/>
                    </a:moveTo>
                    <a:lnTo>
                      <a:pt x="17491" y="43148"/>
                    </a:lnTo>
                    <a:cubicBezTo>
                      <a:pt x="18442" y="58007"/>
                      <a:pt x="26712" y="65913"/>
                      <a:pt x="39736" y="65913"/>
                    </a:cubicBezTo>
                    <a:cubicBezTo>
                      <a:pt x="50953" y="65913"/>
                      <a:pt x="58558" y="60960"/>
                      <a:pt x="59414" y="51911"/>
                    </a:cubicBezTo>
                    <a:lnTo>
                      <a:pt x="75194" y="51911"/>
                    </a:lnTo>
                    <a:cubicBezTo>
                      <a:pt x="74529" y="69056"/>
                      <a:pt x="60555" y="79534"/>
                      <a:pt x="39546" y="79534"/>
                    </a:cubicBezTo>
                    <a:cubicBezTo>
                      <a:pt x="15210" y="79534"/>
                      <a:pt x="0" y="64579"/>
                      <a:pt x="0" y="40386"/>
                    </a:cubicBezTo>
                    <a:cubicBezTo>
                      <a:pt x="0" y="16193"/>
                      <a:pt x="15305" y="0"/>
                      <a:pt x="39546" y="0"/>
                    </a:cubicBezTo>
                    <a:cubicBezTo>
                      <a:pt x="61315" y="0"/>
                      <a:pt x="75194" y="12954"/>
                      <a:pt x="75194" y="36957"/>
                    </a:cubicBezTo>
                    <a:lnTo>
                      <a:pt x="75194" y="43244"/>
                    </a:lnTo>
                    <a:close/>
                    <a:moveTo>
                      <a:pt x="59319" y="31433"/>
                    </a:moveTo>
                    <a:cubicBezTo>
                      <a:pt x="59319" y="19907"/>
                      <a:pt x="52189" y="13525"/>
                      <a:pt x="39546" y="13525"/>
                    </a:cubicBezTo>
                    <a:cubicBezTo>
                      <a:pt x="26903" y="13525"/>
                      <a:pt x="19963" y="19812"/>
                      <a:pt x="17872" y="32575"/>
                    </a:cubicBezTo>
                    <a:lnTo>
                      <a:pt x="59319" y="32575"/>
                    </a:lnTo>
                    <a:lnTo>
                      <a:pt x="59319" y="31528"/>
                    </a:lnTo>
                    <a:close/>
                  </a:path>
                </a:pathLst>
              </a:custGeom>
              <a:grpFill/>
              <a:ln w="9497" cap="flat">
                <a:noFill/>
                <a:prstDash val="solid"/>
                <a:miter/>
              </a:ln>
            </p:spPr>
            <p:txBody>
              <a:bodyPr rtlCol="0" anchor="ctr"/>
              <a:lstStyle/>
              <a:p>
                <a:endParaRPr lang="en-US">
                  <a:solidFill>
                    <a:schemeClr val="tx1"/>
                  </a:solidFill>
                </a:endParaRPr>
              </a:p>
            </p:txBody>
          </p:sp>
          <p:sp>
            <p:nvSpPr>
              <p:cNvPr id="67" name="Freeform 66">
                <a:extLst>
                  <a:ext uri="{FF2B5EF4-FFF2-40B4-BE49-F238E27FC236}">
                    <a16:creationId xmlns:a16="http://schemas.microsoft.com/office/drawing/2014/main" id="{E0AA1177-A2B6-2DF4-B398-68D44041F905}"/>
                  </a:ext>
                </a:extLst>
              </p:cNvPr>
              <p:cNvSpPr/>
              <p:nvPr/>
            </p:nvSpPr>
            <p:spPr>
              <a:xfrm>
                <a:off x="7567751" y="3888581"/>
                <a:ext cx="56086" cy="95535"/>
              </a:xfrm>
              <a:custGeom>
                <a:avLst/>
                <a:gdLst>
                  <a:gd name="connsiteX0" fmla="*/ 12168 w 56086"/>
                  <a:gd name="connsiteY0" fmla="*/ 67056 h 95535"/>
                  <a:gd name="connsiteX1" fmla="*/ 12168 w 56086"/>
                  <a:gd name="connsiteY1" fmla="*/ 31623 h 95535"/>
                  <a:gd name="connsiteX2" fmla="*/ 0 w 56086"/>
                  <a:gd name="connsiteY2" fmla="*/ 31623 h 95535"/>
                  <a:gd name="connsiteX3" fmla="*/ 0 w 56086"/>
                  <a:gd name="connsiteY3" fmla="*/ 17431 h 95535"/>
                  <a:gd name="connsiteX4" fmla="*/ 9791 w 56086"/>
                  <a:gd name="connsiteY4" fmla="*/ 17431 h 95535"/>
                  <a:gd name="connsiteX5" fmla="*/ 14354 w 56086"/>
                  <a:gd name="connsiteY5" fmla="*/ 11525 h 95535"/>
                  <a:gd name="connsiteX6" fmla="*/ 15115 w 56086"/>
                  <a:gd name="connsiteY6" fmla="*/ 0 h 95535"/>
                  <a:gd name="connsiteX7" fmla="*/ 29564 w 56086"/>
                  <a:gd name="connsiteY7" fmla="*/ 0 h 95535"/>
                  <a:gd name="connsiteX8" fmla="*/ 29564 w 56086"/>
                  <a:gd name="connsiteY8" fmla="*/ 17526 h 95535"/>
                  <a:gd name="connsiteX9" fmla="*/ 56087 w 56086"/>
                  <a:gd name="connsiteY9" fmla="*/ 17526 h 95535"/>
                  <a:gd name="connsiteX10" fmla="*/ 56087 w 56086"/>
                  <a:gd name="connsiteY10" fmla="*/ 31718 h 95535"/>
                  <a:gd name="connsiteX11" fmla="*/ 29564 w 56086"/>
                  <a:gd name="connsiteY11" fmla="*/ 31718 h 95535"/>
                  <a:gd name="connsiteX12" fmla="*/ 29564 w 56086"/>
                  <a:gd name="connsiteY12" fmla="*/ 66199 h 95535"/>
                  <a:gd name="connsiteX13" fmla="*/ 43919 w 56086"/>
                  <a:gd name="connsiteY13" fmla="*/ 81153 h 95535"/>
                  <a:gd name="connsiteX14" fmla="*/ 55421 w 56086"/>
                  <a:gd name="connsiteY14" fmla="*/ 79724 h 95535"/>
                  <a:gd name="connsiteX15" fmla="*/ 55421 w 56086"/>
                  <a:gd name="connsiteY15" fmla="*/ 93631 h 95535"/>
                  <a:gd name="connsiteX16" fmla="*/ 41447 w 56086"/>
                  <a:gd name="connsiteY16" fmla="*/ 95536 h 95535"/>
                  <a:gd name="connsiteX17" fmla="*/ 12168 w 56086"/>
                  <a:gd name="connsiteY17" fmla="*/ 67151 h 9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086" h="95535">
                    <a:moveTo>
                      <a:pt x="12168" y="67056"/>
                    </a:moveTo>
                    <a:lnTo>
                      <a:pt x="12168" y="31623"/>
                    </a:lnTo>
                    <a:lnTo>
                      <a:pt x="0" y="31623"/>
                    </a:lnTo>
                    <a:lnTo>
                      <a:pt x="0" y="17431"/>
                    </a:lnTo>
                    <a:lnTo>
                      <a:pt x="9791" y="17431"/>
                    </a:lnTo>
                    <a:cubicBezTo>
                      <a:pt x="12738" y="17431"/>
                      <a:pt x="13879" y="15907"/>
                      <a:pt x="14354" y="11525"/>
                    </a:cubicBezTo>
                    <a:lnTo>
                      <a:pt x="15115" y="0"/>
                    </a:lnTo>
                    <a:lnTo>
                      <a:pt x="29564" y="0"/>
                    </a:lnTo>
                    <a:lnTo>
                      <a:pt x="29564" y="17526"/>
                    </a:lnTo>
                    <a:lnTo>
                      <a:pt x="56087" y="17526"/>
                    </a:lnTo>
                    <a:lnTo>
                      <a:pt x="56087" y="31718"/>
                    </a:lnTo>
                    <a:lnTo>
                      <a:pt x="29564" y="31718"/>
                    </a:lnTo>
                    <a:lnTo>
                      <a:pt x="29564" y="66199"/>
                    </a:lnTo>
                    <a:cubicBezTo>
                      <a:pt x="29564" y="76200"/>
                      <a:pt x="33272" y="81153"/>
                      <a:pt x="43919" y="81153"/>
                    </a:cubicBezTo>
                    <a:cubicBezTo>
                      <a:pt x="48291" y="81153"/>
                      <a:pt x="53235" y="80391"/>
                      <a:pt x="55421" y="79724"/>
                    </a:cubicBezTo>
                    <a:lnTo>
                      <a:pt x="55421" y="93631"/>
                    </a:lnTo>
                    <a:cubicBezTo>
                      <a:pt x="53045" y="94393"/>
                      <a:pt x="47816" y="95536"/>
                      <a:pt x="41447" y="95536"/>
                    </a:cubicBezTo>
                    <a:cubicBezTo>
                      <a:pt x="20438" y="95536"/>
                      <a:pt x="12168" y="84106"/>
                      <a:pt x="12168" y="67151"/>
                    </a:cubicBezTo>
                    <a:close/>
                  </a:path>
                </a:pathLst>
              </a:custGeom>
              <a:grpFill/>
              <a:ln w="9497" cap="flat">
                <a:noFill/>
                <a:prstDash val="solid"/>
                <a:miter/>
              </a:ln>
            </p:spPr>
            <p:txBody>
              <a:bodyPr rtlCol="0" anchor="ctr"/>
              <a:lstStyle/>
              <a:p>
                <a:endParaRPr lang="en-US">
                  <a:solidFill>
                    <a:schemeClr val="tx1"/>
                  </a:solidFill>
                </a:endParaRPr>
              </a:p>
            </p:txBody>
          </p:sp>
          <p:sp>
            <p:nvSpPr>
              <p:cNvPr id="68" name="Freeform 67">
                <a:extLst>
                  <a:ext uri="{FF2B5EF4-FFF2-40B4-BE49-F238E27FC236}">
                    <a16:creationId xmlns:a16="http://schemas.microsoft.com/office/drawing/2014/main" id="{85E55E13-CAC8-1B6B-7357-760B433448C9}"/>
                  </a:ext>
                </a:extLst>
              </p:cNvPr>
              <p:cNvSpPr/>
              <p:nvPr/>
            </p:nvSpPr>
            <p:spPr>
              <a:xfrm>
                <a:off x="7633344" y="3904678"/>
                <a:ext cx="73863" cy="79629"/>
              </a:xfrm>
              <a:custGeom>
                <a:avLst/>
                <a:gdLst>
                  <a:gd name="connsiteX0" fmla="*/ 0 w 73863"/>
                  <a:gd name="connsiteY0" fmla="*/ 52673 h 79629"/>
                  <a:gd name="connsiteX1" fmla="*/ 15780 w 73863"/>
                  <a:gd name="connsiteY1" fmla="*/ 52673 h 79629"/>
                  <a:gd name="connsiteX2" fmla="*/ 35838 w 73863"/>
                  <a:gd name="connsiteY2" fmla="*/ 67056 h 79629"/>
                  <a:gd name="connsiteX3" fmla="*/ 56277 w 73863"/>
                  <a:gd name="connsiteY3" fmla="*/ 55626 h 79629"/>
                  <a:gd name="connsiteX4" fmla="*/ 51143 w 73863"/>
                  <a:gd name="connsiteY4" fmla="*/ 48577 h 79629"/>
                  <a:gd name="connsiteX5" fmla="*/ 31561 w 73863"/>
                  <a:gd name="connsiteY5" fmla="*/ 45625 h 79629"/>
                  <a:gd name="connsiteX6" fmla="*/ 6749 w 73863"/>
                  <a:gd name="connsiteY6" fmla="*/ 39529 h 79629"/>
                  <a:gd name="connsiteX7" fmla="*/ 95 w 73863"/>
                  <a:gd name="connsiteY7" fmla="*/ 24860 h 79629"/>
                  <a:gd name="connsiteX8" fmla="*/ 35933 w 73863"/>
                  <a:gd name="connsiteY8" fmla="*/ 0 h 79629"/>
                  <a:gd name="connsiteX9" fmla="*/ 70536 w 73863"/>
                  <a:gd name="connsiteY9" fmla="*/ 27432 h 79629"/>
                  <a:gd name="connsiteX10" fmla="*/ 54756 w 73863"/>
                  <a:gd name="connsiteY10" fmla="*/ 27432 h 79629"/>
                  <a:gd name="connsiteX11" fmla="*/ 36409 w 73863"/>
                  <a:gd name="connsiteY11" fmla="*/ 12573 h 79629"/>
                  <a:gd name="connsiteX12" fmla="*/ 17396 w 73863"/>
                  <a:gd name="connsiteY12" fmla="*/ 23527 h 79629"/>
                  <a:gd name="connsiteX13" fmla="*/ 22720 w 73863"/>
                  <a:gd name="connsiteY13" fmla="*/ 31528 h 79629"/>
                  <a:gd name="connsiteX14" fmla="*/ 43158 w 73863"/>
                  <a:gd name="connsiteY14" fmla="*/ 34480 h 79629"/>
                  <a:gd name="connsiteX15" fmla="*/ 65783 w 73863"/>
                  <a:gd name="connsiteY15" fmla="*/ 39815 h 79629"/>
                  <a:gd name="connsiteX16" fmla="*/ 73863 w 73863"/>
                  <a:gd name="connsiteY16" fmla="*/ 54769 h 79629"/>
                  <a:gd name="connsiteX17" fmla="*/ 36123 w 73863"/>
                  <a:gd name="connsiteY17" fmla="*/ 79629 h 79629"/>
                  <a:gd name="connsiteX18" fmla="*/ 95 w 73863"/>
                  <a:gd name="connsiteY18" fmla="*/ 52673 h 7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63" h="79629">
                    <a:moveTo>
                      <a:pt x="0" y="52673"/>
                    </a:moveTo>
                    <a:lnTo>
                      <a:pt x="15780" y="52673"/>
                    </a:lnTo>
                    <a:cubicBezTo>
                      <a:pt x="15780" y="61531"/>
                      <a:pt x="20914" y="67056"/>
                      <a:pt x="35838" y="67056"/>
                    </a:cubicBezTo>
                    <a:cubicBezTo>
                      <a:pt x="50003" y="67056"/>
                      <a:pt x="56277" y="62674"/>
                      <a:pt x="56277" y="55626"/>
                    </a:cubicBezTo>
                    <a:cubicBezTo>
                      <a:pt x="56277" y="52673"/>
                      <a:pt x="55136" y="50006"/>
                      <a:pt x="51143" y="48577"/>
                    </a:cubicBezTo>
                    <a:cubicBezTo>
                      <a:pt x="47436" y="47149"/>
                      <a:pt x="40116" y="46387"/>
                      <a:pt x="31561" y="45625"/>
                    </a:cubicBezTo>
                    <a:cubicBezTo>
                      <a:pt x="19583" y="44577"/>
                      <a:pt x="11502" y="42958"/>
                      <a:pt x="6749" y="39529"/>
                    </a:cubicBezTo>
                    <a:cubicBezTo>
                      <a:pt x="2567" y="36385"/>
                      <a:pt x="95" y="30766"/>
                      <a:pt x="95" y="24860"/>
                    </a:cubicBezTo>
                    <a:cubicBezTo>
                      <a:pt x="95" y="9430"/>
                      <a:pt x="15020" y="0"/>
                      <a:pt x="35933" y="0"/>
                    </a:cubicBezTo>
                    <a:cubicBezTo>
                      <a:pt x="59889" y="0"/>
                      <a:pt x="70536" y="10001"/>
                      <a:pt x="70536" y="27432"/>
                    </a:cubicBezTo>
                    <a:lnTo>
                      <a:pt x="54756" y="27432"/>
                    </a:lnTo>
                    <a:cubicBezTo>
                      <a:pt x="54566" y="17431"/>
                      <a:pt x="49147" y="12573"/>
                      <a:pt x="36409" y="12573"/>
                    </a:cubicBezTo>
                    <a:cubicBezTo>
                      <a:pt x="23670" y="12573"/>
                      <a:pt x="17396" y="16954"/>
                      <a:pt x="17396" y="23527"/>
                    </a:cubicBezTo>
                    <a:cubicBezTo>
                      <a:pt x="17396" y="26765"/>
                      <a:pt x="18157" y="29908"/>
                      <a:pt x="22720" y="31528"/>
                    </a:cubicBezTo>
                    <a:cubicBezTo>
                      <a:pt x="26427" y="32766"/>
                      <a:pt x="33747" y="33528"/>
                      <a:pt x="43158" y="34480"/>
                    </a:cubicBezTo>
                    <a:cubicBezTo>
                      <a:pt x="54090" y="35528"/>
                      <a:pt x="60269" y="36671"/>
                      <a:pt x="65783" y="39815"/>
                    </a:cubicBezTo>
                    <a:cubicBezTo>
                      <a:pt x="70916" y="42577"/>
                      <a:pt x="73863" y="48577"/>
                      <a:pt x="73863" y="54769"/>
                    </a:cubicBezTo>
                    <a:cubicBezTo>
                      <a:pt x="73863" y="70390"/>
                      <a:pt x="60745" y="79629"/>
                      <a:pt x="36123" y="79629"/>
                    </a:cubicBezTo>
                    <a:cubicBezTo>
                      <a:pt x="9601" y="79629"/>
                      <a:pt x="95" y="67723"/>
                      <a:pt x="95" y="52673"/>
                    </a:cubicBezTo>
                    <a:close/>
                  </a:path>
                </a:pathLst>
              </a:custGeom>
              <a:grpFill/>
              <a:ln w="9497" cap="flat">
                <a:noFill/>
                <a:prstDash val="solid"/>
                <a:miter/>
              </a:ln>
            </p:spPr>
            <p:txBody>
              <a:bodyPr rtlCol="0" anchor="ctr"/>
              <a:lstStyle/>
              <a:p>
                <a:endParaRPr lang="en-US">
                  <a:solidFill>
                    <a:schemeClr val="tx1"/>
                  </a:solidFill>
                </a:endParaRPr>
              </a:p>
            </p:txBody>
          </p:sp>
        </p:grpSp>
      </p:grpSp>
      <p:sp>
        <p:nvSpPr>
          <p:cNvPr id="6" name="Text Placeholder 11">
            <a:extLst>
              <a:ext uri="{FF2B5EF4-FFF2-40B4-BE49-F238E27FC236}">
                <a16:creationId xmlns:a16="http://schemas.microsoft.com/office/drawing/2014/main" id="{73F1465B-DCD7-D8DE-E996-85AAEEA5F162}"/>
              </a:ext>
            </a:extLst>
          </p:cNvPr>
          <p:cNvSpPr>
            <a:spLocks noGrp="1"/>
          </p:cNvSpPr>
          <p:nvPr>
            <p:ph type="body" sz="quarter" idx="23" hasCustomPrompt="1"/>
          </p:nvPr>
        </p:nvSpPr>
        <p:spPr>
          <a:xfrm>
            <a:off x="658812" y="2233414"/>
            <a:ext cx="5113337" cy="447092"/>
          </a:xfrm>
          <a:prstGeom prst="rect">
            <a:avLst/>
          </a:prstGeom>
        </p:spPr>
        <p:txBody>
          <a:bodyPr lIns="0">
            <a:noAutofit/>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2400" b="1" i="0">
                <a:solidFill>
                  <a:schemeClr val="bg1"/>
                </a:solidFill>
                <a:latin typeface="Arial" panose="020B0604020202020204" pitchFamily="34" charset="0"/>
                <a:cs typeface="Arial" panose="020B0604020202020204" pitchFamily="34" charset="0"/>
              </a:defRPr>
            </a:lvl1pPr>
          </a:lstStyle>
          <a:p>
            <a:pPr lvl="0"/>
            <a:r>
              <a:rPr lang="en-GB" dirty="0"/>
              <a:t>Name Surname</a:t>
            </a:r>
          </a:p>
        </p:txBody>
      </p:sp>
      <p:sp>
        <p:nvSpPr>
          <p:cNvPr id="7" name="Text Placeholder 11">
            <a:extLst>
              <a:ext uri="{FF2B5EF4-FFF2-40B4-BE49-F238E27FC236}">
                <a16:creationId xmlns:a16="http://schemas.microsoft.com/office/drawing/2014/main" id="{543309CC-19B6-EFAE-49E9-CE4FB8FFC6C8}"/>
              </a:ext>
            </a:extLst>
          </p:cNvPr>
          <p:cNvSpPr>
            <a:spLocks noGrp="1"/>
          </p:cNvSpPr>
          <p:nvPr>
            <p:ph type="body" sz="quarter" idx="24" hasCustomPrompt="1"/>
          </p:nvPr>
        </p:nvSpPr>
        <p:spPr>
          <a:xfrm>
            <a:off x="658812" y="2794364"/>
            <a:ext cx="5113337" cy="962820"/>
          </a:xfrm>
          <a:prstGeom prst="rect">
            <a:avLst/>
          </a:prstGeom>
        </p:spPr>
        <p:txBody>
          <a:bodyPr lIns="0">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tx2"/>
                </a:solidFill>
              </a:defRPr>
            </a:lvl1pPr>
          </a:lstStyle>
          <a:p>
            <a:pPr lvl="0"/>
            <a:r>
              <a:rPr lang="en-GB" dirty="0"/>
              <a:t>Name of Job Position</a:t>
            </a:r>
          </a:p>
          <a:p>
            <a:pPr lvl="0"/>
            <a:r>
              <a:rPr lang="en-GB" dirty="0" err="1"/>
              <a:t>name@idhtrade.org</a:t>
            </a:r>
            <a:endParaRPr lang="en-GB" dirty="0"/>
          </a:p>
        </p:txBody>
      </p:sp>
    </p:spTree>
    <p:extLst>
      <p:ext uri="{BB962C8B-B14F-4D97-AF65-F5344CB8AC3E}">
        <p14:creationId xmlns:p14="http://schemas.microsoft.com/office/powerpoint/2010/main" val="2612681558"/>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Blank (Light Green)">
    <p:spTree>
      <p:nvGrpSpPr>
        <p:cNvPr id="1" name=""/>
        <p:cNvGrpSpPr/>
        <p:nvPr/>
      </p:nvGrpSpPr>
      <p:grpSpPr>
        <a:xfrm>
          <a:off x="0" y="0"/>
          <a:ext cx="0" cy="0"/>
          <a:chOff x="0" y="0"/>
          <a:chExt cx="0" cy="0"/>
        </a:xfrm>
      </p:grpSpPr>
      <p:sp>
        <p:nvSpPr>
          <p:cNvPr id="2" name="Graphic 2">
            <a:extLst>
              <a:ext uri="{FF2B5EF4-FFF2-40B4-BE49-F238E27FC236}">
                <a16:creationId xmlns:a16="http://schemas.microsoft.com/office/drawing/2014/main" id="{3D42C624-5105-7C6E-1043-74957C695D78}"/>
              </a:ext>
            </a:extLst>
          </p:cNvPr>
          <p:cNvSpPr>
            <a:spLocks noChangeAspect="1"/>
          </p:cNvSpPr>
          <p:nvPr/>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NL"/>
          </a:p>
        </p:txBody>
      </p:sp>
      <p:sp>
        <p:nvSpPr>
          <p:cNvPr id="3" name="Slide Number Placeholder 2">
            <a:extLst>
              <a:ext uri="{FF2B5EF4-FFF2-40B4-BE49-F238E27FC236}">
                <a16:creationId xmlns:a16="http://schemas.microsoft.com/office/drawing/2014/main" id="{A85D7A67-2370-AA9C-576B-B0507E0F05A2}"/>
              </a:ext>
            </a:extLst>
          </p:cNvPr>
          <p:cNvSpPr>
            <a:spLocks noGrp="1"/>
          </p:cNvSpPr>
          <p:nvPr>
            <p:ph type="sldNum" sz="quarter" idx="10"/>
          </p:nvPr>
        </p:nvSpPr>
        <p:spPr/>
        <p:txBody>
          <a:bodyPr/>
          <a:lstStyle/>
          <a:p>
            <a:fld id="{9B2A305F-D5DD-E143-90C1-708547DE3F23}" type="slidenum">
              <a:rPr lang="en-US" smtClean="0"/>
              <a:pPr/>
              <a:t>‹#›</a:t>
            </a:fld>
            <a:endParaRPr lang="en-US" dirty="0"/>
          </a:p>
        </p:txBody>
      </p:sp>
    </p:spTree>
    <p:extLst>
      <p:ext uri="{BB962C8B-B14F-4D97-AF65-F5344CB8AC3E}">
        <p14:creationId xmlns:p14="http://schemas.microsoft.com/office/powerpoint/2010/main" val="37470071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ntent Main (White)">
    <p:spTree>
      <p:nvGrpSpPr>
        <p:cNvPr id="1" name=""/>
        <p:cNvGrpSpPr/>
        <p:nvPr/>
      </p:nvGrpSpPr>
      <p:grpSpPr>
        <a:xfrm>
          <a:off x="0" y="0"/>
          <a:ext cx="0" cy="0"/>
          <a:chOff x="0" y="0"/>
          <a:chExt cx="0" cy="0"/>
        </a:xfrm>
      </p:grpSpPr>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674159" y="1834335"/>
            <a:ext cx="5097991" cy="3971154"/>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a:p>
            <a:pPr lvl="0"/>
            <a:r>
              <a:rPr lang="en-GB" dirty="0"/>
              <a:t>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12" name="Text Placeholder 11">
            <a:extLst>
              <a:ext uri="{FF2B5EF4-FFF2-40B4-BE49-F238E27FC236}">
                <a16:creationId xmlns:a16="http://schemas.microsoft.com/office/drawing/2014/main" id="{1B152CED-AC0C-A42F-8D63-98D6B0437716}"/>
              </a:ext>
            </a:extLst>
          </p:cNvPr>
          <p:cNvSpPr>
            <a:spLocks noGrp="1"/>
          </p:cNvSpPr>
          <p:nvPr>
            <p:ph type="body" sz="quarter" idx="19" hasCustomPrompt="1"/>
          </p:nvPr>
        </p:nvSpPr>
        <p:spPr>
          <a:xfrm>
            <a:off x="6435196" y="1834335"/>
            <a:ext cx="5097991" cy="3971153"/>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a:p>
            <a:pPr lvl="0"/>
            <a:r>
              <a:rPr lang="en-GB" dirty="0"/>
              <a:t>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14" name="Slide Number Placeholder 13">
            <a:extLst>
              <a:ext uri="{FF2B5EF4-FFF2-40B4-BE49-F238E27FC236}">
                <a16:creationId xmlns:a16="http://schemas.microsoft.com/office/drawing/2014/main" id="{E3DF6071-D3E1-23BD-3F58-A648DBAE0A6E}"/>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15" name="Title 14">
            <a:extLst>
              <a:ext uri="{FF2B5EF4-FFF2-40B4-BE49-F238E27FC236}">
                <a16:creationId xmlns:a16="http://schemas.microsoft.com/office/drawing/2014/main" id="{52A7F844-302A-D32C-6BF3-1EA438717222}"/>
              </a:ext>
            </a:extLst>
          </p:cNvPr>
          <p:cNvSpPr>
            <a:spLocks noGrp="1"/>
          </p:cNvSpPr>
          <p:nvPr>
            <p:ph type="title" hasCustomPrompt="1"/>
          </p:nvPr>
        </p:nvSpPr>
        <p:spPr/>
        <p:txBody>
          <a:bodyPr/>
          <a:lstStyle/>
          <a:p>
            <a:r>
              <a:rPr lang="en-GB" dirty="0"/>
              <a:t>Regular heading goes here</a:t>
            </a:r>
          </a:p>
        </p:txBody>
      </p:sp>
      <p:sp>
        <p:nvSpPr>
          <p:cNvPr id="3" name="Text Placeholder 9">
            <a:extLst>
              <a:ext uri="{FF2B5EF4-FFF2-40B4-BE49-F238E27FC236}">
                <a16:creationId xmlns:a16="http://schemas.microsoft.com/office/drawing/2014/main" id="{D0777F17-9557-2ACF-0685-37E0811D52CC}"/>
              </a:ext>
            </a:extLst>
          </p:cNvPr>
          <p:cNvSpPr>
            <a:spLocks noGrp="1"/>
          </p:cNvSpPr>
          <p:nvPr>
            <p:ph type="body" sz="quarter" idx="18" hasCustomPrompt="1"/>
          </p:nvPr>
        </p:nvSpPr>
        <p:spPr>
          <a:xfrm>
            <a:off x="674159" y="1051658"/>
            <a:ext cx="10859029" cy="411162"/>
          </a:xfrm>
          <a:prstGeom prst="rect">
            <a:avLst/>
          </a:prstGeom>
        </p:spPr>
        <p:txBody>
          <a:bodyPr>
            <a:noAutofit/>
          </a:bodyPr>
          <a:lstStyle>
            <a:lvl1pPr marL="0" indent="0">
              <a:buNone/>
              <a:defRPr sz="2000">
                <a:solidFill>
                  <a:schemeClr val="accent2"/>
                </a:solidFill>
              </a:defRPr>
            </a:lvl1pPr>
            <a:lvl2pPr marL="457200" indent="0">
              <a:buNone/>
              <a:defRPr/>
            </a:lvl2pPr>
            <a:lvl3pPr marL="914400" indent="0">
              <a:buNone/>
              <a:defRPr/>
            </a:lvl3pPr>
            <a:lvl4pPr marL="1371600" indent="0">
              <a:buNone/>
              <a:defRPr/>
            </a:lvl4pPr>
            <a:lvl5pPr marL="1828800" indent="0">
              <a:buFont typeface="Arial" panose="020B0604020202020204" pitchFamily="34" charset="0"/>
              <a:buNone/>
              <a:defRPr/>
            </a:lvl5pPr>
          </a:lstStyle>
          <a:p>
            <a:pPr lvl="0"/>
            <a:r>
              <a:rPr lang="en-GB" dirty="0"/>
              <a:t>Subheading goes here</a:t>
            </a:r>
          </a:p>
        </p:txBody>
      </p:sp>
    </p:spTree>
    <p:extLst>
      <p:ext uri="{BB962C8B-B14F-4D97-AF65-F5344CB8AC3E}">
        <p14:creationId xmlns:p14="http://schemas.microsoft.com/office/powerpoint/2010/main" val="1229167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Pebble Imag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2" y="549275"/>
            <a:ext cx="5113337" cy="2131053"/>
          </a:xfrm>
        </p:spPr>
        <p:txBody>
          <a:bodyPr anchor="b" anchorCtr="0">
            <a:noAutofit/>
          </a:bodyPr>
          <a:lstStyle>
            <a:lvl1pPr marL="0" indent="0">
              <a:spcBef>
                <a:spcPts val="0"/>
              </a:spcBef>
              <a:buNone/>
              <a:defRPr sz="4000" b="1">
                <a:solidFill>
                  <a:srgbClr val="47DA86"/>
                </a:solidFill>
                <a:latin typeface="+mj-lt"/>
              </a:defRPr>
            </a:lvl1pPr>
          </a:lstStyle>
          <a:p>
            <a:pPr lvl="0"/>
            <a:r>
              <a:rPr lang="en-GB" dirty="0"/>
              <a:t>A captivating headline</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2" y="2872829"/>
            <a:ext cx="5113337" cy="2932660"/>
          </a:xfrm>
        </p:spPr>
        <p:txBody>
          <a:bodyPr>
            <a:noAutofit/>
          </a:bodyPr>
          <a:lstStyle>
            <a:lvl1pPr marL="0" indent="0">
              <a:buNone/>
              <a:defRPr sz="1400" b="0">
                <a:solidFill>
                  <a:schemeClr val="bg1"/>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5" name="Picture Placeholder 4">
            <a:extLst>
              <a:ext uri="{FF2B5EF4-FFF2-40B4-BE49-F238E27FC236}">
                <a16:creationId xmlns:a16="http://schemas.microsoft.com/office/drawing/2014/main" id="{A6D049BA-8763-7863-E7E0-8A31A9438750}"/>
              </a:ext>
            </a:extLst>
          </p:cNvPr>
          <p:cNvSpPr>
            <a:spLocks noGrp="1"/>
          </p:cNvSpPr>
          <p:nvPr>
            <p:ph type="pic" sz="quarter" idx="18"/>
          </p:nvPr>
        </p:nvSpPr>
        <p:spPr>
          <a:xfrm>
            <a:off x="6413557" y="740342"/>
            <a:ext cx="5129758" cy="4824422"/>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2400">
                <a:solidFill>
                  <a:schemeClr val="bg1"/>
                </a:solidFill>
              </a:defRPr>
            </a:lvl1pPr>
          </a:lstStyle>
          <a:p>
            <a:r>
              <a:rPr lang="en-GB" dirty="0"/>
              <a:t>Click icon to add picture</a:t>
            </a:r>
          </a:p>
        </p:txBody>
      </p:sp>
      <p:sp>
        <p:nvSpPr>
          <p:cNvPr id="4" name="Slide Number Placeholder 3">
            <a:extLst>
              <a:ext uri="{FF2B5EF4-FFF2-40B4-BE49-F238E27FC236}">
                <a16:creationId xmlns:a16="http://schemas.microsoft.com/office/drawing/2014/main" id="{6A423C60-DB16-109A-762A-D048767B5E0D}"/>
              </a:ext>
            </a:extLst>
          </p:cNvPr>
          <p:cNvSpPr>
            <a:spLocks noGrp="1"/>
          </p:cNvSpPr>
          <p:nvPr>
            <p:ph type="sldNum" sz="quarter" idx="19"/>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419114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ntent Ripple Right (White)">
    <p:spTree>
      <p:nvGrpSpPr>
        <p:cNvPr id="1" name=""/>
        <p:cNvGrpSpPr/>
        <p:nvPr/>
      </p:nvGrpSpPr>
      <p:grpSpPr>
        <a:xfrm>
          <a:off x="0" y="0"/>
          <a:ext cx="0" cy="0"/>
          <a:chOff x="0" y="0"/>
          <a:chExt cx="0" cy="0"/>
        </a:xfrm>
      </p:grpSpPr>
      <p:sp>
        <p:nvSpPr>
          <p:cNvPr id="4" name="Graphic 2">
            <a:extLst>
              <a:ext uri="{FF2B5EF4-FFF2-40B4-BE49-F238E27FC236}">
                <a16:creationId xmlns:a16="http://schemas.microsoft.com/office/drawing/2014/main" id="{240D5921-FD2C-1B1F-1965-9B2EA10E80F6}"/>
              </a:ext>
            </a:extLst>
          </p:cNvPr>
          <p:cNvSpPr/>
          <p:nvPr userDrawn="1"/>
        </p:nvSpPr>
        <p:spPr>
          <a:xfrm>
            <a:off x="7594280"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47DA86"/>
          </a:solidFill>
          <a:ln w="6350" cap="flat">
            <a:noFill/>
            <a:prstDash val="solid"/>
            <a:miter/>
          </a:ln>
        </p:spPr>
        <p:txBody>
          <a:bodyPr rtlCol="0" anchor="ctr"/>
          <a:lstStyle/>
          <a:p>
            <a:endParaRPr lang="en-GB" dirty="0"/>
          </a:p>
        </p:txBody>
      </p:sp>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658813" y="549275"/>
            <a:ext cx="6456691" cy="2544379"/>
          </a:xfrm>
          <a:prstGeom prst="rect">
            <a:avLst/>
          </a:prstGeom>
        </p:spPr>
        <p:txBody>
          <a:bodyPr anchor="b" anchorCtr="0">
            <a:normAutofit/>
          </a:bodyPr>
          <a:lstStyle>
            <a:lvl1pPr marL="0" indent="0">
              <a:lnSpc>
                <a:spcPct val="90000"/>
              </a:lnSpc>
              <a:spcBef>
                <a:spcPts val="0"/>
              </a:spcBef>
              <a:buNone/>
              <a:defRPr sz="6500" b="1">
                <a:solidFill>
                  <a:srgbClr val="00625F"/>
                </a:solidFill>
                <a:latin typeface="+mj-lt"/>
              </a:defRPr>
            </a:lvl1pPr>
          </a:lstStyle>
          <a:p>
            <a:pPr lvl="0"/>
            <a:r>
              <a:rPr lang="en-GB" dirty="0"/>
              <a:t>A captivating headline</a:t>
            </a:r>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658812" y="3336415"/>
            <a:ext cx="6456691" cy="2469073"/>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9" name="Slide Number Placeholder 8">
            <a:extLst>
              <a:ext uri="{FF2B5EF4-FFF2-40B4-BE49-F238E27FC236}">
                <a16:creationId xmlns:a16="http://schemas.microsoft.com/office/drawing/2014/main" id="{F0B64AC3-B172-225E-8183-2CA74D21EC95}"/>
              </a:ext>
            </a:extLst>
          </p:cNvPr>
          <p:cNvSpPr>
            <a:spLocks noGrp="1"/>
          </p:cNvSpPr>
          <p:nvPr>
            <p:ph type="sldNum" sz="quarter" idx="18"/>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1616183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ntent Ripple Left (White)">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5076496" y="549275"/>
            <a:ext cx="6456691" cy="2544379"/>
          </a:xfrm>
          <a:prstGeom prst="rect">
            <a:avLst/>
          </a:prstGeom>
        </p:spPr>
        <p:txBody>
          <a:bodyPr anchor="b" anchorCtr="0">
            <a:normAutofit/>
          </a:bodyPr>
          <a:lstStyle>
            <a:lvl1pPr marL="0" indent="0">
              <a:lnSpc>
                <a:spcPct val="90000"/>
              </a:lnSpc>
              <a:spcBef>
                <a:spcPts val="0"/>
              </a:spcBef>
              <a:buNone/>
              <a:defRPr sz="6500" b="1">
                <a:solidFill>
                  <a:srgbClr val="00625F"/>
                </a:solidFill>
                <a:latin typeface="+mj-lt"/>
              </a:defRPr>
            </a:lvl1pPr>
          </a:lstStyle>
          <a:p>
            <a:pPr lvl="0"/>
            <a:r>
              <a:rPr lang="en-GB" dirty="0"/>
              <a:t>A captivating headline</a:t>
            </a:r>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5076495" y="3344507"/>
            <a:ext cx="6456693" cy="2460981"/>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2" name="Graphic 2">
            <a:extLst>
              <a:ext uri="{FF2B5EF4-FFF2-40B4-BE49-F238E27FC236}">
                <a16:creationId xmlns:a16="http://schemas.microsoft.com/office/drawing/2014/main" id="{29BBB147-539D-C22A-2D6B-0E01233A8860}"/>
              </a:ext>
            </a:extLst>
          </p:cNvPr>
          <p:cNvSpPr/>
          <p:nvPr userDrawn="1"/>
        </p:nvSpPr>
        <p:spPr>
          <a:xfrm>
            <a:off x="-3526153" y="-429564"/>
            <a:ext cx="7877814" cy="7894663"/>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rgbClr val="47DA86"/>
          </a:solidFill>
          <a:ln w="6350" cap="flat">
            <a:noFill/>
            <a:prstDash val="solid"/>
            <a:miter/>
          </a:ln>
        </p:spPr>
        <p:txBody>
          <a:bodyPr rtlCol="0" anchor="ctr"/>
          <a:lstStyle/>
          <a:p>
            <a:endParaRPr lang="en-GB" dirty="0"/>
          </a:p>
        </p:txBody>
      </p:sp>
      <p:sp>
        <p:nvSpPr>
          <p:cNvPr id="10" name="Slide Number Placeholder 9">
            <a:extLst>
              <a:ext uri="{FF2B5EF4-FFF2-40B4-BE49-F238E27FC236}">
                <a16:creationId xmlns:a16="http://schemas.microsoft.com/office/drawing/2014/main" id="{ECDB104C-CD58-B53E-A4FC-1E3DE5A83378}"/>
              </a:ext>
            </a:extLst>
          </p:cNvPr>
          <p:cNvSpPr>
            <a:spLocks noGrp="1"/>
          </p:cNvSpPr>
          <p:nvPr>
            <p:ph type="sldNum" sz="quarter" idx="18"/>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389460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ntent Left Small Image (White)">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E5E52AD9-93AF-F1B4-26FB-87DD4E9BFE6E}"/>
              </a:ext>
            </a:extLst>
          </p:cNvPr>
          <p:cNvSpPr>
            <a:spLocks noGrp="1"/>
          </p:cNvSpPr>
          <p:nvPr>
            <p:ph type="pic" sz="quarter" idx="19" hasCustomPrompt="1"/>
          </p:nvPr>
        </p:nvSpPr>
        <p:spPr>
          <a:xfrm>
            <a:off x="0" y="-1"/>
            <a:ext cx="4165141" cy="6860681"/>
          </a:xfrm>
          <a:custGeom>
            <a:avLst/>
            <a:gdLst>
              <a:gd name="connsiteX0" fmla="*/ 885066 w 4165141"/>
              <a:gd name="connsiteY0" fmla="*/ 1 h 6860681"/>
              <a:gd name="connsiteX1" fmla="*/ 1285270 w 4165141"/>
              <a:gd name="connsiteY1" fmla="*/ 180595 h 6860681"/>
              <a:gd name="connsiteX2" fmla="*/ 3154938 w 4165141"/>
              <a:gd name="connsiteY2" fmla="*/ 2390776 h 6860681"/>
              <a:gd name="connsiteX3" fmla="*/ 3072512 w 4165141"/>
              <a:gd name="connsiteY3" fmla="*/ 5293107 h 6860681"/>
              <a:gd name="connsiteX4" fmla="*/ 1746072 w 4165141"/>
              <a:gd name="connsiteY4" fmla="*/ 6858001 h 6860681"/>
              <a:gd name="connsiteX5" fmla="*/ 2102429 w 4165141"/>
              <a:gd name="connsiteY5" fmla="*/ 6858001 h 6860681"/>
              <a:gd name="connsiteX6" fmla="*/ 3753372 w 4165141"/>
              <a:gd name="connsiteY6" fmla="*/ 3013902 h 6860681"/>
              <a:gd name="connsiteX7" fmla="*/ 1857243 w 4165141"/>
              <a:gd name="connsiteY7" fmla="*/ 154751 h 6860681"/>
              <a:gd name="connsiteX8" fmla="*/ 1571383 w 4165141"/>
              <a:gd name="connsiteY8" fmla="*/ 1 h 6860681"/>
              <a:gd name="connsiteX9" fmla="*/ 0 w 4165141"/>
              <a:gd name="connsiteY9" fmla="*/ 0 h 6860681"/>
              <a:gd name="connsiteX10" fmla="*/ 2372706 w 4165141"/>
              <a:gd name="connsiteY10" fmla="*/ 0 h 6860681"/>
              <a:gd name="connsiteX11" fmla="*/ 3921754 w 4165141"/>
              <a:gd name="connsiteY11" fmla="*/ 5161393 h 6860681"/>
              <a:gd name="connsiteX12" fmla="*/ 2580100 w 4165141"/>
              <a:gd name="connsiteY12" fmla="*/ 6860681 h 6860681"/>
              <a:gd name="connsiteX13" fmla="*/ 150053 w 4165141"/>
              <a:gd name="connsiteY13" fmla="*/ 6860681 h 6860681"/>
              <a:gd name="connsiteX14" fmla="*/ 0 w 4165141"/>
              <a:gd name="connsiteY14" fmla="*/ 6860681 h 686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65141" h="6860681">
                <a:moveTo>
                  <a:pt x="885066" y="1"/>
                </a:moveTo>
                <a:cubicBezTo>
                  <a:pt x="1020921" y="51563"/>
                  <a:pt x="1154491" y="111761"/>
                  <a:pt x="1285270" y="180595"/>
                </a:cubicBezTo>
                <a:cubicBezTo>
                  <a:pt x="2151542" y="635700"/>
                  <a:pt x="2814953" y="1420941"/>
                  <a:pt x="3154938" y="2390776"/>
                </a:cubicBezTo>
                <a:cubicBezTo>
                  <a:pt x="3495749" y="3362644"/>
                  <a:pt x="3466497" y="4393376"/>
                  <a:pt x="3072512" y="5293107"/>
                </a:cubicBezTo>
                <a:cubicBezTo>
                  <a:pt x="2787667" y="5943665"/>
                  <a:pt x="2329023" y="6480621"/>
                  <a:pt x="1746072" y="6858001"/>
                </a:cubicBezTo>
                <a:lnTo>
                  <a:pt x="2102429" y="6858001"/>
                </a:lnTo>
                <a:cubicBezTo>
                  <a:pt x="3294220" y="6005133"/>
                  <a:pt x="3974192" y="4511613"/>
                  <a:pt x="3753372" y="3013902"/>
                </a:cubicBezTo>
                <a:cubicBezTo>
                  <a:pt x="3581222" y="1810831"/>
                  <a:pt x="2890082" y="768669"/>
                  <a:pt x="1857243" y="154751"/>
                </a:cubicBezTo>
                <a:cubicBezTo>
                  <a:pt x="1763522" y="99125"/>
                  <a:pt x="1668150" y="47499"/>
                  <a:pt x="1571383" y="1"/>
                </a:cubicBezTo>
                <a:close/>
                <a:moveTo>
                  <a:pt x="0" y="0"/>
                </a:moveTo>
                <a:lnTo>
                  <a:pt x="2372706" y="0"/>
                </a:lnTo>
                <a:cubicBezTo>
                  <a:pt x="4025896" y="1030183"/>
                  <a:pt x="4517711" y="3349918"/>
                  <a:pt x="3921754" y="5161393"/>
                </a:cubicBezTo>
                <a:cubicBezTo>
                  <a:pt x="3672765" y="5932457"/>
                  <a:pt x="3188188" y="6494906"/>
                  <a:pt x="2580100" y="6860681"/>
                </a:cubicBezTo>
                <a:cubicBezTo>
                  <a:pt x="2580100" y="6860681"/>
                  <a:pt x="1284075" y="6860681"/>
                  <a:pt x="150053" y="6860681"/>
                </a:cubicBezTo>
                <a:lnTo>
                  <a:pt x="0" y="6860681"/>
                </a:lnTo>
                <a:close/>
              </a:path>
            </a:pathLst>
          </a:custGeom>
          <a:ln>
            <a:noFill/>
          </a:ln>
        </p:spPr>
        <p:txBody>
          <a:bodyPr wrap="square" anchor="ctr">
            <a:noAutofit/>
          </a:bodyPr>
          <a:lstStyle>
            <a:lvl1pPr marL="0" indent="0" algn="ctr">
              <a:buNone/>
              <a:defRPr>
                <a:solidFill>
                  <a:srgbClr val="00625F"/>
                </a:solidFill>
              </a:defRPr>
            </a:lvl1pPr>
          </a:lstStyle>
          <a:p>
            <a:r>
              <a:rPr lang="en-GB" dirty="0"/>
              <a:t>Click icon to add picture</a:t>
            </a:r>
          </a:p>
        </p:txBody>
      </p:sp>
      <p:sp>
        <p:nvSpPr>
          <p:cNvPr id="23" name="Text Placeholder 11">
            <a:extLst>
              <a:ext uri="{FF2B5EF4-FFF2-40B4-BE49-F238E27FC236}">
                <a16:creationId xmlns:a16="http://schemas.microsoft.com/office/drawing/2014/main" id="{0A4BC4EF-459A-7845-F619-515A9AFC49DB}"/>
              </a:ext>
            </a:extLst>
          </p:cNvPr>
          <p:cNvSpPr>
            <a:spLocks noGrp="1"/>
          </p:cNvSpPr>
          <p:nvPr>
            <p:ph type="body" sz="quarter" idx="17" hasCustomPrompt="1"/>
          </p:nvPr>
        </p:nvSpPr>
        <p:spPr>
          <a:xfrm>
            <a:off x="4608095" y="2033337"/>
            <a:ext cx="6925095" cy="3772152"/>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2" name="Text Placeholder 11">
            <a:extLst>
              <a:ext uri="{FF2B5EF4-FFF2-40B4-BE49-F238E27FC236}">
                <a16:creationId xmlns:a16="http://schemas.microsoft.com/office/drawing/2014/main" id="{1B2E71AF-560B-8492-C46B-152A4A3B96DE}"/>
              </a:ext>
            </a:extLst>
          </p:cNvPr>
          <p:cNvSpPr>
            <a:spLocks noGrp="1"/>
          </p:cNvSpPr>
          <p:nvPr>
            <p:ph type="body" sz="quarter" idx="18" hasCustomPrompt="1"/>
          </p:nvPr>
        </p:nvSpPr>
        <p:spPr>
          <a:xfrm>
            <a:off x="4606005" y="549275"/>
            <a:ext cx="6925095" cy="978736"/>
          </a:xfrm>
          <a:prstGeom prst="rect">
            <a:avLst/>
          </a:prstGeom>
        </p:spPr>
        <p:txBody>
          <a:bodyPr anchor="b" anchorCtr="0">
            <a:noAutofit/>
          </a:bodyPr>
          <a:lstStyle>
            <a:lvl1pPr marL="0" indent="0">
              <a:lnSpc>
                <a:spcPct val="90000"/>
              </a:lnSpc>
              <a:buNone/>
              <a:defRPr sz="4000" b="1">
                <a:solidFill>
                  <a:srgbClr val="00625F"/>
                </a:solidFill>
              </a:defRPr>
            </a:lvl1pPr>
          </a:lstStyle>
          <a:p>
            <a:pPr lvl="0"/>
            <a:r>
              <a:rPr lang="en-GB" dirty="0"/>
              <a:t>A captivating headline</a:t>
            </a:r>
          </a:p>
        </p:txBody>
      </p:sp>
      <p:sp>
        <p:nvSpPr>
          <p:cNvPr id="2" name="Slide Number Placeholder 1">
            <a:extLst>
              <a:ext uri="{FF2B5EF4-FFF2-40B4-BE49-F238E27FC236}">
                <a16:creationId xmlns:a16="http://schemas.microsoft.com/office/drawing/2014/main" id="{878DEAD0-851B-701E-F00F-E5C521AB6691}"/>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5" name="Graphic 8">
            <a:extLst>
              <a:ext uri="{FF2B5EF4-FFF2-40B4-BE49-F238E27FC236}">
                <a16:creationId xmlns:a16="http://schemas.microsoft.com/office/drawing/2014/main" id="{6090EEAA-C762-8742-6743-DFD85CA10FA8}"/>
              </a:ext>
            </a:extLst>
          </p:cNvPr>
          <p:cNvSpPr>
            <a:spLocks noChangeAspect="1"/>
          </p:cNvSpPr>
          <p:nvPr userDrawn="1"/>
        </p:nvSpPr>
        <p:spPr>
          <a:xfrm flipH="1">
            <a:off x="881744"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GB" dirty="0"/>
          </a:p>
        </p:txBody>
      </p:sp>
    </p:spTree>
    <p:extLst>
      <p:ext uri="{BB962C8B-B14F-4D97-AF65-F5344CB8AC3E}">
        <p14:creationId xmlns:p14="http://schemas.microsoft.com/office/powerpoint/2010/main" val="44911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ntent Left Image Medium (White)">
    <p:spTree>
      <p:nvGrpSpPr>
        <p:cNvPr id="1" name=""/>
        <p:cNvGrpSpPr/>
        <p:nvPr/>
      </p:nvGrpSpPr>
      <p:grpSpPr>
        <a:xfrm>
          <a:off x="0" y="0"/>
          <a:ext cx="0" cy="0"/>
          <a:chOff x="0" y="0"/>
          <a:chExt cx="0" cy="0"/>
        </a:xfrm>
      </p:grpSpPr>
      <p:sp>
        <p:nvSpPr>
          <p:cNvPr id="23" name="Text Placeholder 11">
            <a:extLst>
              <a:ext uri="{FF2B5EF4-FFF2-40B4-BE49-F238E27FC236}">
                <a16:creationId xmlns:a16="http://schemas.microsoft.com/office/drawing/2014/main" id="{0A4BC4EF-459A-7845-F619-515A9AFC49DB}"/>
              </a:ext>
            </a:extLst>
          </p:cNvPr>
          <p:cNvSpPr>
            <a:spLocks noGrp="1"/>
          </p:cNvSpPr>
          <p:nvPr>
            <p:ph type="body" sz="quarter" idx="17" hasCustomPrompt="1"/>
          </p:nvPr>
        </p:nvSpPr>
        <p:spPr>
          <a:xfrm>
            <a:off x="5662040" y="2033337"/>
            <a:ext cx="5871150" cy="3772152"/>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2" name="Text Placeholder 11">
            <a:extLst>
              <a:ext uri="{FF2B5EF4-FFF2-40B4-BE49-F238E27FC236}">
                <a16:creationId xmlns:a16="http://schemas.microsoft.com/office/drawing/2014/main" id="{1B2E71AF-560B-8492-C46B-152A4A3B96DE}"/>
              </a:ext>
            </a:extLst>
          </p:cNvPr>
          <p:cNvSpPr>
            <a:spLocks noGrp="1"/>
          </p:cNvSpPr>
          <p:nvPr>
            <p:ph type="body" sz="quarter" idx="18" hasCustomPrompt="1"/>
          </p:nvPr>
        </p:nvSpPr>
        <p:spPr>
          <a:xfrm>
            <a:off x="5659950" y="549275"/>
            <a:ext cx="5871150" cy="978736"/>
          </a:xfrm>
          <a:prstGeom prst="rect">
            <a:avLst/>
          </a:prstGeom>
        </p:spPr>
        <p:txBody>
          <a:bodyPr anchor="b" anchorCtr="0">
            <a:noAutofit/>
          </a:bodyPr>
          <a:lstStyle>
            <a:lvl1pPr marL="0" indent="0">
              <a:lnSpc>
                <a:spcPct val="90000"/>
              </a:lnSpc>
              <a:buNone/>
              <a:defRPr sz="4000" b="1">
                <a:solidFill>
                  <a:srgbClr val="00625F"/>
                </a:solidFill>
              </a:defRPr>
            </a:lvl1pPr>
          </a:lstStyle>
          <a:p>
            <a:pPr lvl="0"/>
            <a:r>
              <a:rPr lang="en-GB" dirty="0"/>
              <a:t>A captivating headline</a:t>
            </a:r>
          </a:p>
        </p:txBody>
      </p:sp>
      <p:sp>
        <p:nvSpPr>
          <p:cNvPr id="2" name="Slide Number Placeholder 1">
            <a:extLst>
              <a:ext uri="{FF2B5EF4-FFF2-40B4-BE49-F238E27FC236}">
                <a16:creationId xmlns:a16="http://schemas.microsoft.com/office/drawing/2014/main" id="{878DEAD0-851B-701E-F00F-E5C521AB6691}"/>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5" name="Graphic 8">
            <a:extLst>
              <a:ext uri="{FF2B5EF4-FFF2-40B4-BE49-F238E27FC236}">
                <a16:creationId xmlns:a16="http://schemas.microsoft.com/office/drawing/2014/main" id="{6090EEAA-C762-8742-6743-DFD85CA10FA8}"/>
              </a:ext>
            </a:extLst>
          </p:cNvPr>
          <p:cNvSpPr>
            <a:spLocks noChangeAspect="1"/>
          </p:cNvSpPr>
          <p:nvPr userDrawn="1"/>
        </p:nvSpPr>
        <p:spPr>
          <a:xfrm flipH="1">
            <a:off x="1809730"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GB" dirty="0"/>
          </a:p>
        </p:txBody>
      </p:sp>
      <p:sp>
        <p:nvSpPr>
          <p:cNvPr id="8" name="Tijdelijke aanduiding voor afbeelding 7">
            <a:extLst>
              <a:ext uri="{FF2B5EF4-FFF2-40B4-BE49-F238E27FC236}">
                <a16:creationId xmlns:a16="http://schemas.microsoft.com/office/drawing/2014/main" id="{3D46CD41-B2FD-91E1-6F8C-5A2BAECD2FF0}"/>
              </a:ext>
            </a:extLst>
          </p:cNvPr>
          <p:cNvSpPr>
            <a:spLocks noGrp="1"/>
          </p:cNvSpPr>
          <p:nvPr>
            <p:ph type="pic" sz="quarter" idx="19" hasCustomPrompt="1"/>
          </p:nvPr>
        </p:nvSpPr>
        <p:spPr>
          <a:xfrm>
            <a:off x="1" y="-1"/>
            <a:ext cx="5091571" cy="6860681"/>
          </a:xfrm>
          <a:custGeom>
            <a:avLst/>
            <a:gdLst>
              <a:gd name="connsiteX0" fmla="*/ 1811496 w 5091571"/>
              <a:gd name="connsiteY0" fmla="*/ 1 h 6860681"/>
              <a:gd name="connsiteX1" fmla="*/ 2211700 w 5091571"/>
              <a:gd name="connsiteY1" fmla="*/ 180595 h 6860681"/>
              <a:gd name="connsiteX2" fmla="*/ 4081368 w 5091571"/>
              <a:gd name="connsiteY2" fmla="*/ 2390776 h 6860681"/>
              <a:gd name="connsiteX3" fmla="*/ 3998942 w 5091571"/>
              <a:gd name="connsiteY3" fmla="*/ 5293107 h 6860681"/>
              <a:gd name="connsiteX4" fmla="*/ 2672502 w 5091571"/>
              <a:gd name="connsiteY4" fmla="*/ 6858001 h 6860681"/>
              <a:gd name="connsiteX5" fmla="*/ 3028859 w 5091571"/>
              <a:gd name="connsiteY5" fmla="*/ 6858001 h 6860681"/>
              <a:gd name="connsiteX6" fmla="*/ 4679802 w 5091571"/>
              <a:gd name="connsiteY6" fmla="*/ 3013902 h 6860681"/>
              <a:gd name="connsiteX7" fmla="*/ 2783673 w 5091571"/>
              <a:gd name="connsiteY7" fmla="*/ 154751 h 6860681"/>
              <a:gd name="connsiteX8" fmla="*/ 2497813 w 5091571"/>
              <a:gd name="connsiteY8" fmla="*/ 1 h 6860681"/>
              <a:gd name="connsiteX9" fmla="*/ 0 w 5091571"/>
              <a:gd name="connsiteY9" fmla="*/ 0 h 6860681"/>
              <a:gd name="connsiteX10" fmla="*/ 3299136 w 5091571"/>
              <a:gd name="connsiteY10" fmla="*/ 0 h 6860681"/>
              <a:gd name="connsiteX11" fmla="*/ 4848184 w 5091571"/>
              <a:gd name="connsiteY11" fmla="*/ 5161393 h 6860681"/>
              <a:gd name="connsiteX12" fmla="*/ 3506530 w 5091571"/>
              <a:gd name="connsiteY12" fmla="*/ 6860681 h 6860681"/>
              <a:gd name="connsiteX13" fmla="*/ 50463 w 5091571"/>
              <a:gd name="connsiteY13" fmla="*/ 6860681 h 6860681"/>
              <a:gd name="connsiteX14" fmla="*/ 0 w 5091571"/>
              <a:gd name="connsiteY14" fmla="*/ 6860681 h 686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91571" h="6860681">
                <a:moveTo>
                  <a:pt x="1811496" y="1"/>
                </a:moveTo>
                <a:cubicBezTo>
                  <a:pt x="1947351" y="51563"/>
                  <a:pt x="2080921" y="111761"/>
                  <a:pt x="2211700" y="180595"/>
                </a:cubicBezTo>
                <a:cubicBezTo>
                  <a:pt x="3077972" y="635700"/>
                  <a:pt x="3741383" y="1420941"/>
                  <a:pt x="4081368" y="2390776"/>
                </a:cubicBezTo>
                <a:cubicBezTo>
                  <a:pt x="4422179" y="3362644"/>
                  <a:pt x="4392927" y="4393376"/>
                  <a:pt x="3998942" y="5293107"/>
                </a:cubicBezTo>
                <a:cubicBezTo>
                  <a:pt x="3714097" y="5943665"/>
                  <a:pt x="3255453" y="6480621"/>
                  <a:pt x="2672502" y="6858001"/>
                </a:cubicBezTo>
                <a:lnTo>
                  <a:pt x="3028859" y="6858001"/>
                </a:lnTo>
                <a:cubicBezTo>
                  <a:pt x="4220650" y="6005133"/>
                  <a:pt x="4900622" y="4511613"/>
                  <a:pt x="4679802" y="3013902"/>
                </a:cubicBezTo>
                <a:cubicBezTo>
                  <a:pt x="4507652" y="1810831"/>
                  <a:pt x="3816512" y="768669"/>
                  <a:pt x="2783673" y="154751"/>
                </a:cubicBezTo>
                <a:cubicBezTo>
                  <a:pt x="2689952" y="99125"/>
                  <a:pt x="2594580" y="47499"/>
                  <a:pt x="2497813" y="1"/>
                </a:cubicBezTo>
                <a:close/>
                <a:moveTo>
                  <a:pt x="0" y="0"/>
                </a:moveTo>
                <a:lnTo>
                  <a:pt x="3299136" y="0"/>
                </a:lnTo>
                <a:cubicBezTo>
                  <a:pt x="4952326" y="1030183"/>
                  <a:pt x="5444141" y="3349918"/>
                  <a:pt x="4848184" y="5161393"/>
                </a:cubicBezTo>
                <a:cubicBezTo>
                  <a:pt x="4599195" y="5932457"/>
                  <a:pt x="4114618" y="6494906"/>
                  <a:pt x="3506530" y="6860681"/>
                </a:cubicBezTo>
                <a:cubicBezTo>
                  <a:pt x="3506530" y="6860681"/>
                  <a:pt x="1202486" y="6860681"/>
                  <a:pt x="50463" y="6860681"/>
                </a:cubicBezTo>
                <a:lnTo>
                  <a:pt x="0" y="6860681"/>
                </a:lnTo>
                <a:close/>
              </a:path>
            </a:pathLst>
          </a:custGeom>
          <a:ln>
            <a:noFill/>
          </a:ln>
        </p:spPr>
        <p:txBody>
          <a:bodyPr wrap="square" anchor="ctr">
            <a:noAutofit/>
          </a:bodyPr>
          <a:lstStyle>
            <a:lvl1pPr marL="0" indent="0" algn="ctr">
              <a:buNone/>
              <a:defRPr>
                <a:solidFill>
                  <a:srgbClr val="00625F"/>
                </a:solidFill>
              </a:defRPr>
            </a:lvl1pPr>
          </a:lstStyle>
          <a:p>
            <a:r>
              <a:rPr lang="en-GB" dirty="0"/>
              <a:t>Click icon to add picture</a:t>
            </a:r>
          </a:p>
        </p:txBody>
      </p:sp>
    </p:spTree>
    <p:extLst>
      <p:ext uri="{BB962C8B-B14F-4D97-AF65-F5344CB8AC3E}">
        <p14:creationId xmlns:p14="http://schemas.microsoft.com/office/powerpoint/2010/main" val="403796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ntent Left Image Large (White)">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C5D49E83-70FE-84E4-DD12-A0A8300EC04B}"/>
              </a:ext>
            </a:extLst>
          </p:cNvPr>
          <p:cNvSpPr>
            <a:spLocks noGrp="1"/>
          </p:cNvSpPr>
          <p:nvPr>
            <p:ph type="pic" sz="quarter" idx="19" hasCustomPrompt="1"/>
          </p:nvPr>
        </p:nvSpPr>
        <p:spPr>
          <a:xfrm>
            <a:off x="0" y="-1"/>
            <a:ext cx="5681120" cy="6860681"/>
          </a:xfrm>
          <a:custGeom>
            <a:avLst/>
            <a:gdLst>
              <a:gd name="connsiteX0" fmla="*/ 2401045 w 5681120"/>
              <a:gd name="connsiteY0" fmla="*/ 1 h 6860681"/>
              <a:gd name="connsiteX1" fmla="*/ 2801249 w 5681120"/>
              <a:gd name="connsiteY1" fmla="*/ 180595 h 6860681"/>
              <a:gd name="connsiteX2" fmla="*/ 4670917 w 5681120"/>
              <a:gd name="connsiteY2" fmla="*/ 2390776 h 6860681"/>
              <a:gd name="connsiteX3" fmla="*/ 4588491 w 5681120"/>
              <a:gd name="connsiteY3" fmla="*/ 5293107 h 6860681"/>
              <a:gd name="connsiteX4" fmla="*/ 3262051 w 5681120"/>
              <a:gd name="connsiteY4" fmla="*/ 6858001 h 6860681"/>
              <a:gd name="connsiteX5" fmla="*/ 3618408 w 5681120"/>
              <a:gd name="connsiteY5" fmla="*/ 6858001 h 6860681"/>
              <a:gd name="connsiteX6" fmla="*/ 5269351 w 5681120"/>
              <a:gd name="connsiteY6" fmla="*/ 3013902 h 6860681"/>
              <a:gd name="connsiteX7" fmla="*/ 3373222 w 5681120"/>
              <a:gd name="connsiteY7" fmla="*/ 154751 h 6860681"/>
              <a:gd name="connsiteX8" fmla="*/ 3087362 w 5681120"/>
              <a:gd name="connsiteY8" fmla="*/ 1 h 6860681"/>
              <a:gd name="connsiteX9" fmla="*/ 0 w 5681120"/>
              <a:gd name="connsiteY9" fmla="*/ 0 h 6860681"/>
              <a:gd name="connsiteX10" fmla="*/ 3888685 w 5681120"/>
              <a:gd name="connsiteY10" fmla="*/ 0 h 6860681"/>
              <a:gd name="connsiteX11" fmla="*/ 5437733 w 5681120"/>
              <a:gd name="connsiteY11" fmla="*/ 5161393 h 6860681"/>
              <a:gd name="connsiteX12" fmla="*/ 4096079 w 5681120"/>
              <a:gd name="connsiteY12" fmla="*/ 6860681 h 6860681"/>
              <a:gd name="connsiteX13" fmla="*/ 0 w 5681120"/>
              <a:gd name="connsiteY13" fmla="*/ 6860681 h 686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1120" h="6860681">
                <a:moveTo>
                  <a:pt x="2401045" y="1"/>
                </a:moveTo>
                <a:cubicBezTo>
                  <a:pt x="2536900" y="51563"/>
                  <a:pt x="2670470" y="111761"/>
                  <a:pt x="2801249" y="180595"/>
                </a:cubicBezTo>
                <a:cubicBezTo>
                  <a:pt x="3667521" y="635700"/>
                  <a:pt x="4330932" y="1420941"/>
                  <a:pt x="4670917" y="2390776"/>
                </a:cubicBezTo>
                <a:cubicBezTo>
                  <a:pt x="5011728" y="3362644"/>
                  <a:pt x="4982476" y="4393376"/>
                  <a:pt x="4588491" y="5293107"/>
                </a:cubicBezTo>
                <a:cubicBezTo>
                  <a:pt x="4303646" y="5943665"/>
                  <a:pt x="3845002" y="6480621"/>
                  <a:pt x="3262051" y="6858001"/>
                </a:cubicBezTo>
                <a:lnTo>
                  <a:pt x="3618408" y="6858001"/>
                </a:lnTo>
                <a:cubicBezTo>
                  <a:pt x="4810199" y="6005133"/>
                  <a:pt x="5490171" y="4511613"/>
                  <a:pt x="5269351" y="3013902"/>
                </a:cubicBezTo>
                <a:cubicBezTo>
                  <a:pt x="5097201" y="1810831"/>
                  <a:pt x="4406061" y="768669"/>
                  <a:pt x="3373222" y="154751"/>
                </a:cubicBezTo>
                <a:cubicBezTo>
                  <a:pt x="3279501" y="99125"/>
                  <a:pt x="3184129" y="47499"/>
                  <a:pt x="3087362" y="1"/>
                </a:cubicBezTo>
                <a:close/>
                <a:moveTo>
                  <a:pt x="0" y="0"/>
                </a:moveTo>
                <a:lnTo>
                  <a:pt x="3888685" y="0"/>
                </a:lnTo>
                <a:cubicBezTo>
                  <a:pt x="5541875" y="1030183"/>
                  <a:pt x="6033690" y="3349918"/>
                  <a:pt x="5437733" y="5161393"/>
                </a:cubicBezTo>
                <a:cubicBezTo>
                  <a:pt x="5188744" y="5932457"/>
                  <a:pt x="4704167" y="6494906"/>
                  <a:pt x="4096079" y="6860681"/>
                </a:cubicBezTo>
                <a:cubicBezTo>
                  <a:pt x="4096079" y="6860681"/>
                  <a:pt x="0" y="6860681"/>
                  <a:pt x="0" y="6860681"/>
                </a:cubicBezTo>
                <a:close/>
              </a:path>
            </a:pathLst>
          </a:custGeom>
        </p:spPr>
        <p:txBody>
          <a:bodyPr wrap="square" anchor="ctr">
            <a:noAutofit/>
          </a:bodyPr>
          <a:lstStyle>
            <a:lvl1pPr marL="0" indent="0" algn="ctr">
              <a:buNone/>
              <a:defRPr>
                <a:solidFill>
                  <a:srgbClr val="00625F"/>
                </a:solidFill>
              </a:defRPr>
            </a:lvl1pPr>
          </a:lstStyle>
          <a:p>
            <a:r>
              <a:rPr lang="en-GB" dirty="0"/>
              <a:t>Click icon to add picture</a:t>
            </a:r>
          </a:p>
        </p:txBody>
      </p:sp>
      <p:sp>
        <p:nvSpPr>
          <p:cNvPr id="23" name="Text Placeholder 11">
            <a:extLst>
              <a:ext uri="{FF2B5EF4-FFF2-40B4-BE49-F238E27FC236}">
                <a16:creationId xmlns:a16="http://schemas.microsoft.com/office/drawing/2014/main" id="{0A4BC4EF-459A-7845-F619-515A9AFC49DB}"/>
              </a:ext>
            </a:extLst>
          </p:cNvPr>
          <p:cNvSpPr>
            <a:spLocks noGrp="1"/>
          </p:cNvSpPr>
          <p:nvPr>
            <p:ph type="body" sz="quarter" idx="17" hasCustomPrompt="1"/>
          </p:nvPr>
        </p:nvSpPr>
        <p:spPr>
          <a:xfrm>
            <a:off x="6421940" y="2842349"/>
            <a:ext cx="5111249" cy="2963140"/>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2" name="Text Placeholder 11">
            <a:extLst>
              <a:ext uri="{FF2B5EF4-FFF2-40B4-BE49-F238E27FC236}">
                <a16:creationId xmlns:a16="http://schemas.microsoft.com/office/drawing/2014/main" id="{1B2E71AF-560B-8492-C46B-152A4A3B96DE}"/>
              </a:ext>
            </a:extLst>
          </p:cNvPr>
          <p:cNvSpPr>
            <a:spLocks noGrp="1"/>
          </p:cNvSpPr>
          <p:nvPr>
            <p:ph type="body" sz="quarter" idx="18" hasCustomPrompt="1"/>
          </p:nvPr>
        </p:nvSpPr>
        <p:spPr>
          <a:xfrm>
            <a:off x="6419850" y="549275"/>
            <a:ext cx="5111249" cy="2100573"/>
          </a:xfrm>
          <a:prstGeom prst="rect">
            <a:avLst/>
          </a:prstGeom>
        </p:spPr>
        <p:txBody>
          <a:bodyPr anchor="b" anchorCtr="0">
            <a:noAutofit/>
          </a:bodyPr>
          <a:lstStyle>
            <a:lvl1pPr marL="0" indent="0">
              <a:lnSpc>
                <a:spcPct val="90000"/>
              </a:lnSpc>
              <a:buNone/>
              <a:defRPr sz="4000" b="1">
                <a:solidFill>
                  <a:srgbClr val="00625F"/>
                </a:solidFill>
              </a:defRPr>
            </a:lvl1pPr>
          </a:lstStyle>
          <a:p>
            <a:pPr lvl="0"/>
            <a:r>
              <a:rPr lang="en-GB" dirty="0"/>
              <a:t>A captivating headline</a:t>
            </a:r>
          </a:p>
        </p:txBody>
      </p:sp>
      <p:sp>
        <p:nvSpPr>
          <p:cNvPr id="2" name="Slide Number Placeholder 1">
            <a:extLst>
              <a:ext uri="{FF2B5EF4-FFF2-40B4-BE49-F238E27FC236}">
                <a16:creationId xmlns:a16="http://schemas.microsoft.com/office/drawing/2014/main" id="{878DEAD0-851B-701E-F00F-E5C521AB6691}"/>
              </a:ext>
            </a:extLst>
          </p:cNvPr>
          <p:cNvSpPr>
            <a:spLocks noGrp="1"/>
          </p:cNvSpPr>
          <p:nvPr>
            <p:ph type="sldNum" sz="quarter" idx="20"/>
          </p:nvPr>
        </p:nvSpPr>
        <p:spPr/>
        <p:txBody>
          <a:bodyPr/>
          <a:lstStyle/>
          <a:p>
            <a:fld id="{0994303E-A424-9540-91A8-53B791C91E8F}" type="slidenum">
              <a:rPr lang="en-GB" smtClean="0"/>
              <a:pPr/>
              <a:t>‹#›</a:t>
            </a:fld>
            <a:endParaRPr lang="en-GB" dirty="0"/>
          </a:p>
        </p:txBody>
      </p:sp>
      <p:sp>
        <p:nvSpPr>
          <p:cNvPr id="5" name="Graphic 8">
            <a:extLst>
              <a:ext uri="{FF2B5EF4-FFF2-40B4-BE49-F238E27FC236}">
                <a16:creationId xmlns:a16="http://schemas.microsoft.com/office/drawing/2014/main" id="{6090EEAA-C762-8742-6743-DFD85CA10FA8}"/>
              </a:ext>
            </a:extLst>
          </p:cNvPr>
          <p:cNvSpPr>
            <a:spLocks noChangeAspect="1"/>
          </p:cNvSpPr>
          <p:nvPr userDrawn="1"/>
        </p:nvSpPr>
        <p:spPr>
          <a:xfrm flipH="1">
            <a:off x="2401046" y="0"/>
            <a:ext cx="2909650" cy="6858000"/>
          </a:xfrm>
          <a:custGeom>
            <a:avLst/>
            <a:gdLst>
              <a:gd name="connsiteX0" fmla="*/ 2509447 w 2909650"/>
              <a:gd name="connsiteY0" fmla="*/ 180594 h 6858000"/>
              <a:gd name="connsiteX1" fmla="*/ 2909651 w 2909650"/>
              <a:gd name="connsiteY1" fmla="*/ 0 h 6858000"/>
              <a:gd name="connsiteX2" fmla="*/ 2223334 w 2909650"/>
              <a:gd name="connsiteY2" fmla="*/ 0 h 6858000"/>
              <a:gd name="connsiteX3" fmla="*/ 1937474 w 2909650"/>
              <a:gd name="connsiteY3" fmla="*/ 154750 h 6858000"/>
              <a:gd name="connsiteX4" fmla="*/ 41345 w 2909650"/>
              <a:gd name="connsiteY4" fmla="*/ 3013901 h 6858000"/>
              <a:gd name="connsiteX5" fmla="*/ 1692288 w 2909650"/>
              <a:gd name="connsiteY5" fmla="*/ 6858000 h 6858000"/>
              <a:gd name="connsiteX6" fmla="*/ 2048645 w 2909650"/>
              <a:gd name="connsiteY6" fmla="*/ 6858000 h 6858000"/>
              <a:gd name="connsiteX7" fmla="*/ 722205 w 2909650"/>
              <a:gd name="connsiteY7" fmla="*/ 5293106 h 6858000"/>
              <a:gd name="connsiteX8" fmla="*/ 639779 w 2909650"/>
              <a:gd name="connsiteY8" fmla="*/ 2390775 h 6858000"/>
              <a:gd name="connsiteX9" fmla="*/ 2509447 w 2909650"/>
              <a:gd name="connsiteY9" fmla="*/ 1805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9650" h="6858000">
                <a:moveTo>
                  <a:pt x="2509447" y="180594"/>
                </a:moveTo>
                <a:cubicBezTo>
                  <a:pt x="2640226" y="111760"/>
                  <a:pt x="2773796" y="51562"/>
                  <a:pt x="2909651" y="0"/>
                </a:cubicBezTo>
                <a:lnTo>
                  <a:pt x="2223334" y="0"/>
                </a:lnTo>
                <a:cubicBezTo>
                  <a:pt x="2126567" y="47498"/>
                  <a:pt x="2031195" y="99124"/>
                  <a:pt x="1937474" y="154750"/>
                </a:cubicBezTo>
                <a:cubicBezTo>
                  <a:pt x="904635" y="768668"/>
                  <a:pt x="213495" y="1810830"/>
                  <a:pt x="41345" y="3013901"/>
                </a:cubicBezTo>
                <a:cubicBezTo>
                  <a:pt x="-179475" y="4511612"/>
                  <a:pt x="500497" y="6005132"/>
                  <a:pt x="1692288" y="6858000"/>
                </a:cubicBezTo>
                <a:lnTo>
                  <a:pt x="2048645" y="6858000"/>
                </a:lnTo>
                <a:cubicBezTo>
                  <a:pt x="1465694" y="6480620"/>
                  <a:pt x="1007050" y="5943664"/>
                  <a:pt x="722205" y="5293106"/>
                </a:cubicBezTo>
                <a:cubicBezTo>
                  <a:pt x="328220" y="4393375"/>
                  <a:pt x="298968" y="3362643"/>
                  <a:pt x="639779" y="2390775"/>
                </a:cubicBezTo>
                <a:cubicBezTo>
                  <a:pt x="979764" y="1420940"/>
                  <a:pt x="1643175" y="635699"/>
                  <a:pt x="2509447" y="180594"/>
                </a:cubicBezTo>
                <a:close/>
              </a:path>
            </a:pathLst>
          </a:custGeom>
          <a:solidFill>
            <a:srgbClr val="47D985"/>
          </a:solidFill>
          <a:ln w="6329" cap="flat">
            <a:noFill/>
            <a:prstDash val="solid"/>
            <a:miter/>
          </a:ln>
        </p:spPr>
        <p:txBody>
          <a:bodyPr rtlCol="0" anchor="ctr"/>
          <a:lstStyle/>
          <a:p>
            <a:endParaRPr lang="en-GB" dirty="0"/>
          </a:p>
        </p:txBody>
      </p:sp>
    </p:spTree>
    <p:extLst>
      <p:ext uri="{BB962C8B-B14F-4D97-AF65-F5344CB8AC3E}">
        <p14:creationId xmlns:p14="http://schemas.microsoft.com/office/powerpoint/2010/main" val="1043432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ntent Right Image Small (Whit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2" y="1215747"/>
            <a:ext cx="6287898" cy="1423941"/>
          </a:xfrm>
          <a:prstGeom prst="rect">
            <a:avLst/>
          </a:prstGeom>
        </p:spPr>
        <p:txBody>
          <a:bodyPr anchor="b" anchorCtr="0">
            <a:noAutofit/>
          </a:bodyPr>
          <a:lstStyle>
            <a:lvl1pPr marL="0" indent="0">
              <a:lnSpc>
                <a:spcPct val="90000"/>
              </a:lnSpc>
              <a:buNone/>
              <a:defRPr sz="4000" b="1">
                <a:solidFill>
                  <a:srgbClr val="00625F"/>
                </a:solidFill>
                <a:latin typeface="+mj-lt"/>
              </a:defRPr>
            </a:lvl1pPr>
          </a:lstStyle>
          <a:p>
            <a:pPr lvl="0"/>
            <a:r>
              <a:rPr lang="en-GB" dirty="0"/>
              <a:t>A captivating headline</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2" y="2832189"/>
            <a:ext cx="6287898" cy="2973300"/>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5" name="Tijdelijke aanduiding voor afbeelding 34">
            <a:extLst>
              <a:ext uri="{FF2B5EF4-FFF2-40B4-BE49-F238E27FC236}">
                <a16:creationId xmlns:a16="http://schemas.microsoft.com/office/drawing/2014/main" id="{95FC1EC2-34E3-70FB-8D7C-6205177F20A7}"/>
              </a:ext>
            </a:extLst>
          </p:cNvPr>
          <p:cNvSpPr>
            <a:spLocks noGrp="1"/>
          </p:cNvSpPr>
          <p:nvPr>
            <p:ph type="pic" sz="quarter" idx="18" hasCustomPrompt="1"/>
          </p:nvPr>
        </p:nvSpPr>
        <p:spPr>
          <a:xfrm>
            <a:off x="8237251" y="0"/>
            <a:ext cx="3965635" cy="6138000"/>
          </a:xfrm>
          <a:custGeom>
            <a:avLst/>
            <a:gdLst>
              <a:gd name="connsiteX0" fmla="*/ 1792436 w 3965635"/>
              <a:gd name="connsiteY0" fmla="*/ 0 h 6138000"/>
              <a:gd name="connsiteX1" fmla="*/ 3965635 w 3965635"/>
              <a:gd name="connsiteY1" fmla="*/ 0 h 6138000"/>
              <a:gd name="connsiteX2" fmla="*/ 3965635 w 3965635"/>
              <a:gd name="connsiteY2" fmla="*/ 6138000 h 6138000"/>
              <a:gd name="connsiteX3" fmla="*/ 761193 w 3965635"/>
              <a:gd name="connsiteY3" fmla="*/ 6138000 h 6138000"/>
              <a:gd name="connsiteX4" fmla="*/ 616979 w 3965635"/>
              <a:gd name="connsiteY4" fmla="*/ 5941461 h 6138000"/>
              <a:gd name="connsiteX5" fmla="*/ 243389 w 3965635"/>
              <a:gd name="connsiteY5" fmla="*/ 5161393 h 6138000"/>
              <a:gd name="connsiteX6" fmla="*/ 1792436 w 3965635"/>
              <a:gd name="connsiteY6" fmla="*/ 0 h 613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635" h="6138000">
                <a:moveTo>
                  <a:pt x="1792436" y="0"/>
                </a:moveTo>
                <a:lnTo>
                  <a:pt x="3965635" y="0"/>
                </a:lnTo>
                <a:lnTo>
                  <a:pt x="3965635" y="6138000"/>
                </a:lnTo>
                <a:lnTo>
                  <a:pt x="761193" y="6138000"/>
                </a:lnTo>
                <a:lnTo>
                  <a:pt x="616979" y="5941461"/>
                </a:lnTo>
                <a:cubicBezTo>
                  <a:pt x="463260" y="5710355"/>
                  <a:pt x="336760" y="5450543"/>
                  <a:pt x="243389" y="5161393"/>
                </a:cubicBezTo>
                <a:cubicBezTo>
                  <a:pt x="-352570" y="3349919"/>
                  <a:pt x="139246" y="1030182"/>
                  <a:pt x="1792436" y="0"/>
                </a:cubicBezTo>
                <a:close/>
              </a:path>
            </a:pathLst>
          </a:custGeom>
        </p:spPr>
        <p:txBody>
          <a:bodyPr wrap="square" anchor="ctr">
            <a:noAutofit/>
          </a:bodyPr>
          <a:lstStyle>
            <a:lvl1pPr marL="0" indent="0" algn="ctr">
              <a:buNone/>
              <a:defRPr>
                <a:solidFill>
                  <a:srgbClr val="00625F"/>
                </a:solidFill>
              </a:defRPr>
            </a:lvl1pPr>
          </a:lstStyle>
          <a:p>
            <a:r>
              <a:rPr lang="en-GB" dirty="0"/>
              <a:t>Click icon to add picture</a:t>
            </a:r>
          </a:p>
        </p:txBody>
      </p:sp>
      <p:sp>
        <p:nvSpPr>
          <p:cNvPr id="3" name="Graphic 8">
            <a:extLst>
              <a:ext uri="{FF2B5EF4-FFF2-40B4-BE49-F238E27FC236}">
                <a16:creationId xmlns:a16="http://schemas.microsoft.com/office/drawing/2014/main" id="{13C6ED88-473F-97CE-5D8A-37949B6269B5}"/>
              </a:ext>
            </a:extLst>
          </p:cNvPr>
          <p:cNvSpPr>
            <a:spLocks noChangeAspect="1"/>
          </p:cNvSpPr>
          <p:nvPr userDrawn="1"/>
        </p:nvSpPr>
        <p:spPr>
          <a:xfrm>
            <a:off x="7594021" y="0"/>
            <a:ext cx="1926945" cy="6459038"/>
          </a:xfrm>
          <a:custGeom>
            <a:avLst/>
            <a:gdLst>
              <a:gd name="connsiteX0" fmla="*/ 1215570 w 1926945"/>
              <a:gd name="connsiteY0" fmla="*/ 0 h 6459038"/>
              <a:gd name="connsiteX1" fmla="*/ 396914 w 1926945"/>
              <a:gd name="connsiteY1" fmla="*/ 5502156 h 6459038"/>
              <a:gd name="connsiteX2" fmla="*/ 420148 w 1926945"/>
              <a:gd name="connsiteY2" fmla="*/ 5558753 h 6459038"/>
              <a:gd name="connsiteX3" fmla="*/ 432155 w 1926945"/>
              <a:gd name="connsiteY3" fmla="*/ 5587377 h 6459038"/>
              <a:gd name="connsiteX4" fmla="*/ 440203 w 1926945"/>
              <a:gd name="connsiteY4" fmla="*/ 5596875 h 6459038"/>
              <a:gd name="connsiteX5" fmla="*/ 492837 w 1926945"/>
              <a:gd name="connsiteY5" fmla="*/ 5633436 h 6459038"/>
              <a:gd name="connsiteX6" fmla="*/ 525742 w 1926945"/>
              <a:gd name="connsiteY6" fmla="*/ 5640331 h 6459038"/>
              <a:gd name="connsiteX7" fmla="*/ 610242 w 1926945"/>
              <a:gd name="connsiteY7" fmla="*/ 5611577 h 6459038"/>
              <a:gd name="connsiteX8" fmla="*/ 639318 w 1926945"/>
              <a:gd name="connsiteY8" fmla="*/ 5481404 h 6459038"/>
              <a:gd name="connsiteX9" fmla="*/ 767042 w 1926945"/>
              <a:gd name="connsiteY9" fmla="*/ 1582249 h 6459038"/>
              <a:gd name="connsiteX10" fmla="*/ 1926945 w 1926945"/>
              <a:gd name="connsiteY10" fmla="*/ 0 h 6459038"/>
              <a:gd name="connsiteX11" fmla="*/ 1215570 w 1926945"/>
              <a:gd name="connsiteY11" fmla="*/ 0 h 6459038"/>
              <a:gd name="connsiteX12" fmla="*/ 1095504 w 1926945"/>
              <a:gd name="connsiteY12" fmla="*/ 6179501 h 6459038"/>
              <a:gd name="connsiteX13" fmla="*/ 732969 w 1926945"/>
              <a:gd name="connsiteY13" fmla="*/ 5966123 h 6459038"/>
              <a:gd name="connsiteX14" fmla="*/ 789433 w 1926945"/>
              <a:gd name="connsiteY14" fmla="*/ 6327759 h 6459038"/>
              <a:gd name="connsiteX15" fmla="*/ 1082524 w 1926945"/>
              <a:gd name="connsiteY15" fmla="*/ 6428073 h 6459038"/>
              <a:gd name="connsiteX16" fmla="*/ 1095504 w 1926945"/>
              <a:gd name="connsiteY16" fmla="*/ 6179501 h 645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6945" h="6459038">
                <a:moveTo>
                  <a:pt x="1215570" y="0"/>
                </a:moveTo>
                <a:cubicBezTo>
                  <a:pt x="2189" y="1519862"/>
                  <a:pt x="-364305" y="3650388"/>
                  <a:pt x="396914" y="5502156"/>
                </a:cubicBezTo>
                <a:cubicBezTo>
                  <a:pt x="404443" y="5521087"/>
                  <a:pt x="412295" y="5539888"/>
                  <a:pt x="420148" y="5558753"/>
                </a:cubicBezTo>
                <a:lnTo>
                  <a:pt x="432155" y="5587377"/>
                </a:lnTo>
                <a:lnTo>
                  <a:pt x="440203" y="5596875"/>
                </a:lnTo>
                <a:cubicBezTo>
                  <a:pt x="454351" y="5613594"/>
                  <a:pt x="472653" y="5626150"/>
                  <a:pt x="492837" y="5633436"/>
                </a:cubicBezTo>
                <a:cubicBezTo>
                  <a:pt x="503351" y="5637274"/>
                  <a:pt x="514449" y="5639615"/>
                  <a:pt x="525742" y="5640331"/>
                </a:cubicBezTo>
                <a:cubicBezTo>
                  <a:pt x="556959" y="5642413"/>
                  <a:pt x="587722" y="5631939"/>
                  <a:pt x="610242" y="5611577"/>
                </a:cubicBezTo>
                <a:cubicBezTo>
                  <a:pt x="645029" y="5579961"/>
                  <a:pt x="656711" y="5529674"/>
                  <a:pt x="639318" y="5481404"/>
                </a:cubicBezTo>
                <a:cubicBezTo>
                  <a:pt x="139194" y="4198730"/>
                  <a:pt x="184559" y="2814051"/>
                  <a:pt x="767042" y="1582249"/>
                </a:cubicBezTo>
                <a:cubicBezTo>
                  <a:pt x="1049489" y="985051"/>
                  <a:pt x="1443695" y="450566"/>
                  <a:pt x="1926945" y="0"/>
                </a:cubicBezTo>
                <a:lnTo>
                  <a:pt x="1215570" y="0"/>
                </a:lnTo>
                <a:close/>
                <a:moveTo>
                  <a:pt x="1095504" y="6179501"/>
                </a:moveTo>
                <a:cubicBezTo>
                  <a:pt x="1037093" y="6109372"/>
                  <a:pt x="782878" y="5942443"/>
                  <a:pt x="732969" y="5966123"/>
                </a:cubicBezTo>
                <a:cubicBezTo>
                  <a:pt x="682996" y="5989737"/>
                  <a:pt x="723688" y="6212483"/>
                  <a:pt x="789433" y="6327759"/>
                </a:cubicBezTo>
                <a:cubicBezTo>
                  <a:pt x="834733" y="6407125"/>
                  <a:pt x="984199" y="6512058"/>
                  <a:pt x="1082524" y="6428073"/>
                </a:cubicBezTo>
                <a:cubicBezTo>
                  <a:pt x="1180848" y="6344153"/>
                  <a:pt x="1153914" y="6249694"/>
                  <a:pt x="1095504" y="6179501"/>
                </a:cubicBezTo>
                <a:close/>
              </a:path>
            </a:pathLst>
          </a:custGeom>
          <a:solidFill>
            <a:srgbClr val="47D985"/>
          </a:solidFill>
          <a:ln w="6478" cap="flat">
            <a:noFill/>
            <a:prstDash val="solid"/>
            <a:miter/>
          </a:ln>
        </p:spPr>
        <p:txBody>
          <a:bodyPr rtlCol="0" anchor="ctr"/>
          <a:lstStyle/>
          <a:p>
            <a:endParaRPr lang="en-GB" dirty="0"/>
          </a:p>
        </p:txBody>
      </p:sp>
      <p:sp>
        <p:nvSpPr>
          <p:cNvPr id="4" name="Graphic 2">
            <a:extLst>
              <a:ext uri="{FF2B5EF4-FFF2-40B4-BE49-F238E27FC236}">
                <a16:creationId xmlns:a16="http://schemas.microsoft.com/office/drawing/2014/main" id="{CDE21E4B-1432-D9A7-53E4-85842A5E0091}"/>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GB" dirty="0"/>
          </a:p>
        </p:txBody>
      </p:sp>
      <p:sp>
        <p:nvSpPr>
          <p:cNvPr id="6" name="Slide Number Placeholder 5">
            <a:extLst>
              <a:ext uri="{FF2B5EF4-FFF2-40B4-BE49-F238E27FC236}">
                <a16:creationId xmlns:a16="http://schemas.microsoft.com/office/drawing/2014/main" id="{01FC714D-3F96-E9D9-973F-82CD884B32D3}"/>
              </a:ext>
            </a:extLst>
          </p:cNvPr>
          <p:cNvSpPr>
            <a:spLocks noGrp="1"/>
          </p:cNvSpPr>
          <p:nvPr>
            <p:ph type="sldNum" sz="quarter" idx="19"/>
          </p:nvPr>
        </p:nvSpPr>
        <p:spPr/>
        <p:txBody>
          <a:bodyPr/>
          <a:lstStyle/>
          <a:p>
            <a:fld id="{0994303E-A424-9540-91A8-53B791C91E8F}" type="slidenum">
              <a:rPr lang="en-GB" smtClean="0"/>
              <a:pPr/>
              <a:t>‹#›</a:t>
            </a:fld>
            <a:endParaRPr lang="en-GB" dirty="0"/>
          </a:p>
        </p:txBody>
      </p:sp>
      <p:sp>
        <p:nvSpPr>
          <p:cNvPr id="7" name="Tijdelijke aanduiding voor afbeelding 6">
            <a:extLst>
              <a:ext uri="{FF2B5EF4-FFF2-40B4-BE49-F238E27FC236}">
                <a16:creationId xmlns:a16="http://schemas.microsoft.com/office/drawing/2014/main" id="{C4F83D16-54F9-6BEB-952E-032DD139E295}"/>
              </a:ext>
            </a:extLst>
          </p:cNvPr>
          <p:cNvSpPr>
            <a:spLocks noGrp="1"/>
          </p:cNvSpPr>
          <p:nvPr>
            <p:ph type="pic" sz="quarter" idx="20" hasCustomPrompt="1"/>
          </p:nvPr>
        </p:nvSpPr>
        <p:spPr>
          <a:xfrm>
            <a:off x="8220761" y="0"/>
            <a:ext cx="3982125" cy="6860682"/>
          </a:xfrm>
          <a:custGeom>
            <a:avLst/>
            <a:gdLst>
              <a:gd name="connsiteX0" fmla="*/ 1792436 w 3982125"/>
              <a:gd name="connsiteY0" fmla="*/ 0 h 6860682"/>
              <a:gd name="connsiteX1" fmla="*/ 3982125 w 3982125"/>
              <a:gd name="connsiteY1" fmla="*/ 0 h 6860682"/>
              <a:gd name="connsiteX2" fmla="*/ 3982125 w 3982125"/>
              <a:gd name="connsiteY2" fmla="*/ 6860682 h 6860682"/>
              <a:gd name="connsiteX3" fmla="*/ 1585041 w 3982125"/>
              <a:gd name="connsiteY3" fmla="*/ 6860682 h 6860682"/>
              <a:gd name="connsiteX4" fmla="*/ 243389 w 3982125"/>
              <a:gd name="connsiteY4" fmla="*/ 5161393 h 6860682"/>
              <a:gd name="connsiteX5" fmla="*/ 1792436 w 3982125"/>
              <a:gd name="connsiteY5" fmla="*/ 0 h 686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2125" h="6860682">
                <a:moveTo>
                  <a:pt x="1792436" y="0"/>
                </a:moveTo>
                <a:lnTo>
                  <a:pt x="3982125" y="0"/>
                </a:lnTo>
                <a:lnTo>
                  <a:pt x="3982125" y="6860682"/>
                </a:lnTo>
                <a:lnTo>
                  <a:pt x="1585041" y="6860682"/>
                </a:lnTo>
                <a:cubicBezTo>
                  <a:pt x="976954" y="6494907"/>
                  <a:pt x="492377" y="5932458"/>
                  <a:pt x="243389" y="5161393"/>
                </a:cubicBezTo>
                <a:cubicBezTo>
                  <a:pt x="-352570" y="3349919"/>
                  <a:pt x="139246" y="1030182"/>
                  <a:pt x="1792436" y="0"/>
                </a:cubicBezTo>
                <a:close/>
              </a:path>
            </a:pathLst>
          </a:custGeom>
          <a:ln>
            <a:noFill/>
          </a:ln>
        </p:spPr>
        <p:txBody>
          <a:bodyPr wrap="square" anchor="ctr">
            <a:noAutofit/>
          </a:bodyPr>
          <a:lstStyle>
            <a:lvl1pPr marL="0" indent="0" algn="ctr">
              <a:buNone/>
              <a:defRPr>
                <a:solidFill>
                  <a:srgbClr val="00625F"/>
                </a:solidFill>
              </a:defRPr>
            </a:lvl1pPr>
          </a:lstStyle>
          <a:p>
            <a:r>
              <a:rPr lang="en-GB" dirty="0"/>
              <a:t>Click icon to add picture</a:t>
            </a:r>
          </a:p>
        </p:txBody>
      </p:sp>
    </p:spTree>
    <p:extLst>
      <p:ext uri="{BB962C8B-B14F-4D97-AF65-F5344CB8AC3E}">
        <p14:creationId xmlns:p14="http://schemas.microsoft.com/office/powerpoint/2010/main" val="3340280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ntent Right Image (Whit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3" y="1215747"/>
            <a:ext cx="4769384" cy="1423941"/>
          </a:xfrm>
          <a:prstGeom prst="rect">
            <a:avLst/>
          </a:prstGeom>
        </p:spPr>
        <p:txBody>
          <a:bodyPr anchor="b" anchorCtr="0">
            <a:noAutofit/>
          </a:bodyPr>
          <a:lstStyle>
            <a:lvl1pPr marL="0" indent="0">
              <a:lnSpc>
                <a:spcPct val="90000"/>
              </a:lnSpc>
              <a:buNone/>
              <a:defRPr sz="4000" b="1">
                <a:solidFill>
                  <a:srgbClr val="00625F"/>
                </a:solidFill>
                <a:latin typeface="+mj-lt"/>
              </a:defRPr>
            </a:lvl1pPr>
          </a:lstStyle>
          <a:p>
            <a:pPr lvl="0"/>
            <a:r>
              <a:rPr lang="en-GB" dirty="0"/>
              <a:t>A captivating headline</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3" y="2832189"/>
            <a:ext cx="4769384" cy="2973300"/>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 name="Graphic 8">
            <a:extLst>
              <a:ext uri="{FF2B5EF4-FFF2-40B4-BE49-F238E27FC236}">
                <a16:creationId xmlns:a16="http://schemas.microsoft.com/office/drawing/2014/main" id="{13C6ED88-473F-97CE-5D8A-37949B6269B5}"/>
              </a:ext>
            </a:extLst>
          </p:cNvPr>
          <p:cNvSpPr>
            <a:spLocks noChangeAspect="1"/>
          </p:cNvSpPr>
          <p:nvPr userDrawn="1"/>
        </p:nvSpPr>
        <p:spPr>
          <a:xfrm>
            <a:off x="6229995" y="0"/>
            <a:ext cx="1926945" cy="6459038"/>
          </a:xfrm>
          <a:custGeom>
            <a:avLst/>
            <a:gdLst>
              <a:gd name="connsiteX0" fmla="*/ 1215570 w 1926945"/>
              <a:gd name="connsiteY0" fmla="*/ 0 h 6459038"/>
              <a:gd name="connsiteX1" fmla="*/ 396914 w 1926945"/>
              <a:gd name="connsiteY1" fmla="*/ 5502156 h 6459038"/>
              <a:gd name="connsiteX2" fmla="*/ 420148 w 1926945"/>
              <a:gd name="connsiteY2" fmla="*/ 5558753 h 6459038"/>
              <a:gd name="connsiteX3" fmla="*/ 432155 w 1926945"/>
              <a:gd name="connsiteY3" fmla="*/ 5587377 h 6459038"/>
              <a:gd name="connsiteX4" fmla="*/ 440203 w 1926945"/>
              <a:gd name="connsiteY4" fmla="*/ 5596875 h 6459038"/>
              <a:gd name="connsiteX5" fmla="*/ 492837 w 1926945"/>
              <a:gd name="connsiteY5" fmla="*/ 5633436 h 6459038"/>
              <a:gd name="connsiteX6" fmla="*/ 525742 w 1926945"/>
              <a:gd name="connsiteY6" fmla="*/ 5640331 h 6459038"/>
              <a:gd name="connsiteX7" fmla="*/ 610242 w 1926945"/>
              <a:gd name="connsiteY7" fmla="*/ 5611577 h 6459038"/>
              <a:gd name="connsiteX8" fmla="*/ 639318 w 1926945"/>
              <a:gd name="connsiteY8" fmla="*/ 5481404 h 6459038"/>
              <a:gd name="connsiteX9" fmla="*/ 767042 w 1926945"/>
              <a:gd name="connsiteY9" fmla="*/ 1582249 h 6459038"/>
              <a:gd name="connsiteX10" fmla="*/ 1926945 w 1926945"/>
              <a:gd name="connsiteY10" fmla="*/ 0 h 6459038"/>
              <a:gd name="connsiteX11" fmla="*/ 1215570 w 1926945"/>
              <a:gd name="connsiteY11" fmla="*/ 0 h 6459038"/>
              <a:gd name="connsiteX12" fmla="*/ 1095504 w 1926945"/>
              <a:gd name="connsiteY12" fmla="*/ 6179501 h 6459038"/>
              <a:gd name="connsiteX13" fmla="*/ 732969 w 1926945"/>
              <a:gd name="connsiteY13" fmla="*/ 5966123 h 6459038"/>
              <a:gd name="connsiteX14" fmla="*/ 789433 w 1926945"/>
              <a:gd name="connsiteY14" fmla="*/ 6327759 h 6459038"/>
              <a:gd name="connsiteX15" fmla="*/ 1082524 w 1926945"/>
              <a:gd name="connsiteY15" fmla="*/ 6428073 h 6459038"/>
              <a:gd name="connsiteX16" fmla="*/ 1095504 w 1926945"/>
              <a:gd name="connsiteY16" fmla="*/ 6179501 h 645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26945" h="6459038">
                <a:moveTo>
                  <a:pt x="1215570" y="0"/>
                </a:moveTo>
                <a:cubicBezTo>
                  <a:pt x="2189" y="1519862"/>
                  <a:pt x="-364305" y="3650388"/>
                  <a:pt x="396914" y="5502156"/>
                </a:cubicBezTo>
                <a:cubicBezTo>
                  <a:pt x="404443" y="5521087"/>
                  <a:pt x="412295" y="5539888"/>
                  <a:pt x="420148" y="5558753"/>
                </a:cubicBezTo>
                <a:lnTo>
                  <a:pt x="432155" y="5587377"/>
                </a:lnTo>
                <a:lnTo>
                  <a:pt x="440203" y="5596875"/>
                </a:lnTo>
                <a:cubicBezTo>
                  <a:pt x="454351" y="5613594"/>
                  <a:pt x="472653" y="5626150"/>
                  <a:pt x="492837" y="5633436"/>
                </a:cubicBezTo>
                <a:cubicBezTo>
                  <a:pt x="503351" y="5637274"/>
                  <a:pt x="514449" y="5639615"/>
                  <a:pt x="525742" y="5640331"/>
                </a:cubicBezTo>
                <a:cubicBezTo>
                  <a:pt x="556959" y="5642413"/>
                  <a:pt x="587722" y="5631939"/>
                  <a:pt x="610242" y="5611577"/>
                </a:cubicBezTo>
                <a:cubicBezTo>
                  <a:pt x="645029" y="5579961"/>
                  <a:pt x="656711" y="5529674"/>
                  <a:pt x="639318" y="5481404"/>
                </a:cubicBezTo>
                <a:cubicBezTo>
                  <a:pt x="139194" y="4198730"/>
                  <a:pt x="184559" y="2814051"/>
                  <a:pt x="767042" y="1582249"/>
                </a:cubicBezTo>
                <a:cubicBezTo>
                  <a:pt x="1049489" y="985051"/>
                  <a:pt x="1443695" y="450566"/>
                  <a:pt x="1926945" y="0"/>
                </a:cubicBezTo>
                <a:lnTo>
                  <a:pt x="1215570" y="0"/>
                </a:lnTo>
                <a:close/>
                <a:moveTo>
                  <a:pt x="1095504" y="6179501"/>
                </a:moveTo>
                <a:cubicBezTo>
                  <a:pt x="1037093" y="6109372"/>
                  <a:pt x="782878" y="5942443"/>
                  <a:pt x="732969" y="5966123"/>
                </a:cubicBezTo>
                <a:cubicBezTo>
                  <a:pt x="682996" y="5989737"/>
                  <a:pt x="723688" y="6212483"/>
                  <a:pt x="789433" y="6327759"/>
                </a:cubicBezTo>
                <a:cubicBezTo>
                  <a:pt x="834733" y="6407125"/>
                  <a:pt x="984199" y="6512058"/>
                  <a:pt x="1082524" y="6428073"/>
                </a:cubicBezTo>
                <a:cubicBezTo>
                  <a:pt x="1180848" y="6344153"/>
                  <a:pt x="1153914" y="6249694"/>
                  <a:pt x="1095504" y="6179501"/>
                </a:cubicBezTo>
                <a:close/>
              </a:path>
            </a:pathLst>
          </a:custGeom>
          <a:solidFill>
            <a:srgbClr val="47D985"/>
          </a:solidFill>
          <a:ln w="6478" cap="flat">
            <a:noFill/>
            <a:prstDash val="solid"/>
            <a:miter/>
          </a:ln>
        </p:spPr>
        <p:txBody>
          <a:bodyPr rtlCol="0" anchor="ctr"/>
          <a:lstStyle/>
          <a:p>
            <a:endParaRPr lang="en-GB" dirty="0"/>
          </a:p>
        </p:txBody>
      </p:sp>
      <p:sp>
        <p:nvSpPr>
          <p:cNvPr id="4" name="Graphic 2">
            <a:extLst>
              <a:ext uri="{FF2B5EF4-FFF2-40B4-BE49-F238E27FC236}">
                <a16:creationId xmlns:a16="http://schemas.microsoft.com/office/drawing/2014/main" id="{CDE21E4B-1432-D9A7-53E4-85842A5E0091}"/>
              </a:ext>
            </a:extLst>
          </p:cNvPr>
          <p:cNvSpPr>
            <a:spLocks noChangeAspect="1"/>
          </p:cNvSpPr>
          <p:nvPr userDrawn="1"/>
        </p:nvSpPr>
        <p:spPr>
          <a:xfrm>
            <a:off x="11707563" y="112794"/>
            <a:ext cx="307976" cy="308635"/>
          </a:xfrm>
          <a:custGeom>
            <a:avLst/>
            <a:gdLst>
              <a:gd name="connsiteX0" fmla="*/ 1633956 w 7877814"/>
              <a:gd name="connsiteY0" fmla="*/ 6842469 h 7894663"/>
              <a:gd name="connsiteX1" fmla="*/ 1685582 w 7877814"/>
              <a:gd name="connsiteY1" fmla="*/ 7013474 h 7894663"/>
              <a:gd name="connsiteX2" fmla="*/ 1462760 w 7877814"/>
              <a:gd name="connsiteY2" fmla="*/ 7017093 h 7894663"/>
              <a:gd name="connsiteX3" fmla="*/ 1336586 w 7877814"/>
              <a:gd name="connsiteY3" fmla="*/ 6786652 h 7894663"/>
              <a:gd name="connsiteX4" fmla="*/ 1633956 w 7877814"/>
              <a:gd name="connsiteY4" fmla="*/ 6842469 h 7894663"/>
              <a:gd name="connsiteX5" fmla="*/ 5700814 w 7877814"/>
              <a:gd name="connsiteY5" fmla="*/ 3781768 h 7894663"/>
              <a:gd name="connsiteX6" fmla="*/ 5549430 w 7877814"/>
              <a:gd name="connsiteY6" fmla="*/ 4357015 h 7894663"/>
              <a:gd name="connsiteX7" fmla="*/ 4782604 w 7877814"/>
              <a:gd name="connsiteY7" fmla="*/ 4800880 h 7894663"/>
              <a:gd name="connsiteX8" fmla="*/ 4590135 w 7877814"/>
              <a:gd name="connsiteY8" fmla="*/ 4821009 h 7894663"/>
              <a:gd name="connsiteX9" fmla="*/ 3790480 w 7877814"/>
              <a:gd name="connsiteY9" fmla="*/ 4330916 h 7894663"/>
              <a:gd name="connsiteX10" fmla="*/ 4238663 w 7877814"/>
              <a:gd name="connsiteY10" fmla="*/ 2991193 h 7894663"/>
              <a:gd name="connsiteX11" fmla="*/ 5140172 w 7877814"/>
              <a:gd name="connsiteY11" fmla="*/ 3049042 h 7894663"/>
              <a:gd name="connsiteX12" fmla="*/ 5700687 w 7877814"/>
              <a:gd name="connsiteY12" fmla="*/ 3780752 h 7894663"/>
              <a:gd name="connsiteX13" fmla="*/ 5700814 w 7877814"/>
              <a:gd name="connsiteY13" fmla="*/ 3781768 h 7894663"/>
              <a:gd name="connsiteX14" fmla="*/ 5426684 w 7877814"/>
              <a:gd name="connsiteY14" fmla="*/ 3824948 h 7894663"/>
              <a:gd name="connsiteX15" fmla="*/ 4826482 w 7877814"/>
              <a:gd name="connsiteY15" fmla="*/ 3248686 h 7894663"/>
              <a:gd name="connsiteX16" fmla="*/ 4648365 w 7877814"/>
              <a:gd name="connsiteY16" fmla="*/ 3226842 h 7894663"/>
              <a:gd name="connsiteX17" fmla="*/ 4195991 w 7877814"/>
              <a:gd name="connsiteY17" fmla="*/ 3445980 h 7894663"/>
              <a:gd name="connsiteX18" fmla="*/ 4111980 w 7877814"/>
              <a:gd name="connsiteY18" fmla="*/ 4197566 h 7894663"/>
              <a:gd name="connsiteX19" fmla="*/ 4600296 w 7877814"/>
              <a:gd name="connsiteY19" fmla="*/ 4497858 h 7894663"/>
              <a:gd name="connsiteX20" fmla="*/ 5293207 w 7877814"/>
              <a:gd name="connsiteY20" fmla="*/ 4222966 h 7894663"/>
              <a:gd name="connsiteX21" fmla="*/ 5426684 w 7877814"/>
              <a:gd name="connsiteY21" fmla="*/ 3824948 h 7894663"/>
              <a:gd name="connsiteX22" fmla="*/ 5997486 w 7877814"/>
              <a:gd name="connsiteY22" fmla="*/ 3368320 h 7894663"/>
              <a:gd name="connsiteX23" fmla="*/ 5628932 w 7877814"/>
              <a:gd name="connsiteY23" fmla="*/ 5247158 h 7894663"/>
              <a:gd name="connsiteX24" fmla="*/ 4546892 w 7877814"/>
              <a:gd name="connsiteY24" fmla="*/ 5672481 h 7894663"/>
              <a:gd name="connsiteX25" fmla="*/ 4177703 w 7877814"/>
              <a:gd name="connsiteY25" fmla="*/ 5633175 h 7894663"/>
              <a:gd name="connsiteX26" fmla="*/ 2810611 w 7877814"/>
              <a:gd name="connsiteY26" fmla="*/ 4524465 h 7894663"/>
              <a:gd name="connsiteX27" fmla="*/ 2818231 w 7877814"/>
              <a:gd name="connsiteY27" fmla="*/ 3185186 h 7894663"/>
              <a:gd name="connsiteX28" fmla="*/ 3821912 w 7877814"/>
              <a:gd name="connsiteY28" fmla="*/ 2240369 h 7894663"/>
              <a:gd name="connsiteX29" fmla="*/ 5061305 w 7877814"/>
              <a:gd name="connsiteY29" fmla="*/ 2298472 h 7894663"/>
              <a:gd name="connsiteX30" fmla="*/ 5997486 w 7877814"/>
              <a:gd name="connsiteY30" fmla="*/ 3368320 h 7894663"/>
              <a:gd name="connsiteX31" fmla="*/ 5912777 w 7877814"/>
              <a:gd name="connsiteY31" fmla="*/ 3399498 h 7894663"/>
              <a:gd name="connsiteX32" fmla="*/ 5912523 w 7877814"/>
              <a:gd name="connsiteY32" fmla="*/ 3398736 h 7894663"/>
              <a:gd name="connsiteX33" fmla="*/ 4501108 w 7877814"/>
              <a:gd name="connsiteY33" fmla="*/ 2482050 h 7894663"/>
              <a:gd name="connsiteX34" fmla="*/ 4494314 w 7877814"/>
              <a:gd name="connsiteY34" fmla="*/ 2481987 h 7894663"/>
              <a:gd name="connsiteX35" fmla="*/ 3261207 w 7877814"/>
              <a:gd name="connsiteY35" fmla="*/ 3086951 h 7894663"/>
              <a:gd name="connsiteX36" fmla="*/ 3013240 w 7877814"/>
              <a:gd name="connsiteY36" fmla="*/ 4451821 h 7894663"/>
              <a:gd name="connsiteX37" fmla="*/ 3741966 w 7877814"/>
              <a:gd name="connsiteY37" fmla="*/ 5315294 h 7894663"/>
              <a:gd name="connsiteX38" fmla="*/ 4931575 w 7877814"/>
              <a:gd name="connsiteY38" fmla="*/ 5321072 h 7894663"/>
              <a:gd name="connsiteX39" fmla="*/ 5912777 w 7877814"/>
              <a:gd name="connsiteY39" fmla="*/ 3399498 h 7894663"/>
              <a:gd name="connsiteX40" fmla="*/ 4262602 w 7877814"/>
              <a:gd name="connsiteY40" fmla="*/ 6675146 h 7894663"/>
              <a:gd name="connsiteX41" fmla="*/ 3281464 w 7877814"/>
              <a:gd name="connsiteY41" fmla="*/ 6477216 h 7894663"/>
              <a:gd name="connsiteX42" fmla="*/ 1713458 w 7877814"/>
              <a:gd name="connsiteY42" fmla="*/ 2859304 h 7894663"/>
              <a:gd name="connsiteX43" fmla="*/ 3898938 w 7877814"/>
              <a:gd name="connsiteY43" fmla="*/ 1053046 h 7894663"/>
              <a:gd name="connsiteX44" fmla="*/ 6510439 w 7877814"/>
              <a:gd name="connsiteY44" fmla="*/ 2126768 h 7894663"/>
              <a:gd name="connsiteX45" fmla="*/ 6815112 w 7877814"/>
              <a:gd name="connsiteY45" fmla="*/ 4833265 h 7894663"/>
              <a:gd name="connsiteX46" fmla="*/ 5273141 w 7877814"/>
              <a:gd name="connsiteY46" fmla="*/ 6465025 h 7894663"/>
              <a:gd name="connsiteX47" fmla="*/ 4262602 w 7877814"/>
              <a:gd name="connsiteY47" fmla="*/ 6675146 h 7894663"/>
              <a:gd name="connsiteX48" fmla="*/ 6733705 w 7877814"/>
              <a:gd name="connsiteY48" fmla="*/ 4801388 h 7894663"/>
              <a:gd name="connsiteX49" fmla="*/ 6350737 w 7877814"/>
              <a:gd name="connsiteY49" fmla="*/ 2408771 h 7894663"/>
              <a:gd name="connsiteX50" fmla="*/ 4279874 w 7877814"/>
              <a:gd name="connsiteY50" fmla="*/ 1368959 h 7894663"/>
              <a:gd name="connsiteX51" fmla="*/ 3964025 w 7877814"/>
              <a:gd name="connsiteY51" fmla="*/ 1388136 h 7894663"/>
              <a:gd name="connsiteX52" fmla="*/ 1909165 w 7877814"/>
              <a:gd name="connsiteY52" fmla="*/ 2935631 h 7894663"/>
              <a:gd name="connsiteX53" fmla="*/ 2529052 w 7877814"/>
              <a:gd name="connsiteY53" fmla="*/ 5708422 h 7894663"/>
              <a:gd name="connsiteX54" fmla="*/ 5001679 w 7877814"/>
              <a:gd name="connsiteY54" fmla="*/ 6283859 h 7894663"/>
              <a:gd name="connsiteX55" fmla="*/ 6733578 w 7877814"/>
              <a:gd name="connsiteY55" fmla="*/ 4801833 h 7894663"/>
              <a:gd name="connsiteX56" fmla="*/ 6733705 w 7877814"/>
              <a:gd name="connsiteY56" fmla="*/ 4801388 h 7894663"/>
              <a:gd name="connsiteX57" fmla="*/ 294043 w 7877814"/>
              <a:gd name="connsiteY57" fmla="*/ 3817773 h 7894663"/>
              <a:gd name="connsiteX58" fmla="*/ 1613700 w 7877814"/>
              <a:gd name="connsiteY58" fmla="*/ 1293521 h 7894663"/>
              <a:gd name="connsiteX59" fmla="*/ 4274286 w 7877814"/>
              <a:gd name="connsiteY59" fmla="*/ 297587 h 7894663"/>
              <a:gd name="connsiteX60" fmla="*/ 6802475 w 7877814"/>
              <a:gd name="connsiteY60" fmla="*/ 1475829 h 7894663"/>
              <a:gd name="connsiteX61" fmla="*/ 6848513 w 7877814"/>
              <a:gd name="connsiteY61" fmla="*/ 1500531 h 7894663"/>
              <a:gd name="connsiteX62" fmla="*/ 6901154 w 7877814"/>
              <a:gd name="connsiteY62" fmla="*/ 1482751 h 7894663"/>
              <a:gd name="connsiteX63" fmla="*/ 6922046 w 7877814"/>
              <a:gd name="connsiteY63" fmla="*/ 1431887 h 7894663"/>
              <a:gd name="connsiteX64" fmla="*/ 6902869 w 7877814"/>
              <a:gd name="connsiteY64" fmla="*/ 1386358 h 7894663"/>
              <a:gd name="connsiteX65" fmla="*/ 3796639 w 7877814"/>
              <a:gd name="connsiteY65" fmla="*/ 1296 h 7894663"/>
              <a:gd name="connsiteX66" fmla="*/ 802551 w 7877814"/>
              <a:gd name="connsiteY66" fmla="*/ 1540091 h 7894663"/>
              <a:gd name="connsiteX67" fmla="*/ 996416 w 7877814"/>
              <a:gd name="connsiteY67" fmla="*/ 6555258 h 7894663"/>
              <a:gd name="connsiteX68" fmla="*/ 1025880 w 7877814"/>
              <a:gd name="connsiteY68" fmla="*/ 6587770 h 7894663"/>
              <a:gd name="connsiteX69" fmla="*/ 1040930 w 7877814"/>
              <a:gd name="connsiteY69" fmla="*/ 6604216 h 7894663"/>
              <a:gd name="connsiteX70" fmla="*/ 1048677 w 7877814"/>
              <a:gd name="connsiteY70" fmla="*/ 6608725 h 7894663"/>
              <a:gd name="connsiteX71" fmla="*/ 1093190 w 7877814"/>
              <a:gd name="connsiteY71" fmla="*/ 6620600 h 7894663"/>
              <a:gd name="connsiteX72" fmla="*/ 1117130 w 7877814"/>
              <a:gd name="connsiteY72" fmla="*/ 6617234 h 7894663"/>
              <a:gd name="connsiteX73" fmla="*/ 1167358 w 7877814"/>
              <a:gd name="connsiteY73" fmla="*/ 6577229 h 7894663"/>
              <a:gd name="connsiteX74" fmla="*/ 1155420 w 7877814"/>
              <a:gd name="connsiteY74" fmla="*/ 6482233 h 7894663"/>
              <a:gd name="connsiteX75" fmla="*/ 294043 w 7877814"/>
              <a:gd name="connsiteY75" fmla="*/ 3817773 h 7894663"/>
              <a:gd name="connsiteX76" fmla="*/ 7870673 w 7877814"/>
              <a:gd name="connsiteY76" fmla="*/ 3766973 h 7894663"/>
              <a:gd name="connsiteX77" fmla="*/ 7868132 w 7877814"/>
              <a:gd name="connsiteY77" fmla="*/ 3753257 h 7894663"/>
              <a:gd name="connsiteX78" fmla="*/ 7787234 w 7877814"/>
              <a:gd name="connsiteY78" fmla="*/ 3692487 h 7894663"/>
              <a:gd name="connsiteX79" fmla="*/ 7727798 w 7877814"/>
              <a:gd name="connsiteY79" fmla="*/ 3723666 h 7894663"/>
              <a:gd name="connsiteX80" fmla="*/ 7709891 w 7877814"/>
              <a:gd name="connsiteY80" fmla="*/ 3790595 h 7894663"/>
              <a:gd name="connsiteX81" fmla="*/ 7215162 w 7877814"/>
              <a:gd name="connsiteY81" fmla="*/ 5777129 h 7894663"/>
              <a:gd name="connsiteX82" fmla="*/ 4171670 w 7877814"/>
              <a:gd name="connsiteY82" fmla="*/ 7712228 h 7894663"/>
              <a:gd name="connsiteX83" fmla="*/ 4090454 w 7877814"/>
              <a:gd name="connsiteY83" fmla="*/ 7812939 h 7894663"/>
              <a:gd name="connsiteX84" fmla="*/ 4166336 w 7877814"/>
              <a:gd name="connsiteY84" fmla="*/ 7893457 h 7894663"/>
              <a:gd name="connsiteX85" fmla="*/ 4172877 w 7877814"/>
              <a:gd name="connsiteY85" fmla="*/ 7894664 h 7894663"/>
              <a:gd name="connsiteX86" fmla="*/ 4179481 w 7877814"/>
              <a:gd name="connsiteY86" fmla="*/ 7894346 h 7894663"/>
              <a:gd name="connsiteX87" fmla="*/ 4463643 w 7877814"/>
              <a:gd name="connsiteY87" fmla="*/ 7870406 h 7894663"/>
              <a:gd name="connsiteX88" fmla="*/ 7021614 w 7877814"/>
              <a:gd name="connsiteY88" fmla="*/ 6456515 h 7894663"/>
              <a:gd name="connsiteX89" fmla="*/ 7870673 w 7877814"/>
              <a:gd name="connsiteY89" fmla="*/ 3766973 h 7894663"/>
              <a:gd name="connsiteX90" fmla="*/ 7857592 w 7877814"/>
              <a:gd name="connsiteY90" fmla="*/ 3279293 h 7894663"/>
              <a:gd name="connsiteX91" fmla="*/ 7673378 w 7877814"/>
              <a:gd name="connsiteY91" fmla="*/ 2437219 h 7894663"/>
              <a:gd name="connsiteX92" fmla="*/ 7491578 w 7877814"/>
              <a:gd name="connsiteY92" fmla="*/ 2365401 h 7894663"/>
              <a:gd name="connsiteX93" fmla="*/ 7486180 w 7877814"/>
              <a:gd name="connsiteY93" fmla="*/ 2613432 h 7894663"/>
              <a:gd name="connsiteX94" fmla="*/ 7691920 w 7877814"/>
              <a:gd name="connsiteY94" fmla="*/ 3261005 h 7894663"/>
              <a:gd name="connsiteX95" fmla="*/ 7782535 w 7877814"/>
              <a:gd name="connsiteY95" fmla="*/ 3360319 h 7894663"/>
              <a:gd name="connsiteX96" fmla="*/ 7857592 w 7877814"/>
              <a:gd name="connsiteY96" fmla="*/ 3279293 h 789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7814" h="7894663">
                <a:moveTo>
                  <a:pt x="1633956" y="6842469"/>
                </a:moveTo>
                <a:cubicBezTo>
                  <a:pt x="1690535" y="6875615"/>
                  <a:pt x="1731746" y="6932829"/>
                  <a:pt x="1685582" y="7013474"/>
                </a:cubicBezTo>
                <a:cubicBezTo>
                  <a:pt x="1639417" y="7094119"/>
                  <a:pt x="1512735" y="7059702"/>
                  <a:pt x="1462760" y="7017093"/>
                </a:cubicBezTo>
                <a:cubicBezTo>
                  <a:pt x="1390180" y="6955308"/>
                  <a:pt x="1308519" y="6814783"/>
                  <a:pt x="1336586" y="6786652"/>
                </a:cubicBezTo>
                <a:cubicBezTo>
                  <a:pt x="1364716" y="6758521"/>
                  <a:pt x="1577378" y="6809321"/>
                  <a:pt x="1633956" y="6842469"/>
                </a:cubicBezTo>
                <a:close/>
                <a:moveTo>
                  <a:pt x="5700814" y="3781768"/>
                </a:moveTo>
                <a:cubicBezTo>
                  <a:pt x="5731231" y="3983635"/>
                  <a:pt x="5678843" y="4182580"/>
                  <a:pt x="5549430" y="4357015"/>
                </a:cubicBezTo>
                <a:cubicBezTo>
                  <a:pt x="5378424" y="4587457"/>
                  <a:pt x="5084610" y="4757509"/>
                  <a:pt x="4782604" y="4800880"/>
                </a:cubicBezTo>
                <a:cubicBezTo>
                  <a:pt x="4720818" y="4814278"/>
                  <a:pt x="4655985" y="4821009"/>
                  <a:pt x="4590135" y="4821009"/>
                </a:cubicBezTo>
                <a:cubicBezTo>
                  <a:pt x="4267047" y="4821009"/>
                  <a:pt x="3919512" y="4659211"/>
                  <a:pt x="3790480" y="4330916"/>
                </a:cubicBezTo>
                <a:cubicBezTo>
                  <a:pt x="3600424" y="3869906"/>
                  <a:pt x="3735044" y="3221254"/>
                  <a:pt x="4238663" y="2991193"/>
                </a:cubicBezTo>
                <a:cubicBezTo>
                  <a:pt x="4519206" y="2871686"/>
                  <a:pt x="4847564" y="2892768"/>
                  <a:pt x="5140172" y="3049042"/>
                </a:cubicBezTo>
                <a:cubicBezTo>
                  <a:pt x="5437860" y="3207919"/>
                  <a:pt x="5642140" y="3474682"/>
                  <a:pt x="5700687" y="3780752"/>
                </a:cubicBezTo>
                <a:lnTo>
                  <a:pt x="5700814" y="3781768"/>
                </a:lnTo>
                <a:close/>
                <a:moveTo>
                  <a:pt x="5426684" y="3824948"/>
                </a:moveTo>
                <a:cubicBezTo>
                  <a:pt x="5379187" y="3558820"/>
                  <a:pt x="5132489" y="3321838"/>
                  <a:pt x="4826482" y="3248686"/>
                </a:cubicBezTo>
                <a:cubicBezTo>
                  <a:pt x="4765205" y="3234017"/>
                  <a:pt x="4705515" y="3226842"/>
                  <a:pt x="4648365" y="3226842"/>
                </a:cubicBezTo>
                <a:cubicBezTo>
                  <a:pt x="4463008" y="3226842"/>
                  <a:pt x="4303496" y="3302661"/>
                  <a:pt x="4195991" y="3445980"/>
                </a:cubicBezTo>
                <a:cubicBezTo>
                  <a:pt x="4051084" y="3642259"/>
                  <a:pt x="4016476" y="3951377"/>
                  <a:pt x="4111980" y="4197566"/>
                </a:cubicBezTo>
                <a:cubicBezTo>
                  <a:pt x="4180624" y="4376255"/>
                  <a:pt x="4372267" y="4494048"/>
                  <a:pt x="4600296" y="4497858"/>
                </a:cubicBezTo>
                <a:cubicBezTo>
                  <a:pt x="4857597" y="4505415"/>
                  <a:pt x="5136743" y="4394544"/>
                  <a:pt x="5293207" y="4222966"/>
                </a:cubicBezTo>
                <a:cubicBezTo>
                  <a:pt x="5397601" y="4108349"/>
                  <a:pt x="5443766" y="3970808"/>
                  <a:pt x="5426684" y="3824948"/>
                </a:cubicBezTo>
                <a:close/>
                <a:moveTo>
                  <a:pt x="5997486" y="3368320"/>
                </a:moveTo>
                <a:cubicBezTo>
                  <a:pt x="6205893" y="3938613"/>
                  <a:pt x="6172809" y="4740619"/>
                  <a:pt x="5628932" y="5247158"/>
                </a:cubicBezTo>
                <a:cubicBezTo>
                  <a:pt x="5337149" y="5525161"/>
                  <a:pt x="4955641" y="5672481"/>
                  <a:pt x="4546892" y="5672481"/>
                </a:cubicBezTo>
                <a:cubicBezTo>
                  <a:pt x="4425671" y="5672481"/>
                  <a:pt x="4302036" y="5659527"/>
                  <a:pt x="4177703" y="5633175"/>
                </a:cubicBezTo>
                <a:cubicBezTo>
                  <a:pt x="3564293" y="5503317"/>
                  <a:pt x="3040481" y="5078439"/>
                  <a:pt x="2810611" y="4524465"/>
                </a:cubicBezTo>
                <a:cubicBezTo>
                  <a:pt x="2626017" y="4110254"/>
                  <a:pt x="2628684" y="3621875"/>
                  <a:pt x="2818231" y="3185186"/>
                </a:cubicBezTo>
                <a:cubicBezTo>
                  <a:pt x="3012605" y="2737320"/>
                  <a:pt x="3378428" y="2392960"/>
                  <a:pt x="3821912" y="2240369"/>
                </a:cubicBezTo>
                <a:cubicBezTo>
                  <a:pt x="4240060" y="2091271"/>
                  <a:pt x="4668685" y="2111337"/>
                  <a:pt x="5061305" y="2298472"/>
                </a:cubicBezTo>
                <a:cubicBezTo>
                  <a:pt x="5487771" y="2501799"/>
                  <a:pt x="5828957" y="2891752"/>
                  <a:pt x="5997486" y="3368320"/>
                </a:cubicBezTo>
                <a:close/>
                <a:moveTo>
                  <a:pt x="5912777" y="3399498"/>
                </a:moveTo>
                <a:lnTo>
                  <a:pt x="5912523" y="3398736"/>
                </a:lnTo>
                <a:cubicBezTo>
                  <a:pt x="5721642" y="2853716"/>
                  <a:pt x="5139918" y="2475700"/>
                  <a:pt x="4501108" y="2482050"/>
                </a:cubicBezTo>
                <a:cubicBezTo>
                  <a:pt x="4498886" y="2481987"/>
                  <a:pt x="4496536" y="2481987"/>
                  <a:pt x="4494314" y="2481987"/>
                </a:cubicBezTo>
                <a:cubicBezTo>
                  <a:pt x="4001427" y="2481987"/>
                  <a:pt x="3552482" y="2702205"/>
                  <a:pt x="3261207" y="3086951"/>
                </a:cubicBezTo>
                <a:cubicBezTo>
                  <a:pt x="2967456" y="3474936"/>
                  <a:pt x="2877096" y="3972396"/>
                  <a:pt x="3013240" y="4451821"/>
                </a:cubicBezTo>
                <a:cubicBezTo>
                  <a:pt x="3127349" y="4841393"/>
                  <a:pt x="3386175" y="5148161"/>
                  <a:pt x="3741966" y="5315294"/>
                </a:cubicBezTo>
                <a:cubicBezTo>
                  <a:pt x="4108742" y="5487505"/>
                  <a:pt x="4542320" y="5489665"/>
                  <a:pt x="4931575" y="5321072"/>
                </a:cubicBezTo>
                <a:cubicBezTo>
                  <a:pt x="5634965" y="5040720"/>
                  <a:pt x="6210401" y="4182834"/>
                  <a:pt x="5912777" y="3399498"/>
                </a:cubicBezTo>
                <a:close/>
                <a:moveTo>
                  <a:pt x="4262602" y="6675146"/>
                </a:moveTo>
                <a:cubicBezTo>
                  <a:pt x="3930307" y="6675146"/>
                  <a:pt x="3598138" y="6609233"/>
                  <a:pt x="3281464" y="6477216"/>
                </a:cubicBezTo>
                <a:cubicBezTo>
                  <a:pt x="1930755" y="5919814"/>
                  <a:pt x="1212634" y="4262971"/>
                  <a:pt x="1713458" y="2859304"/>
                </a:cubicBezTo>
                <a:cubicBezTo>
                  <a:pt x="2049437" y="1884960"/>
                  <a:pt x="2866491" y="1209574"/>
                  <a:pt x="3898938" y="1053046"/>
                </a:cubicBezTo>
                <a:cubicBezTo>
                  <a:pt x="4927384" y="897217"/>
                  <a:pt x="5903633" y="1298474"/>
                  <a:pt x="6510439" y="2126768"/>
                </a:cubicBezTo>
                <a:cubicBezTo>
                  <a:pt x="7051713" y="2866352"/>
                  <a:pt x="7171284" y="3928707"/>
                  <a:pt x="6815112" y="4833265"/>
                </a:cubicBezTo>
                <a:cubicBezTo>
                  <a:pt x="6534061" y="5569611"/>
                  <a:pt x="5972022" y="6164415"/>
                  <a:pt x="5273141" y="6465025"/>
                </a:cubicBezTo>
                <a:cubicBezTo>
                  <a:pt x="4947640" y="6605042"/>
                  <a:pt x="4604994" y="6675146"/>
                  <a:pt x="4262602" y="6675146"/>
                </a:cubicBezTo>
                <a:close/>
                <a:moveTo>
                  <a:pt x="6733705" y="4801388"/>
                </a:moveTo>
                <a:cubicBezTo>
                  <a:pt x="7037934" y="4033673"/>
                  <a:pt x="6887629" y="3094444"/>
                  <a:pt x="6350737" y="2408771"/>
                </a:cubicBezTo>
                <a:cubicBezTo>
                  <a:pt x="5842927" y="1744180"/>
                  <a:pt x="5085626" y="1368959"/>
                  <a:pt x="4279874" y="1368959"/>
                </a:cubicBezTo>
                <a:cubicBezTo>
                  <a:pt x="4175226" y="1368959"/>
                  <a:pt x="4069880" y="1375309"/>
                  <a:pt x="3964025" y="1388136"/>
                </a:cubicBezTo>
                <a:cubicBezTo>
                  <a:pt x="3052102" y="1498753"/>
                  <a:pt x="2283942" y="2077238"/>
                  <a:pt x="1909165" y="2935631"/>
                </a:cubicBezTo>
                <a:cubicBezTo>
                  <a:pt x="1487779" y="3879812"/>
                  <a:pt x="1748510" y="5045800"/>
                  <a:pt x="2529052" y="5708422"/>
                </a:cubicBezTo>
                <a:cubicBezTo>
                  <a:pt x="3171101" y="6280811"/>
                  <a:pt x="4118267" y="6501092"/>
                  <a:pt x="5001679" y="6283859"/>
                </a:cubicBezTo>
                <a:cubicBezTo>
                  <a:pt x="5822607" y="6081929"/>
                  <a:pt x="6453860" y="5541798"/>
                  <a:pt x="6733578" y="4801833"/>
                </a:cubicBezTo>
                <a:lnTo>
                  <a:pt x="6733705" y="4801388"/>
                </a:lnTo>
                <a:close/>
                <a:moveTo>
                  <a:pt x="294043" y="3817773"/>
                </a:moveTo>
                <a:cubicBezTo>
                  <a:pt x="387515" y="2858605"/>
                  <a:pt x="856208" y="1962176"/>
                  <a:pt x="1613700" y="1293521"/>
                </a:cubicBezTo>
                <a:cubicBezTo>
                  <a:pt x="2369604" y="626199"/>
                  <a:pt x="3314103" y="271996"/>
                  <a:pt x="4274286" y="297587"/>
                </a:cubicBezTo>
                <a:cubicBezTo>
                  <a:pt x="5248694" y="322987"/>
                  <a:pt x="6146457" y="741388"/>
                  <a:pt x="6802475" y="1475829"/>
                </a:cubicBezTo>
                <a:cubicBezTo>
                  <a:pt x="6813906" y="1489863"/>
                  <a:pt x="6830415" y="1498753"/>
                  <a:pt x="6848513" y="1500531"/>
                </a:cubicBezTo>
                <a:cubicBezTo>
                  <a:pt x="6867817" y="1502499"/>
                  <a:pt x="6887185" y="1495895"/>
                  <a:pt x="6901154" y="1482751"/>
                </a:cubicBezTo>
                <a:cubicBezTo>
                  <a:pt x="6914998" y="1469670"/>
                  <a:pt x="6922617" y="1451128"/>
                  <a:pt x="6922046" y="1431887"/>
                </a:cubicBezTo>
                <a:cubicBezTo>
                  <a:pt x="6921538" y="1414742"/>
                  <a:pt x="6914617" y="1398550"/>
                  <a:pt x="6902869" y="1386358"/>
                </a:cubicBezTo>
                <a:cubicBezTo>
                  <a:pt x="6128106" y="475069"/>
                  <a:pt x="4996154" y="-29057"/>
                  <a:pt x="3796639" y="1296"/>
                </a:cubicBezTo>
                <a:cubicBezTo>
                  <a:pt x="2617698" y="31776"/>
                  <a:pt x="1526387" y="592671"/>
                  <a:pt x="802551" y="1540091"/>
                </a:cubicBezTo>
                <a:cubicBezTo>
                  <a:pt x="-337528" y="3019387"/>
                  <a:pt x="-254089" y="5175784"/>
                  <a:pt x="996416" y="6555258"/>
                </a:cubicBezTo>
                <a:cubicBezTo>
                  <a:pt x="1006068" y="6566244"/>
                  <a:pt x="1015974" y="6576975"/>
                  <a:pt x="1025880" y="6587770"/>
                </a:cubicBezTo>
                <a:lnTo>
                  <a:pt x="1040930" y="6604216"/>
                </a:lnTo>
                <a:lnTo>
                  <a:pt x="1048677" y="6608725"/>
                </a:lnTo>
                <a:cubicBezTo>
                  <a:pt x="1062329" y="6616535"/>
                  <a:pt x="1077760" y="6620600"/>
                  <a:pt x="1093190" y="6620600"/>
                </a:cubicBezTo>
                <a:cubicBezTo>
                  <a:pt x="1101255" y="6620600"/>
                  <a:pt x="1109383" y="6619520"/>
                  <a:pt x="1117130" y="6617234"/>
                </a:cubicBezTo>
                <a:cubicBezTo>
                  <a:pt x="1138783" y="6611011"/>
                  <a:pt x="1157071" y="6596470"/>
                  <a:pt x="1167358" y="6577229"/>
                </a:cubicBezTo>
                <a:cubicBezTo>
                  <a:pt x="1183233" y="6547384"/>
                  <a:pt x="1178915" y="6510554"/>
                  <a:pt x="1155420" y="6482233"/>
                </a:cubicBezTo>
                <a:cubicBezTo>
                  <a:pt x="505053" y="5737822"/>
                  <a:pt x="199174" y="4791546"/>
                  <a:pt x="294043" y="3817773"/>
                </a:cubicBezTo>
                <a:close/>
                <a:moveTo>
                  <a:pt x="7870673" y="3766973"/>
                </a:moveTo>
                <a:lnTo>
                  <a:pt x="7868132" y="3753257"/>
                </a:lnTo>
                <a:cubicBezTo>
                  <a:pt x="7856639" y="3716173"/>
                  <a:pt x="7823238" y="3690836"/>
                  <a:pt x="7787234" y="3692487"/>
                </a:cubicBezTo>
                <a:cubicBezTo>
                  <a:pt x="7764310" y="3693313"/>
                  <a:pt x="7742656" y="3704679"/>
                  <a:pt x="7727798" y="3723666"/>
                </a:cubicBezTo>
                <a:cubicBezTo>
                  <a:pt x="7713002" y="3742525"/>
                  <a:pt x="7706652" y="3766655"/>
                  <a:pt x="7709891" y="3790595"/>
                </a:cubicBezTo>
                <a:cubicBezTo>
                  <a:pt x="7730084" y="4495508"/>
                  <a:pt x="7559205" y="5182134"/>
                  <a:pt x="7215162" y="5777129"/>
                </a:cubicBezTo>
                <a:cubicBezTo>
                  <a:pt x="6587591" y="6893586"/>
                  <a:pt x="5451068" y="7616851"/>
                  <a:pt x="4171670" y="7712228"/>
                </a:cubicBezTo>
                <a:cubicBezTo>
                  <a:pt x="4121823" y="7718832"/>
                  <a:pt x="4085374" y="7763980"/>
                  <a:pt x="4090454" y="7812939"/>
                </a:cubicBezTo>
                <a:cubicBezTo>
                  <a:pt x="4094645" y="7852880"/>
                  <a:pt x="4125823" y="7885964"/>
                  <a:pt x="4166336" y="7893457"/>
                </a:cubicBezTo>
                <a:lnTo>
                  <a:pt x="4172877" y="7894664"/>
                </a:lnTo>
                <a:lnTo>
                  <a:pt x="4179481" y="7894346"/>
                </a:lnTo>
                <a:cubicBezTo>
                  <a:pt x="4275366" y="7889838"/>
                  <a:pt x="4371060" y="7881836"/>
                  <a:pt x="4463643" y="7870406"/>
                </a:cubicBezTo>
                <a:cubicBezTo>
                  <a:pt x="5484279" y="7747661"/>
                  <a:pt x="6392710" y="7245567"/>
                  <a:pt x="7021614" y="6456515"/>
                </a:cubicBezTo>
                <a:cubicBezTo>
                  <a:pt x="7627594" y="5696294"/>
                  <a:pt x="7929092" y="4741127"/>
                  <a:pt x="7870673" y="3766973"/>
                </a:cubicBezTo>
                <a:close/>
                <a:moveTo>
                  <a:pt x="7857592" y="3279293"/>
                </a:moveTo>
                <a:cubicBezTo>
                  <a:pt x="7891056" y="3143149"/>
                  <a:pt x="7842161" y="2638514"/>
                  <a:pt x="7673378" y="2437219"/>
                </a:cubicBezTo>
                <a:cubicBezTo>
                  <a:pt x="7621372" y="2375180"/>
                  <a:pt x="7560602" y="2323999"/>
                  <a:pt x="7491578" y="2365401"/>
                </a:cubicBezTo>
                <a:cubicBezTo>
                  <a:pt x="7399884" y="2420455"/>
                  <a:pt x="7418806" y="2520341"/>
                  <a:pt x="7486180" y="2613432"/>
                </a:cubicBezTo>
                <a:cubicBezTo>
                  <a:pt x="7599718" y="2770340"/>
                  <a:pt x="7686332" y="3124861"/>
                  <a:pt x="7691920" y="3261005"/>
                </a:cubicBezTo>
                <a:cubicBezTo>
                  <a:pt x="7694333" y="3319806"/>
                  <a:pt x="7734782" y="3359493"/>
                  <a:pt x="7782535" y="3360319"/>
                </a:cubicBezTo>
                <a:cubicBezTo>
                  <a:pt x="7830286" y="3361208"/>
                  <a:pt x="7843494" y="3336633"/>
                  <a:pt x="7857592" y="3279293"/>
                </a:cubicBezTo>
                <a:close/>
              </a:path>
            </a:pathLst>
          </a:custGeom>
          <a:solidFill>
            <a:schemeClr val="bg1"/>
          </a:solidFill>
          <a:ln w="6350" cap="flat">
            <a:noFill/>
            <a:prstDash val="solid"/>
            <a:miter/>
          </a:ln>
        </p:spPr>
        <p:txBody>
          <a:bodyPr rtlCol="0" anchor="ctr"/>
          <a:lstStyle/>
          <a:p>
            <a:endParaRPr lang="en-GB" dirty="0"/>
          </a:p>
        </p:txBody>
      </p:sp>
      <p:sp>
        <p:nvSpPr>
          <p:cNvPr id="6" name="Slide Number Placeholder 5">
            <a:extLst>
              <a:ext uri="{FF2B5EF4-FFF2-40B4-BE49-F238E27FC236}">
                <a16:creationId xmlns:a16="http://schemas.microsoft.com/office/drawing/2014/main" id="{01FC714D-3F96-E9D9-973F-82CD884B32D3}"/>
              </a:ext>
            </a:extLst>
          </p:cNvPr>
          <p:cNvSpPr>
            <a:spLocks noGrp="1"/>
          </p:cNvSpPr>
          <p:nvPr>
            <p:ph type="sldNum" sz="quarter" idx="19"/>
          </p:nvPr>
        </p:nvSpPr>
        <p:spPr/>
        <p:txBody>
          <a:bodyPr/>
          <a:lstStyle/>
          <a:p>
            <a:fld id="{0994303E-A424-9540-91A8-53B791C91E8F}" type="slidenum">
              <a:rPr lang="en-GB" smtClean="0"/>
              <a:pPr/>
              <a:t>‹#›</a:t>
            </a:fld>
            <a:endParaRPr lang="en-GB" dirty="0"/>
          </a:p>
        </p:txBody>
      </p:sp>
      <p:sp>
        <p:nvSpPr>
          <p:cNvPr id="2" name="Picture Placeholder 1">
            <a:extLst>
              <a:ext uri="{FF2B5EF4-FFF2-40B4-BE49-F238E27FC236}">
                <a16:creationId xmlns:a16="http://schemas.microsoft.com/office/drawing/2014/main" id="{4ABC17F7-377B-665A-95C9-E5869A89AFAA}"/>
              </a:ext>
            </a:extLst>
          </p:cNvPr>
          <p:cNvSpPr>
            <a:spLocks noGrp="1"/>
          </p:cNvSpPr>
          <p:nvPr>
            <p:ph type="pic" sz="quarter" idx="18" hasCustomPrompt="1"/>
          </p:nvPr>
        </p:nvSpPr>
        <p:spPr>
          <a:xfrm>
            <a:off x="6873225" y="0"/>
            <a:ext cx="5318775" cy="6860682"/>
          </a:xfrm>
          <a:custGeom>
            <a:avLst/>
            <a:gdLst>
              <a:gd name="connsiteX0" fmla="*/ 1792436 w 5318775"/>
              <a:gd name="connsiteY0" fmla="*/ 0 h 6860682"/>
              <a:gd name="connsiteX1" fmla="*/ 5318775 w 5318775"/>
              <a:gd name="connsiteY1" fmla="*/ 0 h 6860682"/>
              <a:gd name="connsiteX2" fmla="*/ 5318775 w 5318775"/>
              <a:gd name="connsiteY2" fmla="*/ 6860682 h 6860682"/>
              <a:gd name="connsiteX3" fmla="*/ 1585041 w 5318775"/>
              <a:gd name="connsiteY3" fmla="*/ 6860682 h 6860682"/>
              <a:gd name="connsiteX4" fmla="*/ 243389 w 5318775"/>
              <a:gd name="connsiteY4" fmla="*/ 5161393 h 6860682"/>
              <a:gd name="connsiteX5" fmla="*/ 1792436 w 5318775"/>
              <a:gd name="connsiteY5" fmla="*/ 0 h 686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8775" h="6860682">
                <a:moveTo>
                  <a:pt x="1792436" y="0"/>
                </a:moveTo>
                <a:lnTo>
                  <a:pt x="5318775" y="0"/>
                </a:lnTo>
                <a:lnTo>
                  <a:pt x="5318775" y="6860682"/>
                </a:lnTo>
                <a:lnTo>
                  <a:pt x="1585041" y="6860682"/>
                </a:lnTo>
                <a:cubicBezTo>
                  <a:pt x="976954" y="6494907"/>
                  <a:pt x="492377" y="5932458"/>
                  <a:pt x="243389" y="5161393"/>
                </a:cubicBezTo>
                <a:cubicBezTo>
                  <a:pt x="-352570" y="3349919"/>
                  <a:pt x="139246" y="1030182"/>
                  <a:pt x="1792436" y="0"/>
                </a:cubicBezTo>
                <a:close/>
              </a:path>
            </a:pathLst>
          </a:custGeom>
        </p:spPr>
        <p:txBody>
          <a:bodyPr wrap="square" anchor="ctr">
            <a:noAutofit/>
          </a:bodyPr>
          <a:lstStyle>
            <a:lvl1pPr marL="0" indent="0" algn="ctr">
              <a:buNone/>
              <a:defRPr>
                <a:solidFill>
                  <a:srgbClr val="00625F"/>
                </a:solidFill>
              </a:defRPr>
            </a:lvl1pPr>
          </a:lstStyle>
          <a:p>
            <a:r>
              <a:rPr lang="en-GB" dirty="0"/>
              <a:t>Click icon to add picture</a:t>
            </a:r>
          </a:p>
        </p:txBody>
      </p:sp>
    </p:spTree>
    <p:extLst>
      <p:ext uri="{BB962C8B-B14F-4D97-AF65-F5344CB8AC3E}">
        <p14:creationId xmlns:p14="http://schemas.microsoft.com/office/powerpoint/2010/main" val="2838925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ntent Basic, Large Header (White)">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84C7A87B-E30C-524E-29BB-1119FF17032A}"/>
              </a:ext>
            </a:extLst>
          </p:cNvPr>
          <p:cNvSpPr>
            <a:spLocks noGrp="1"/>
          </p:cNvSpPr>
          <p:nvPr>
            <p:ph type="body" sz="quarter" idx="16" hasCustomPrompt="1"/>
          </p:nvPr>
        </p:nvSpPr>
        <p:spPr>
          <a:xfrm>
            <a:off x="658813" y="549276"/>
            <a:ext cx="6456691" cy="2188454"/>
          </a:xfrm>
          <a:prstGeom prst="rect">
            <a:avLst/>
          </a:prstGeom>
        </p:spPr>
        <p:txBody>
          <a:bodyPr anchor="b" anchorCtr="0">
            <a:normAutofit/>
          </a:bodyPr>
          <a:lstStyle>
            <a:lvl1pPr marL="0" indent="0">
              <a:lnSpc>
                <a:spcPct val="90000"/>
              </a:lnSpc>
              <a:spcBef>
                <a:spcPts val="0"/>
              </a:spcBef>
              <a:buNone/>
              <a:defRPr sz="6500" b="1">
                <a:solidFill>
                  <a:srgbClr val="00625F"/>
                </a:solidFill>
                <a:latin typeface="+mj-lt"/>
              </a:defRPr>
            </a:lvl1pPr>
          </a:lstStyle>
          <a:p>
            <a:pPr lvl="0"/>
            <a:r>
              <a:rPr lang="en-GB" dirty="0"/>
              <a:t>A captivating headline</a:t>
            </a:r>
          </a:p>
        </p:txBody>
      </p:sp>
      <p:sp>
        <p:nvSpPr>
          <p:cNvPr id="8" name="Text Placeholder 11">
            <a:extLst>
              <a:ext uri="{FF2B5EF4-FFF2-40B4-BE49-F238E27FC236}">
                <a16:creationId xmlns:a16="http://schemas.microsoft.com/office/drawing/2014/main" id="{C725042C-B958-997F-66D1-C2F1AD4B4C48}"/>
              </a:ext>
            </a:extLst>
          </p:cNvPr>
          <p:cNvSpPr>
            <a:spLocks noGrp="1"/>
          </p:cNvSpPr>
          <p:nvPr>
            <p:ph type="body" sz="quarter" idx="17" hasCustomPrompt="1"/>
          </p:nvPr>
        </p:nvSpPr>
        <p:spPr>
          <a:xfrm>
            <a:off x="658813" y="3037011"/>
            <a:ext cx="5113337" cy="2768477"/>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3" name="Slide Number Placeholder 2">
            <a:extLst>
              <a:ext uri="{FF2B5EF4-FFF2-40B4-BE49-F238E27FC236}">
                <a16:creationId xmlns:a16="http://schemas.microsoft.com/office/drawing/2014/main" id="{16651DB9-E107-103C-3FC4-E329566CD2DF}"/>
              </a:ext>
            </a:extLst>
          </p:cNvPr>
          <p:cNvSpPr>
            <a:spLocks noGrp="1"/>
          </p:cNvSpPr>
          <p:nvPr>
            <p:ph type="sldNum" sz="quarter" idx="18"/>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277478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ntent Pebble Image (Whit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2" y="551655"/>
            <a:ext cx="5113337" cy="2067714"/>
          </a:xfrm>
          <a:prstGeom prst="rect">
            <a:avLst/>
          </a:prstGeom>
        </p:spPr>
        <p:txBody>
          <a:bodyPr anchor="b" anchorCtr="0">
            <a:noAutofit/>
          </a:bodyPr>
          <a:lstStyle>
            <a:lvl1pPr marL="0" indent="0">
              <a:lnSpc>
                <a:spcPct val="90000"/>
              </a:lnSpc>
              <a:spcBef>
                <a:spcPts val="0"/>
              </a:spcBef>
              <a:buNone/>
              <a:defRPr sz="4000" b="1">
                <a:solidFill>
                  <a:schemeClr val="accent2"/>
                </a:solidFill>
                <a:latin typeface="+mj-lt"/>
              </a:defRPr>
            </a:lvl1pPr>
          </a:lstStyle>
          <a:p>
            <a:pPr lvl="0"/>
            <a:r>
              <a:rPr lang="en-GB" dirty="0"/>
              <a:t>A captivating headline</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2" y="2811868"/>
            <a:ext cx="5113337" cy="2993620"/>
          </a:xfrm>
          <a:prstGeom prst="rect">
            <a:avLst/>
          </a:prstGeom>
        </p:spPr>
        <p:txBody>
          <a:bodyPr>
            <a:noAutofit/>
          </a:bodyPr>
          <a:lstStyle>
            <a:lvl1pPr marL="0" indent="0">
              <a:buNone/>
              <a:defRPr sz="14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Duis autem </a:t>
            </a:r>
            <a:r>
              <a:rPr lang="en-GB" dirty="0" err="1"/>
              <a:t>vel</a:t>
            </a:r>
            <a:r>
              <a:rPr lang="en-GB" dirty="0"/>
              <a:t> </a:t>
            </a:r>
            <a:r>
              <a:rPr lang="en-GB" dirty="0" err="1"/>
              <a:t>eum</a:t>
            </a:r>
            <a:r>
              <a:rPr lang="en-GB" dirty="0"/>
              <a:t> </a:t>
            </a:r>
            <a:r>
              <a:rPr lang="en-GB" dirty="0" err="1"/>
              <a:t>iriure</a:t>
            </a:r>
            <a:r>
              <a:rPr lang="en-GB" dirty="0"/>
              <a:t> </a:t>
            </a:r>
            <a:r>
              <a:rPr lang="en-GB" dirty="0" err="1"/>
              <a:t>dolor</a:t>
            </a:r>
            <a:r>
              <a:rPr lang="en-GB" dirty="0"/>
              <a:t> in </a:t>
            </a:r>
            <a:r>
              <a:rPr lang="en-GB" dirty="0" err="1"/>
              <a:t>hendrerit</a:t>
            </a:r>
            <a:r>
              <a:rPr lang="en-GB" dirty="0"/>
              <a:t> in </a:t>
            </a:r>
            <a:r>
              <a:rPr lang="en-GB" dirty="0" err="1"/>
              <a:t>vulputate</a:t>
            </a:r>
            <a:r>
              <a:rPr lang="en-GB" dirty="0"/>
              <a:t> </a:t>
            </a:r>
            <a:r>
              <a:rPr lang="en-GB" dirty="0" err="1"/>
              <a:t>velit</a:t>
            </a:r>
            <a:r>
              <a:rPr lang="en-GB" dirty="0"/>
              <a:t> </a:t>
            </a:r>
            <a:r>
              <a:rPr lang="en-GB" dirty="0" err="1"/>
              <a:t>esse</a:t>
            </a:r>
            <a:r>
              <a:rPr lang="en-GB" dirty="0"/>
              <a:t> </a:t>
            </a:r>
            <a:r>
              <a:rPr lang="en-GB" dirty="0" err="1"/>
              <a:t>molestie</a:t>
            </a:r>
            <a:r>
              <a:rPr lang="en-GB" dirty="0"/>
              <a:t> </a:t>
            </a:r>
            <a:r>
              <a:rPr lang="en-GB" dirty="0" err="1"/>
              <a:t>consequat</a:t>
            </a:r>
            <a:r>
              <a:rPr lang="en-GB" dirty="0"/>
              <a:t>, </a:t>
            </a:r>
            <a:r>
              <a:rPr lang="en-GB" dirty="0" err="1"/>
              <a:t>vel</a:t>
            </a:r>
            <a:r>
              <a:rPr lang="en-GB" dirty="0"/>
              <a:t> illum dolore </a:t>
            </a:r>
            <a:r>
              <a:rPr lang="en-GB" dirty="0" err="1"/>
              <a:t>eu</a:t>
            </a:r>
            <a:r>
              <a:rPr lang="en-GB" dirty="0"/>
              <a:t> </a:t>
            </a:r>
            <a:r>
              <a:rPr lang="en-GB" dirty="0" err="1"/>
              <a:t>feugiat</a:t>
            </a:r>
            <a:r>
              <a:rPr lang="en-GB" dirty="0"/>
              <a:t> </a:t>
            </a:r>
            <a:r>
              <a:rPr lang="en-GB" dirty="0" err="1"/>
              <a:t>nulla</a:t>
            </a:r>
            <a:r>
              <a:rPr lang="en-GB" dirty="0"/>
              <a:t> </a:t>
            </a:r>
            <a:r>
              <a:rPr lang="en-GB" dirty="0" err="1"/>
              <a:t>facilisis</a:t>
            </a:r>
            <a:r>
              <a:rPr lang="en-GB" dirty="0"/>
              <a:t> at </a:t>
            </a:r>
            <a:r>
              <a:rPr lang="en-GB" dirty="0" err="1"/>
              <a:t>vero</a:t>
            </a:r>
            <a:r>
              <a:rPr lang="en-GB" dirty="0"/>
              <a:t> eros et </a:t>
            </a:r>
            <a:r>
              <a:rPr lang="en-GB" dirty="0" err="1"/>
              <a:t>accumsan</a:t>
            </a:r>
            <a:r>
              <a:rPr lang="en-GB" dirty="0"/>
              <a:t> et </a:t>
            </a:r>
            <a:r>
              <a:rPr lang="en-GB" dirty="0" err="1"/>
              <a:t>iusto</a:t>
            </a:r>
            <a:r>
              <a:rPr lang="en-GB" dirty="0"/>
              <a:t> </a:t>
            </a:r>
            <a:r>
              <a:rPr lang="en-GB" dirty="0" err="1"/>
              <a:t>odio</a:t>
            </a:r>
            <a:r>
              <a:rPr lang="en-GB" dirty="0"/>
              <a:t> </a:t>
            </a:r>
            <a:r>
              <a:rPr lang="en-GB" dirty="0" err="1"/>
              <a:t>dignissim</a:t>
            </a:r>
            <a:r>
              <a:rPr lang="en-GB" dirty="0"/>
              <a:t> qui </a:t>
            </a:r>
            <a:r>
              <a:rPr lang="en-GB" dirty="0" err="1"/>
              <a:t>blandit</a:t>
            </a:r>
            <a:r>
              <a:rPr lang="en-GB" dirty="0"/>
              <a:t> </a:t>
            </a:r>
            <a:r>
              <a:rPr lang="en-GB" dirty="0" err="1"/>
              <a:t>praesent</a:t>
            </a:r>
            <a:r>
              <a:rPr lang="en-GB" dirty="0"/>
              <a:t> </a:t>
            </a:r>
            <a:r>
              <a:rPr lang="en-GB" dirty="0" err="1"/>
              <a:t>luptatum</a:t>
            </a:r>
            <a:r>
              <a:rPr lang="en-GB" dirty="0"/>
              <a:t> </a:t>
            </a:r>
            <a:r>
              <a:rPr lang="en-GB" dirty="0" err="1"/>
              <a:t>zzril</a:t>
            </a:r>
            <a:r>
              <a:rPr lang="en-GB" dirty="0"/>
              <a:t> </a:t>
            </a:r>
            <a:r>
              <a:rPr lang="en-GB" dirty="0" err="1"/>
              <a:t>delenit</a:t>
            </a:r>
            <a:r>
              <a:rPr lang="en-GB" dirty="0"/>
              <a:t> </a:t>
            </a:r>
            <a:r>
              <a:rPr lang="en-GB" dirty="0" err="1"/>
              <a:t>augue</a:t>
            </a:r>
            <a:r>
              <a:rPr lang="en-GB" dirty="0"/>
              <a:t> </a:t>
            </a:r>
            <a:r>
              <a:rPr lang="en-GB" dirty="0" err="1"/>
              <a:t>duis</a:t>
            </a:r>
            <a:r>
              <a:rPr lang="en-GB" dirty="0"/>
              <a:t> </a:t>
            </a:r>
            <a:r>
              <a:rPr lang="en-GB" dirty="0" err="1"/>
              <a:t>dolorete</a:t>
            </a:r>
            <a:r>
              <a:rPr lang="en-GB" dirty="0"/>
              <a:t> </a:t>
            </a:r>
            <a:r>
              <a:rPr lang="en-GB" dirty="0" err="1"/>
              <a:t>feugait</a:t>
            </a:r>
            <a:r>
              <a:rPr lang="en-GB" dirty="0"/>
              <a:t> </a:t>
            </a:r>
            <a:r>
              <a:rPr lang="en-GB" dirty="0" err="1"/>
              <a:t>nulla</a:t>
            </a:r>
            <a:r>
              <a:rPr lang="en-GB" dirty="0"/>
              <a:t> </a:t>
            </a:r>
            <a:r>
              <a:rPr lang="en-GB" dirty="0" err="1"/>
              <a:t>facilisi</a:t>
            </a:r>
            <a:r>
              <a:rPr lang="en-GB" dirty="0"/>
              <a:t>.</a:t>
            </a:r>
          </a:p>
        </p:txBody>
      </p:sp>
      <p:sp>
        <p:nvSpPr>
          <p:cNvPr id="5" name="Picture Placeholder 4">
            <a:extLst>
              <a:ext uri="{FF2B5EF4-FFF2-40B4-BE49-F238E27FC236}">
                <a16:creationId xmlns:a16="http://schemas.microsoft.com/office/drawing/2014/main" id="{A6D049BA-8763-7863-E7E0-8A31A9438750}"/>
              </a:ext>
            </a:extLst>
          </p:cNvPr>
          <p:cNvSpPr>
            <a:spLocks noGrp="1"/>
          </p:cNvSpPr>
          <p:nvPr>
            <p:ph type="pic" sz="quarter" idx="18" hasCustomPrompt="1"/>
          </p:nvPr>
        </p:nvSpPr>
        <p:spPr>
          <a:xfrm>
            <a:off x="6413557" y="1016789"/>
            <a:ext cx="5129758" cy="4824422"/>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2400">
                <a:solidFill>
                  <a:srgbClr val="00625F"/>
                </a:solidFill>
              </a:defRPr>
            </a:lvl1pPr>
          </a:lstStyle>
          <a:p>
            <a:r>
              <a:rPr lang="en-GB" dirty="0"/>
              <a:t>Click icon to add picture</a:t>
            </a:r>
          </a:p>
        </p:txBody>
      </p:sp>
      <p:sp>
        <p:nvSpPr>
          <p:cNvPr id="7" name="Slide Number Placeholder 6">
            <a:extLst>
              <a:ext uri="{FF2B5EF4-FFF2-40B4-BE49-F238E27FC236}">
                <a16:creationId xmlns:a16="http://schemas.microsoft.com/office/drawing/2014/main" id="{B3AD07E9-07ED-4708-7265-73129262E63A}"/>
              </a:ext>
            </a:extLst>
          </p:cNvPr>
          <p:cNvSpPr>
            <a:spLocks noGrp="1"/>
          </p:cNvSpPr>
          <p:nvPr>
            <p:ph type="sldNum" sz="quarter" idx="19"/>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12277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Image List (White)">
    <p:spTree>
      <p:nvGrpSpPr>
        <p:cNvPr id="1" name=""/>
        <p:cNvGrpSpPr/>
        <p:nvPr/>
      </p:nvGrpSpPr>
      <p:grpSpPr>
        <a:xfrm>
          <a:off x="0" y="0"/>
          <a:ext cx="0" cy="0"/>
          <a:chOff x="0" y="0"/>
          <a:chExt cx="0" cy="0"/>
        </a:xfrm>
      </p:grpSpPr>
      <p:sp>
        <p:nvSpPr>
          <p:cNvPr id="76" name="Text Placeholder 11">
            <a:extLst>
              <a:ext uri="{FF2B5EF4-FFF2-40B4-BE49-F238E27FC236}">
                <a16:creationId xmlns:a16="http://schemas.microsoft.com/office/drawing/2014/main" id="{260C0866-42F7-35D3-996A-A5C4501810AE}"/>
              </a:ext>
            </a:extLst>
          </p:cNvPr>
          <p:cNvSpPr>
            <a:spLocks noGrp="1"/>
          </p:cNvSpPr>
          <p:nvPr>
            <p:ph type="body" sz="quarter" idx="16" hasCustomPrompt="1"/>
          </p:nvPr>
        </p:nvSpPr>
        <p:spPr>
          <a:xfrm>
            <a:off x="658813" y="3755424"/>
            <a:ext cx="3187973" cy="520092"/>
          </a:xfrm>
          <a:prstGeom prst="rect">
            <a:avLst/>
          </a:prstGeom>
        </p:spPr>
        <p:txBody>
          <a:bodyPr>
            <a:noAutofit/>
          </a:bodyPr>
          <a:lstStyle>
            <a:lvl1pPr marL="0" indent="0" algn="ctr">
              <a:spcBef>
                <a:spcPts val="0"/>
              </a:spcBef>
              <a:buNone/>
              <a:defRPr sz="2400" b="1">
                <a:solidFill>
                  <a:srgbClr val="47DA86"/>
                </a:solidFill>
                <a:latin typeface="+mj-lt"/>
              </a:defRPr>
            </a:lvl1pPr>
          </a:lstStyle>
          <a:p>
            <a:pPr lvl="0"/>
            <a:r>
              <a:rPr lang="en-GB" dirty="0"/>
              <a:t>Header 1</a:t>
            </a:r>
          </a:p>
        </p:txBody>
      </p:sp>
      <p:sp>
        <p:nvSpPr>
          <p:cNvPr id="77" name="Text Placeholder 11">
            <a:extLst>
              <a:ext uri="{FF2B5EF4-FFF2-40B4-BE49-F238E27FC236}">
                <a16:creationId xmlns:a16="http://schemas.microsoft.com/office/drawing/2014/main" id="{E5F2EDD0-06C6-9BD2-0A3E-968675239EC8}"/>
              </a:ext>
            </a:extLst>
          </p:cNvPr>
          <p:cNvSpPr>
            <a:spLocks noGrp="1"/>
          </p:cNvSpPr>
          <p:nvPr>
            <p:ph type="body" sz="quarter" idx="17" hasCustomPrompt="1"/>
          </p:nvPr>
        </p:nvSpPr>
        <p:spPr>
          <a:xfrm>
            <a:off x="658813" y="4275517"/>
            <a:ext cx="3187973" cy="1529972"/>
          </a:xfrm>
          <a:prstGeom prst="rect">
            <a:avLst/>
          </a:prstGeom>
        </p:spPr>
        <p:txBody>
          <a:bodyPr>
            <a:noAutofit/>
          </a:bodyPr>
          <a:lstStyle>
            <a:lvl1pPr marL="0" indent="0" algn="ctr">
              <a:buNone/>
              <a:defRPr sz="12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p:txBody>
      </p:sp>
      <p:sp>
        <p:nvSpPr>
          <p:cNvPr id="13" name="Text Placeholder 11">
            <a:extLst>
              <a:ext uri="{FF2B5EF4-FFF2-40B4-BE49-F238E27FC236}">
                <a16:creationId xmlns:a16="http://schemas.microsoft.com/office/drawing/2014/main" id="{1C0119C8-1D9A-0DFA-77E1-D96E4EC70820}"/>
              </a:ext>
            </a:extLst>
          </p:cNvPr>
          <p:cNvSpPr>
            <a:spLocks noGrp="1"/>
          </p:cNvSpPr>
          <p:nvPr>
            <p:ph type="body" sz="quarter" idx="19" hasCustomPrompt="1"/>
          </p:nvPr>
        </p:nvSpPr>
        <p:spPr>
          <a:xfrm>
            <a:off x="4500345" y="4275517"/>
            <a:ext cx="3187973" cy="1529972"/>
          </a:xfrm>
          <a:prstGeom prst="rect">
            <a:avLst/>
          </a:prstGeom>
        </p:spPr>
        <p:txBody>
          <a:bodyPr>
            <a:noAutofit/>
          </a:bodyPr>
          <a:lstStyle>
            <a:lvl1pPr marL="0" indent="0" algn="ctr">
              <a:buNone/>
              <a:defRPr sz="12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p:txBody>
      </p:sp>
      <p:sp>
        <p:nvSpPr>
          <p:cNvPr id="14" name="Text Placeholder 11">
            <a:extLst>
              <a:ext uri="{FF2B5EF4-FFF2-40B4-BE49-F238E27FC236}">
                <a16:creationId xmlns:a16="http://schemas.microsoft.com/office/drawing/2014/main" id="{D2914D5C-66D1-2DD5-239D-D767E5AD9FB1}"/>
              </a:ext>
            </a:extLst>
          </p:cNvPr>
          <p:cNvSpPr>
            <a:spLocks noGrp="1"/>
          </p:cNvSpPr>
          <p:nvPr>
            <p:ph type="body" sz="quarter" idx="20" hasCustomPrompt="1"/>
          </p:nvPr>
        </p:nvSpPr>
        <p:spPr>
          <a:xfrm>
            <a:off x="8343546" y="4275517"/>
            <a:ext cx="3187973" cy="1529972"/>
          </a:xfrm>
          <a:prstGeom prst="rect">
            <a:avLst/>
          </a:prstGeom>
        </p:spPr>
        <p:txBody>
          <a:bodyPr>
            <a:noAutofit/>
          </a:bodyPr>
          <a:lstStyle>
            <a:lvl1pPr marL="0" indent="0" algn="ctr">
              <a:buNone/>
              <a:defRPr sz="1200" b="0">
                <a:solidFill>
                  <a:srgbClr val="00625F"/>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 </a:t>
            </a:r>
            <a:r>
              <a:rPr lang="en-GB" dirty="0" err="1"/>
              <a:t>sed</a:t>
            </a:r>
            <a:r>
              <a:rPr lang="en-GB" dirty="0"/>
              <a:t> </a:t>
            </a:r>
            <a:r>
              <a:rPr lang="en-GB" dirty="0" err="1"/>
              <a:t>diam</a:t>
            </a:r>
            <a:r>
              <a:rPr lang="en-GB" dirty="0"/>
              <a:t> </a:t>
            </a:r>
            <a:r>
              <a:rPr lang="en-GB" dirty="0" err="1"/>
              <a:t>nonummy</a:t>
            </a:r>
            <a:r>
              <a:rPr lang="en-GB" dirty="0"/>
              <a:t> </a:t>
            </a:r>
            <a:r>
              <a:rPr lang="en-GB" dirty="0" err="1"/>
              <a:t>nibh</a:t>
            </a:r>
            <a:r>
              <a:rPr lang="en-GB" dirty="0"/>
              <a:t> </a:t>
            </a:r>
            <a:r>
              <a:rPr lang="en-GB" dirty="0" err="1"/>
              <a:t>euismod</a:t>
            </a:r>
            <a:r>
              <a:rPr lang="en-GB" dirty="0"/>
              <a:t> </a:t>
            </a:r>
            <a:r>
              <a:rPr lang="en-GB" dirty="0" err="1"/>
              <a:t>tincidunt</a:t>
            </a:r>
            <a:r>
              <a:rPr lang="en-GB" dirty="0"/>
              <a:t> </a:t>
            </a:r>
            <a:r>
              <a:rPr lang="en-GB" dirty="0" err="1"/>
              <a:t>ut</a:t>
            </a:r>
            <a:r>
              <a:rPr lang="en-GB" dirty="0"/>
              <a:t> </a:t>
            </a:r>
            <a:r>
              <a:rPr lang="en-GB" dirty="0" err="1"/>
              <a:t>laoreet</a:t>
            </a:r>
            <a:r>
              <a:rPr lang="en-GB" dirty="0"/>
              <a:t> dolore magna </a:t>
            </a:r>
            <a:r>
              <a:rPr lang="en-GB" dirty="0" err="1"/>
              <a:t>aliquam</a:t>
            </a:r>
            <a:r>
              <a:rPr lang="en-GB" dirty="0"/>
              <a:t> </a:t>
            </a:r>
            <a:r>
              <a:rPr lang="en-GB" dirty="0" err="1"/>
              <a:t>erat</a:t>
            </a:r>
            <a:r>
              <a:rPr lang="en-GB" dirty="0"/>
              <a:t> </a:t>
            </a:r>
            <a:r>
              <a:rPr lang="en-GB" dirty="0" err="1"/>
              <a:t>volutpat</a:t>
            </a:r>
            <a:r>
              <a:rPr lang="en-GB" dirty="0"/>
              <a:t>. Ut </a:t>
            </a:r>
            <a:r>
              <a:rPr lang="en-GB" dirty="0" err="1"/>
              <a:t>wisi</a:t>
            </a:r>
            <a:r>
              <a:rPr lang="en-GB" dirty="0"/>
              <a: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a:t>
            </a:r>
            <a:r>
              <a:rPr lang="en-GB" dirty="0" err="1"/>
              <a:t>exerci</a:t>
            </a:r>
            <a:r>
              <a:rPr lang="en-GB" dirty="0"/>
              <a:t> </a:t>
            </a:r>
            <a:r>
              <a:rPr lang="en-GB" dirty="0" err="1"/>
              <a:t>tation</a:t>
            </a:r>
            <a:r>
              <a:rPr lang="en-GB" dirty="0"/>
              <a:t> </a:t>
            </a:r>
            <a:r>
              <a:rPr lang="en-GB" dirty="0" err="1"/>
              <a:t>ullamcorper</a:t>
            </a:r>
            <a:r>
              <a:rPr lang="en-GB" dirty="0"/>
              <a:t> </a:t>
            </a:r>
            <a:r>
              <a:rPr lang="en-GB" dirty="0" err="1"/>
              <a:t>suscipit</a:t>
            </a:r>
            <a:r>
              <a:rPr lang="en-GB" dirty="0"/>
              <a:t> </a:t>
            </a:r>
            <a:r>
              <a:rPr lang="en-GB" dirty="0" err="1"/>
              <a:t>lobortis</a:t>
            </a:r>
            <a:r>
              <a:rPr lang="en-GB" dirty="0"/>
              <a:t> </a:t>
            </a:r>
            <a:r>
              <a:rPr lang="en-GB" dirty="0" err="1"/>
              <a:t>nisl</a:t>
            </a:r>
            <a:r>
              <a:rPr lang="en-GB" dirty="0"/>
              <a:t>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 </a:t>
            </a:r>
          </a:p>
        </p:txBody>
      </p:sp>
      <p:sp>
        <p:nvSpPr>
          <p:cNvPr id="18" name="Picture Placeholder 17">
            <a:extLst>
              <a:ext uri="{FF2B5EF4-FFF2-40B4-BE49-F238E27FC236}">
                <a16:creationId xmlns:a16="http://schemas.microsoft.com/office/drawing/2014/main" id="{680FA60A-84B6-E342-F780-1771576770FF}"/>
              </a:ext>
            </a:extLst>
          </p:cNvPr>
          <p:cNvSpPr>
            <a:spLocks noGrp="1"/>
          </p:cNvSpPr>
          <p:nvPr>
            <p:ph type="pic" sz="quarter" idx="22" hasCustomPrompt="1"/>
          </p:nvPr>
        </p:nvSpPr>
        <p:spPr>
          <a:xfrm>
            <a:off x="778386"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tx1"/>
                </a:solidFill>
              </a:defRPr>
            </a:lvl1pPr>
          </a:lstStyle>
          <a:p>
            <a:pPr marL="0" marR="0" lvl="0" indent="0" algn="ctr" defTabSz="914400" rtl="0" eaLnBrk="1" fontAlgn="auto" latinLnBrk="0" hangingPunct="1">
              <a:lnSpc>
                <a:spcPct val="100000"/>
              </a:lnSpc>
              <a:spcBef>
                <a:spcPts val="1000"/>
              </a:spcBef>
              <a:spcAft>
                <a:spcPts val="1000"/>
              </a:spcAft>
              <a:buClr>
                <a:srgbClr val="47DA86"/>
              </a:buClr>
              <a:buSzTx/>
              <a:buFont typeface="Arial" panose="020B0604020202020204" pitchFamily="34" charset="0"/>
              <a:buNone/>
              <a:tabLst/>
              <a:defRPr/>
            </a:pPr>
            <a:r>
              <a:rPr lang="en-GB" dirty="0"/>
              <a:t>Click icon to add picture</a:t>
            </a:r>
          </a:p>
        </p:txBody>
      </p:sp>
      <p:sp>
        <p:nvSpPr>
          <p:cNvPr id="19" name="Text Placeholder 11">
            <a:extLst>
              <a:ext uri="{FF2B5EF4-FFF2-40B4-BE49-F238E27FC236}">
                <a16:creationId xmlns:a16="http://schemas.microsoft.com/office/drawing/2014/main" id="{4CDAB5D0-7F86-EA91-AB9B-1A439E9373FC}"/>
              </a:ext>
            </a:extLst>
          </p:cNvPr>
          <p:cNvSpPr>
            <a:spLocks noGrp="1"/>
          </p:cNvSpPr>
          <p:nvPr>
            <p:ph type="body" sz="quarter" idx="23" hasCustomPrompt="1"/>
          </p:nvPr>
        </p:nvSpPr>
        <p:spPr>
          <a:xfrm>
            <a:off x="4500345" y="3755424"/>
            <a:ext cx="3187973" cy="520092"/>
          </a:xfrm>
          <a:prstGeom prst="rect">
            <a:avLst/>
          </a:prstGeom>
        </p:spPr>
        <p:txBody>
          <a:bodyPr>
            <a:noAutofit/>
          </a:bodyPr>
          <a:lstStyle>
            <a:lvl1pPr marL="0" indent="0" algn="ctr">
              <a:spcBef>
                <a:spcPts val="0"/>
              </a:spcBef>
              <a:buNone/>
              <a:defRPr sz="2400" b="1">
                <a:solidFill>
                  <a:srgbClr val="47DA86"/>
                </a:solidFill>
                <a:latin typeface="+mj-lt"/>
              </a:defRPr>
            </a:lvl1pPr>
          </a:lstStyle>
          <a:p>
            <a:pPr lvl="0"/>
            <a:r>
              <a:rPr lang="en-GB" dirty="0"/>
              <a:t>Header 2</a:t>
            </a:r>
          </a:p>
        </p:txBody>
      </p:sp>
      <p:sp>
        <p:nvSpPr>
          <p:cNvPr id="20" name="Text Placeholder 11">
            <a:extLst>
              <a:ext uri="{FF2B5EF4-FFF2-40B4-BE49-F238E27FC236}">
                <a16:creationId xmlns:a16="http://schemas.microsoft.com/office/drawing/2014/main" id="{7FC37118-FC7D-57FD-16B1-A498B8326CE2}"/>
              </a:ext>
            </a:extLst>
          </p:cNvPr>
          <p:cNvSpPr>
            <a:spLocks noGrp="1"/>
          </p:cNvSpPr>
          <p:nvPr>
            <p:ph type="body" sz="quarter" idx="24" hasCustomPrompt="1"/>
          </p:nvPr>
        </p:nvSpPr>
        <p:spPr>
          <a:xfrm>
            <a:off x="8343546" y="3755424"/>
            <a:ext cx="3187973" cy="520092"/>
          </a:xfrm>
          <a:prstGeom prst="rect">
            <a:avLst/>
          </a:prstGeom>
        </p:spPr>
        <p:txBody>
          <a:bodyPr>
            <a:noAutofit/>
          </a:bodyPr>
          <a:lstStyle>
            <a:lvl1pPr marL="0" indent="0" algn="ctr">
              <a:spcBef>
                <a:spcPts val="0"/>
              </a:spcBef>
              <a:buNone/>
              <a:defRPr sz="2400" b="1">
                <a:solidFill>
                  <a:srgbClr val="47DA86"/>
                </a:solidFill>
                <a:latin typeface="+mj-lt"/>
              </a:defRPr>
            </a:lvl1pPr>
          </a:lstStyle>
          <a:p>
            <a:pPr lvl="0"/>
            <a:r>
              <a:rPr lang="en-GB" dirty="0"/>
              <a:t>Header 3</a:t>
            </a:r>
          </a:p>
        </p:txBody>
      </p:sp>
      <p:sp>
        <p:nvSpPr>
          <p:cNvPr id="2" name="Picture Placeholder 17">
            <a:extLst>
              <a:ext uri="{FF2B5EF4-FFF2-40B4-BE49-F238E27FC236}">
                <a16:creationId xmlns:a16="http://schemas.microsoft.com/office/drawing/2014/main" id="{160CCCF0-FF52-334B-607F-3D23F714FF58}"/>
              </a:ext>
            </a:extLst>
          </p:cNvPr>
          <p:cNvSpPr>
            <a:spLocks noGrp="1"/>
          </p:cNvSpPr>
          <p:nvPr>
            <p:ph type="pic" sz="quarter" idx="25" hasCustomPrompt="1"/>
          </p:nvPr>
        </p:nvSpPr>
        <p:spPr>
          <a:xfrm>
            <a:off x="4620752"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tx1"/>
                </a:solidFill>
              </a:defRPr>
            </a:lvl1pPr>
          </a:lstStyle>
          <a:p>
            <a:pPr marL="0" marR="0" lvl="0" indent="0" algn="ctr" defTabSz="914400" rtl="0" eaLnBrk="1" fontAlgn="auto" latinLnBrk="0" hangingPunct="1">
              <a:lnSpc>
                <a:spcPct val="100000"/>
              </a:lnSpc>
              <a:spcBef>
                <a:spcPts val="1000"/>
              </a:spcBef>
              <a:spcAft>
                <a:spcPts val="1000"/>
              </a:spcAft>
              <a:buClr>
                <a:srgbClr val="47DA86"/>
              </a:buClr>
              <a:buSzTx/>
              <a:buFont typeface="Arial" panose="020B0604020202020204" pitchFamily="34" charset="0"/>
              <a:buNone/>
              <a:tabLst/>
              <a:defRPr/>
            </a:pPr>
            <a:r>
              <a:rPr lang="en-GB" dirty="0"/>
              <a:t>Click icon to add picture</a:t>
            </a:r>
          </a:p>
        </p:txBody>
      </p:sp>
      <p:sp>
        <p:nvSpPr>
          <p:cNvPr id="3" name="Picture Placeholder 17">
            <a:extLst>
              <a:ext uri="{FF2B5EF4-FFF2-40B4-BE49-F238E27FC236}">
                <a16:creationId xmlns:a16="http://schemas.microsoft.com/office/drawing/2014/main" id="{15C15C35-1275-8D82-7B48-0886DD32ED42}"/>
              </a:ext>
            </a:extLst>
          </p:cNvPr>
          <p:cNvSpPr>
            <a:spLocks noGrp="1"/>
          </p:cNvSpPr>
          <p:nvPr>
            <p:ph type="pic" sz="quarter" idx="26" hasCustomPrompt="1"/>
          </p:nvPr>
        </p:nvSpPr>
        <p:spPr>
          <a:xfrm>
            <a:off x="8464786" y="704844"/>
            <a:ext cx="2948828" cy="2773308"/>
          </a:xfrm>
          <a:custGeom>
            <a:avLst/>
            <a:gdLst>
              <a:gd name="connsiteX0" fmla="*/ 1236921 w 2873596"/>
              <a:gd name="connsiteY0" fmla="*/ 501 h 2702552"/>
              <a:gd name="connsiteX1" fmla="*/ 2863008 w 2873596"/>
              <a:gd name="connsiteY1" fmla="*/ 1247274 h 2702552"/>
              <a:gd name="connsiteX2" fmla="*/ 1432002 w 2873596"/>
              <a:gd name="connsiteY2" fmla="*/ 2688059 h 2702552"/>
              <a:gd name="connsiteX3" fmla="*/ 83227 w 2873596"/>
              <a:gd name="connsiteY3" fmla="*/ 1943407 h 2702552"/>
              <a:gd name="connsiteX4" fmla="*/ 748901 w 2873596"/>
              <a:gd name="connsiteY4" fmla="*/ 105295 h 2702552"/>
              <a:gd name="connsiteX5" fmla="*/ 1236921 w 2873596"/>
              <a:gd name="connsiteY5" fmla="*/ 501 h 270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3596" h="2702552">
                <a:moveTo>
                  <a:pt x="1236921" y="501"/>
                </a:moveTo>
                <a:cubicBezTo>
                  <a:pt x="1963411" y="-18569"/>
                  <a:pt x="2731272" y="509660"/>
                  <a:pt x="2863008" y="1247274"/>
                </a:cubicBezTo>
                <a:cubicBezTo>
                  <a:pt x="2977467" y="2067399"/>
                  <a:pt x="2141704" y="2622147"/>
                  <a:pt x="1432002" y="2688059"/>
                </a:cubicBezTo>
                <a:cubicBezTo>
                  <a:pt x="865585" y="2765808"/>
                  <a:pt x="273366" y="2532613"/>
                  <a:pt x="83227" y="1943407"/>
                </a:cubicBezTo>
                <a:cubicBezTo>
                  <a:pt x="-136064" y="1276576"/>
                  <a:pt x="75351" y="408357"/>
                  <a:pt x="748901" y="105295"/>
                </a:cubicBezTo>
                <a:cubicBezTo>
                  <a:pt x="903821" y="38449"/>
                  <a:pt x="1069269" y="4902"/>
                  <a:pt x="1236921" y="501"/>
                </a:cubicBezTo>
                <a:close/>
              </a:path>
            </a:pathLst>
          </a:custGeom>
        </p:spPr>
        <p:txBody>
          <a:bodyPr wrap="square" anchor="ctr">
            <a:noAutofit/>
          </a:bodyPr>
          <a:lstStyle>
            <a:lvl1pPr marL="0" indent="0" algn="ctr">
              <a:buNone/>
              <a:defRPr sz="1800">
                <a:solidFill>
                  <a:schemeClr val="tx1"/>
                </a:solidFill>
              </a:defRPr>
            </a:lvl1pPr>
          </a:lstStyle>
          <a:p>
            <a:pPr marL="0" marR="0" lvl="0" indent="0" algn="ctr" defTabSz="914400" rtl="0" eaLnBrk="1" fontAlgn="auto" latinLnBrk="0" hangingPunct="1">
              <a:lnSpc>
                <a:spcPct val="100000"/>
              </a:lnSpc>
              <a:spcBef>
                <a:spcPts val="1000"/>
              </a:spcBef>
              <a:spcAft>
                <a:spcPts val="1000"/>
              </a:spcAft>
              <a:buClr>
                <a:srgbClr val="47DA86"/>
              </a:buClr>
              <a:buSzTx/>
              <a:buFont typeface="Arial" panose="020B0604020202020204" pitchFamily="34" charset="0"/>
              <a:buNone/>
              <a:tabLst/>
              <a:defRPr/>
            </a:pPr>
            <a:r>
              <a:rPr lang="en-GB" dirty="0"/>
              <a:t>Click icon to add picture</a:t>
            </a:r>
          </a:p>
        </p:txBody>
      </p:sp>
      <p:sp>
        <p:nvSpPr>
          <p:cNvPr id="6" name="Slide Number Placeholder 5">
            <a:extLst>
              <a:ext uri="{FF2B5EF4-FFF2-40B4-BE49-F238E27FC236}">
                <a16:creationId xmlns:a16="http://schemas.microsoft.com/office/drawing/2014/main" id="{E1FC47AC-3C70-D163-7E67-9994B20661F4}"/>
              </a:ext>
            </a:extLst>
          </p:cNvPr>
          <p:cNvSpPr>
            <a:spLocks noGrp="1"/>
          </p:cNvSpPr>
          <p:nvPr>
            <p:ph type="sldNum" sz="quarter" idx="27"/>
          </p:nvPr>
        </p:nvSpPr>
        <p:spPr/>
        <p:txBody>
          <a:body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386586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heme" Target="../theme/theme2.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2.png"/><Relationship Id="rId5" Type="http://schemas.openxmlformats.org/officeDocument/2006/relationships/slideLayout" Target="../slideLayouts/slideLayout35.xml"/><Relationship Id="rId10"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image" Target="../media/image1.png"/><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heme" Target="../theme/theme5.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image" Target="../media/image1.png"/><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85.xml"/><Relationship Id="rId7" Type="http://schemas.openxmlformats.org/officeDocument/2006/relationships/theme" Target="../theme/theme7.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5" Type="http://schemas.openxmlformats.org/officeDocument/2006/relationships/slideLayout" Target="../slideLayouts/slideLayout87.xml"/><Relationship Id="rId4"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theme" Target="../theme/theme8.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image" Target="../media/image7.emf"/><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oleObject" Target="../embeddings/oleObject1.bin"/><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tags" Target="../tags/tag1.xml"/><Relationship Id="rId5" Type="http://schemas.openxmlformats.org/officeDocument/2006/relationships/slideLayout" Target="../slideLayouts/slideLayout110.xml"/><Relationship Id="rId10" Type="http://schemas.openxmlformats.org/officeDocument/2006/relationships/theme" Target="../theme/theme9.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CAD918E-89E6-34C9-564F-762E09C64141}"/>
              </a:ext>
            </a:extLst>
          </p:cNvPr>
          <p:cNvPicPr>
            <a:picLocks noChangeAspect="1"/>
          </p:cNvPicPr>
          <p:nvPr userDrawn="1"/>
        </p:nvPicPr>
        <p:blipFill>
          <a:blip r:embed="rId16"/>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5A58BA3-C89E-A115-31E6-5DE9386A8526}"/>
              </a:ext>
            </a:extLst>
          </p:cNvPr>
          <p:cNvSpPr>
            <a:spLocks noGrp="1"/>
          </p:cNvSpPr>
          <p:nvPr>
            <p:ph type="title"/>
          </p:nvPr>
        </p:nvSpPr>
        <p:spPr>
          <a:xfrm>
            <a:off x="658813" y="549276"/>
            <a:ext cx="10874373" cy="439552"/>
          </a:xfrm>
          <a:prstGeom prst="rect">
            <a:avLst/>
          </a:prstGeom>
        </p:spPr>
        <p:txBody>
          <a:bodyPr vert="horz" lIns="0" tIns="0" rIns="0" bIns="0" rtlCol="0" anchor="t">
            <a:norm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5B60D13F-3FF6-D86C-4AB4-CE7C3E1C5B67}"/>
              </a:ext>
            </a:extLst>
          </p:cNvPr>
          <p:cNvSpPr>
            <a:spLocks noGrp="1"/>
          </p:cNvSpPr>
          <p:nvPr>
            <p:ph type="body" idx="1"/>
          </p:nvPr>
        </p:nvSpPr>
        <p:spPr>
          <a:xfrm>
            <a:off x="658813" y="1834333"/>
            <a:ext cx="10874374" cy="3971155"/>
          </a:xfrm>
          <a:prstGeom prst="rect">
            <a:avLst/>
          </a:prstGeom>
        </p:spPr>
        <p:txBody>
          <a:bodyPr vert="horz" lIns="0" tIns="0" rIns="0" bIns="0" rtlCol="0">
            <a:noAutofit/>
          </a:bodyPr>
          <a:lstStyle/>
          <a:p>
            <a:pPr lvl="0"/>
            <a:r>
              <a:rPr lang="en-GB" dirty="0"/>
              <a:t>Plain text</a:t>
            </a:r>
          </a:p>
          <a:p>
            <a:pPr lvl="1"/>
            <a:r>
              <a:rPr lang="en-GB" dirty="0"/>
              <a:t>Bullet</a:t>
            </a:r>
          </a:p>
          <a:p>
            <a:pPr lvl="2"/>
            <a:r>
              <a:rPr lang="en-GB" dirty="0"/>
              <a:t>Sub-bullet</a:t>
            </a:r>
          </a:p>
          <a:p>
            <a:pPr lvl="3"/>
            <a:r>
              <a:rPr lang="en-GB" dirty="0"/>
              <a:t>Header #1</a:t>
            </a:r>
          </a:p>
          <a:p>
            <a:pPr lvl="4"/>
            <a:r>
              <a:rPr lang="en-GB" dirty="0"/>
              <a:t>Header </a:t>
            </a:r>
            <a:r>
              <a:rPr lang="en-GB"/>
              <a:t>#2</a:t>
            </a:r>
            <a:endParaRPr lang="en-GB" dirty="0"/>
          </a:p>
        </p:txBody>
      </p:sp>
      <p:sp>
        <p:nvSpPr>
          <p:cNvPr id="6" name="Slide Number Placeholder 5">
            <a:extLst>
              <a:ext uri="{FF2B5EF4-FFF2-40B4-BE49-F238E27FC236}">
                <a16:creationId xmlns:a16="http://schemas.microsoft.com/office/drawing/2014/main" id="{7F664503-F5D0-35B3-2017-D0A942613AF8}"/>
              </a:ext>
            </a:extLst>
          </p:cNvPr>
          <p:cNvSpPr>
            <a:spLocks noGrp="1"/>
          </p:cNvSpPr>
          <p:nvPr>
            <p:ph type="sldNum" sz="quarter" idx="4"/>
          </p:nvPr>
        </p:nvSpPr>
        <p:spPr>
          <a:xfrm>
            <a:off x="11754846" y="121298"/>
            <a:ext cx="310122" cy="175404"/>
          </a:xfrm>
          <a:prstGeom prst="rect">
            <a:avLst/>
          </a:prstGeom>
        </p:spPr>
        <p:txBody>
          <a:bodyPr vert="horz" lIns="0" tIns="0" rIns="0" bIns="0" rtlCol="0" anchor="ctr"/>
          <a:lstStyle>
            <a:lvl1pPr algn="r">
              <a:defRPr sz="1000">
                <a:solidFill>
                  <a:srgbClr val="FFFFFF"/>
                </a:solidFill>
              </a:defRPr>
            </a:lvl1p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2717460066"/>
      </p:ext>
    </p:extLst>
  </p:cSld>
  <p:clrMap bg1="lt1" tx1="dk1" bg2="lt2" tx2="dk2" accent1="accent1" accent2="accent2" accent3="accent3" accent4="accent4" accent5="accent5" accent6="accent6" hlink="hlink" folHlink="folHlink"/>
  <p:sldLayoutIdLst>
    <p:sldLayoutId id="2147483710" r:id="rId1"/>
    <p:sldLayoutId id="2147483703" r:id="rId2"/>
    <p:sldLayoutId id="2147483735" r:id="rId3"/>
    <p:sldLayoutId id="2147483669" r:id="rId4"/>
    <p:sldLayoutId id="2147483733" r:id="rId5"/>
    <p:sldLayoutId id="2147483704" r:id="rId6"/>
    <p:sldLayoutId id="2147483712" r:id="rId7"/>
    <p:sldLayoutId id="2147483715" r:id="rId8"/>
    <p:sldLayoutId id="2147483717" r:id="rId9"/>
    <p:sldLayoutId id="2147483680" r:id="rId10"/>
    <p:sldLayoutId id="2147483738" r:id="rId11"/>
    <p:sldLayoutId id="2147483741" r:id="rId12"/>
    <p:sldLayoutId id="2147483736" r:id="rId13"/>
    <p:sldLayoutId id="2147483743" r:id="rId14"/>
  </p:sldLayoutIdLst>
  <p:hf hdr="0" ftr="0" dt="0"/>
  <p:txStyles>
    <p:titleStyle>
      <a:lvl1pPr algn="l" defTabSz="914400" rtl="0" eaLnBrk="1" latinLnBrk="0" hangingPunct="1">
        <a:lnSpc>
          <a:spcPct val="80000"/>
        </a:lnSpc>
        <a:spcBef>
          <a:spcPct val="0"/>
        </a:spcBef>
        <a:buNone/>
        <a:defRPr sz="3600" b="1" kern="1200">
          <a:solidFill>
            <a:srgbClr val="FFFFFF"/>
          </a:solidFill>
          <a:latin typeface="+mj-lt"/>
          <a:ea typeface="+mj-ea"/>
          <a:cs typeface="Arial" panose="020B0604020202020204" pitchFamily="34" charset="0"/>
        </a:defRPr>
      </a:lvl1pPr>
    </p:titleStyle>
    <p:bodyStyle>
      <a:lvl1pPr marL="0" indent="0" algn="l" defTabSz="914400" rtl="0" eaLnBrk="1" latinLnBrk="0" hangingPunct="1">
        <a:lnSpc>
          <a:spcPct val="100000"/>
        </a:lnSpc>
        <a:spcBef>
          <a:spcPts val="600"/>
        </a:spcBef>
        <a:spcAft>
          <a:spcPts val="600"/>
        </a:spcAft>
        <a:buClr>
          <a:srgbClr val="47DA86"/>
        </a:buClr>
        <a:buFont typeface="Arial" panose="020B0604020202020204" pitchFamily="34" charset="0"/>
        <a:buNone/>
        <a:tabLst/>
        <a:defRPr sz="1400" kern="1200">
          <a:solidFill>
            <a:srgbClr val="FFFFFF"/>
          </a:solidFill>
          <a:latin typeface="+mn-lt"/>
          <a:ea typeface="+mn-ea"/>
          <a:cs typeface="Arial" panose="020B0604020202020204" pitchFamily="34" charset="0"/>
        </a:defRPr>
      </a:lvl1pPr>
      <a:lvl2pPr marL="180975" indent="-180975" algn="l" defTabSz="914400" rtl="0" eaLnBrk="1" latinLnBrk="0" hangingPunct="1">
        <a:lnSpc>
          <a:spcPct val="100000"/>
        </a:lnSpc>
        <a:spcBef>
          <a:spcPts val="600"/>
        </a:spcBef>
        <a:spcAft>
          <a:spcPts val="600"/>
        </a:spcAft>
        <a:buClr>
          <a:srgbClr val="47DA86"/>
        </a:buClr>
        <a:buFont typeface="Arial" panose="020B0604020202020204" pitchFamily="34" charset="0"/>
        <a:buChar char="•"/>
        <a:tabLst/>
        <a:defRPr sz="1400" kern="1200">
          <a:solidFill>
            <a:srgbClr val="FFFFFF"/>
          </a:solidFill>
          <a:latin typeface="+mn-lt"/>
          <a:ea typeface="+mn-ea"/>
          <a:cs typeface="Arial" panose="020B0604020202020204" pitchFamily="34" charset="0"/>
        </a:defRPr>
      </a:lvl2pPr>
      <a:lvl3pPr marL="361950" indent="-180975" algn="l" defTabSz="914400" rtl="0" eaLnBrk="1" latinLnBrk="0" hangingPunct="1">
        <a:lnSpc>
          <a:spcPct val="100000"/>
        </a:lnSpc>
        <a:spcBef>
          <a:spcPts val="600"/>
        </a:spcBef>
        <a:spcAft>
          <a:spcPts val="600"/>
        </a:spcAft>
        <a:buClr>
          <a:srgbClr val="47DA86"/>
        </a:buClr>
        <a:buFont typeface="Verdana" panose="020B0604030504040204" pitchFamily="34" charset="0"/>
        <a:buChar char="–"/>
        <a:tabLst/>
        <a:defRPr sz="1200" kern="1200">
          <a:solidFill>
            <a:srgbClr val="FFFFFF"/>
          </a:solidFill>
          <a:latin typeface="+mn-lt"/>
          <a:ea typeface="+mn-ea"/>
          <a:cs typeface="Arial" panose="020B0604020202020204" pitchFamily="34" charset="0"/>
        </a:defRPr>
      </a:lvl3pPr>
      <a:lvl4pPr marL="0" indent="0" algn="l" defTabSz="914400" rtl="0" eaLnBrk="1" latinLnBrk="0" hangingPunct="1">
        <a:lnSpc>
          <a:spcPct val="80000"/>
        </a:lnSpc>
        <a:spcBef>
          <a:spcPts val="1200"/>
        </a:spcBef>
        <a:spcAft>
          <a:spcPts val="300"/>
        </a:spcAft>
        <a:buClr>
          <a:srgbClr val="47DA86"/>
        </a:buClr>
        <a:buFont typeface="Arial" panose="020B0604020202020204" pitchFamily="34" charset="0"/>
        <a:buNone/>
        <a:tabLst/>
        <a:defRPr sz="1400" b="1" kern="1200" cap="all" baseline="0">
          <a:solidFill>
            <a:srgbClr val="FFFFFF"/>
          </a:solidFill>
          <a:latin typeface="+mn-lt"/>
          <a:ea typeface="+mn-ea"/>
          <a:cs typeface="Arial" panose="020B0604020202020204" pitchFamily="34" charset="0"/>
        </a:defRPr>
      </a:lvl4pPr>
      <a:lvl5pPr marL="0" indent="0" algn="l" defTabSz="914400" rtl="0" eaLnBrk="1" latinLnBrk="0" hangingPunct="1">
        <a:lnSpc>
          <a:spcPct val="80000"/>
        </a:lnSpc>
        <a:spcBef>
          <a:spcPts val="1200"/>
        </a:spcBef>
        <a:spcAft>
          <a:spcPts val="300"/>
        </a:spcAft>
        <a:buClr>
          <a:srgbClr val="47DA86"/>
        </a:buClr>
        <a:buFont typeface="Arial" panose="020B0604020202020204" pitchFamily="34" charset="0"/>
        <a:buNone/>
        <a:tabLst/>
        <a:defRPr sz="2000" b="1" kern="1200">
          <a:solidFill>
            <a:schemeClr val="accent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65">
          <p15:clr>
            <a:srgbClr val="F26B43"/>
          </p15:clr>
        </p15:guide>
        <p15:guide id="3" orient="horz" pos="346" userDrawn="1">
          <p15:clr>
            <a:srgbClr val="A4A3A4"/>
          </p15:clr>
        </p15:guide>
        <p15:guide id="4" orient="horz" pos="3657" userDrawn="1">
          <p15:clr>
            <a:srgbClr val="F26B43"/>
          </p15:clr>
        </p15:guide>
        <p15:guide id="5" pos="415" userDrawn="1">
          <p15:clr>
            <a:srgbClr val="F26B43"/>
          </p15:clr>
        </p15:guide>
        <p15:guide id="6" pos="3636" userDrawn="1">
          <p15:clr>
            <a:srgbClr val="F26B43"/>
          </p15:clr>
        </p15:guide>
        <p15:guide id="7" pos="4044" userDrawn="1">
          <p15:clr>
            <a:srgbClr val="F26B43"/>
          </p15:clr>
        </p15:guide>
        <p15:guide id="8" orient="horz" pos="851" userDrawn="1">
          <p15:clr>
            <a:srgbClr val="A4A3A4"/>
          </p15:clr>
        </p15:guide>
        <p15:guide id="9" orient="horz" pos="114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5A58BA3-C89E-A115-31E6-5DE9386A8526}"/>
              </a:ext>
            </a:extLst>
          </p:cNvPr>
          <p:cNvSpPr>
            <a:spLocks noGrp="1"/>
          </p:cNvSpPr>
          <p:nvPr>
            <p:ph type="title"/>
          </p:nvPr>
        </p:nvSpPr>
        <p:spPr>
          <a:xfrm>
            <a:off x="658813" y="549276"/>
            <a:ext cx="10874374" cy="428920"/>
          </a:xfrm>
          <a:prstGeom prst="rect">
            <a:avLst/>
          </a:prstGeom>
        </p:spPr>
        <p:txBody>
          <a:bodyPr vert="horz" lIns="0" tIns="0" rIns="0" bIns="0" rtlCol="0" anchor="t">
            <a:noAutofit/>
          </a:bodyPr>
          <a:lstStyle/>
          <a:p>
            <a:r>
              <a:rPr lang="en-GB" dirty="0"/>
              <a:t>Click to edit Master </a:t>
            </a:r>
            <a:r>
              <a:rPr lang="en-GB"/>
              <a:t>title style</a:t>
            </a:r>
            <a:endParaRPr lang="en-GB" dirty="0"/>
          </a:p>
        </p:txBody>
      </p:sp>
      <p:sp>
        <p:nvSpPr>
          <p:cNvPr id="3" name="Text Placeholder 2">
            <a:extLst>
              <a:ext uri="{FF2B5EF4-FFF2-40B4-BE49-F238E27FC236}">
                <a16:creationId xmlns:a16="http://schemas.microsoft.com/office/drawing/2014/main" id="{5B60D13F-3FF6-D86C-4AB4-CE7C3E1C5B67}"/>
              </a:ext>
            </a:extLst>
          </p:cNvPr>
          <p:cNvSpPr>
            <a:spLocks noGrp="1"/>
          </p:cNvSpPr>
          <p:nvPr>
            <p:ph type="body" idx="1"/>
          </p:nvPr>
        </p:nvSpPr>
        <p:spPr>
          <a:xfrm>
            <a:off x="658812" y="1834333"/>
            <a:ext cx="10874375" cy="3971155"/>
          </a:xfrm>
          <a:prstGeom prst="rect">
            <a:avLst/>
          </a:prstGeom>
        </p:spPr>
        <p:txBody>
          <a:bodyPr vert="horz" lIns="0" tIns="0" rIns="0" bIns="0" rtlCol="0">
            <a:normAutofit/>
          </a:bodyPr>
          <a:lstStyle/>
          <a:p>
            <a:pPr lvl="0"/>
            <a:r>
              <a:rPr lang="en-GB" dirty="0"/>
              <a:t>Plain text</a:t>
            </a:r>
          </a:p>
          <a:p>
            <a:pPr lvl="1"/>
            <a:r>
              <a:rPr lang="en-GB" dirty="0"/>
              <a:t>Bullet</a:t>
            </a:r>
          </a:p>
          <a:p>
            <a:pPr lvl="2"/>
            <a:r>
              <a:rPr lang="en-GB" dirty="0"/>
              <a:t>Sub-bullet</a:t>
            </a:r>
          </a:p>
          <a:p>
            <a:pPr lvl="3"/>
            <a:r>
              <a:rPr lang="en-GB" dirty="0"/>
              <a:t>Header #1</a:t>
            </a:r>
          </a:p>
          <a:p>
            <a:pPr lvl="4"/>
            <a:r>
              <a:rPr lang="en-GB" dirty="0"/>
              <a:t>Header </a:t>
            </a:r>
            <a:r>
              <a:rPr lang="en-GB"/>
              <a:t>#2</a:t>
            </a:r>
            <a:endParaRPr lang="en-GB" dirty="0"/>
          </a:p>
        </p:txBody>
      </p:sp>
      <p:sp>
        <p:nvSpPr>
          <p:cNvPr id="6" name="Slide Number Placeholder 5">
            <a:extLst>
              <a:ext uri="{FF2B5EF4-FFF2-40B4-BE49-F238E27FC236}">
                <a16:creationId xmlns:a16="http://schemas.microsoft.com/office/drawing/2014/main" id="{7F664503-F5D0-35B3-2017-D0A942613AF8}"/>
              </a:ext>
            </a:extLst>
          </p:cNvPr>
          <p:cNvSpPr>
            <a:spLocks noGrp="1"/>
          </p:cNvSpPr>
          <p:nvPr>
            <p:ph type="sldNum" sz="quarter" idx="4"/>
          </p:nvPr>
        </p:nvSpPr>
        <p:spPr>
          <a:xfrm>
            <a:off x="11727712" y="195003"/>
            <a:ext cx="249374" cy="166503"/>
          </a:xfrm>
          <a:prstGeom prst="rect">
            <a:avLst/>
          </a:prstGeom>
        </p:spPr>
        <p:txBody>
          <a:bodyPr vert="horz" lIns="0" tIns="0" rIns="0" bIns="0" rtlCol="0" anchor="ctr"/>
          <a:lstStyle>
            <a:lvl1pPr algn="r">
              <a:defRPr sz="1000">
                <a:solidFill>
                  <a:schemeClr val="tx1"/>
                </a:solidFill>
              </a:defRPr>
            </a:lvl1pPr>
          </a:lstStyle>
          <a:p>
            <a:fld id="{0994303E-A424-9540-91A8-53B791C91E8F}" type="slidenum">
              <a:rPr lang="en-GB" smtClean="0"/>
              <a:pPr/>
              <a:t>‹#›</a:t>
            </a:fld>
            <a:endParaRPr lang="en-GB" dirty="0"/>
          </a:p>
        </p:txBody>
      </p:sp>
      <p:sp>
        <p:nvSpPr>
          <p:cNvPr id="5" name="Slide Number Placeholder 5">
            <a:extLst>
              <a:ext uri="{FF2B5EF4-FFF2-40B4-BE49-F238E27FC236}">
                <a16:creationId xmlns:a16="http://schemas.microsoft.com/office/drawing/2014/main" id="{EE02EC8A-4622-E482-4901-E35DA0BEC501}"/>
              </a:ext>
            </a:extLst>
          </p:cNvPr>
          <p:cNvSpPr txBox="1">
            <a:spLocks/>
          </p:cNvSpPr>
          <p:nvPr userDrawn="1"/>
        </p:nvSpPr>
        <p:spPr>
          <a:xfrm>
            <a:off x="11754846" y="121298"/>
            <a:ext cx="310122" cy="175404"/>
          </a:xfrm>
          <a:prstGeom prst="rect">
            <a:avLst/>
          </a:prstGeom>
        </p:spPr>
        <p:txBody>
          <a:bodyPr vert="horz" lIns="0" tIns="0" rIns="0" bIns="0" rtlCol="0" anchor="ctr"/>
          <a:lstStyle>
            <a:defPPr>
              <a:defRPr lang="en-NL"/>
            </a:defPPr>
            <a:lvl1pPr marL="0" algn="r" defTabSz="914400" rtl="0" eaLnBrk="1" latinLnBrk="0" hangingPunct="1">
              <a:defRPr sz="10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786625764"/>
      </p:ext>
    </p:extLst>
  </p:cSld>
  <p:clrMap bg1="lt1" tx1="dk1" bg2="lt2" tx2="dk2" accent1="accent1" accent2="accent2" accent3="accent3" accent4="accent4" accent5="accent5" accent6="accent6" hlink="hlink" folHlink="folHlink"/>
  <p:sldLayoutIdLst>
    <p:sldLayoutId id="2147483729" r:id="rId1"/>
    <p:sldLayoutId id="2147483725" r:id="rId2"/>
    <p:sldLayoutId id="2147483734" r:id="rId3"/>
    <p:sldLayoutId id="2147483753" r:id="rId4"/>
    <p:sldLayoutId id="2147483756" r:id="rId5"/>
    <p:sldLayoutId id="2147483726" r:id="rId6"/>
    <p:sldLayoutId id="2147483758" r:id="rId7"/>
    <p:sldLayoutId id="2147483727" r:id="rId8"/>
    <p:sldLayoutId id="2147483728" r:id="rId9"/>
    <p:sldLayoutId id="2147483731" r:id="rId10"/>
    <p:sldLayoutId id="2147483732" r:id="rId11"/>
    <p:sldLayoutId id="2147483730" r:id="rId12"/>
    <p:sldLayoutId id="2147483739" r:id="rId13"/>
    <p:sldLayoutId id="2147483746" r:id="rId14"/>
    <p:sldLayoutId id="2147483737" r:id="rId15"/>
    <p:sldLayoutId id="2147483742" r:id="rId16"/>
  </p:sldLayoutIdLst>
  <p:hf hdr="0" ft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Arial" panose="020B0604020202020204" pitchFamily="34" charset="0"/>
        </a:defRPr>
      </a:lvl1pPr>
    </p:titleStyle>
    <p:bodyStyle>
      <a:lvl1pPr marL="0" indent="0" algn="l" defTabSz="914400" rtl="0" eaLnBrk="1" latinLnBrk="0" hangingPunct="1">
        <a:lnSpc>
          <a:spcPct val="100000"/>
        </a:lnSpc>
        <a:spcBef>
          <a:spcPts val="600"/>
        </a:spcBef>
        <a:spcAft>
          <a:spcPts val="600"/>
        </a:spcAft>
        <a:buClr>
          <a:srgbClr val="47DA86"/>
        </a:buClr>
        <a:buFont typeface="Arial" panose="020B0604020202020204" pitchFamily="34" charset="0"/>
        <a:buNone/>
        <a:tabLst/>
        <a:defRPr sz="1400" kern="1200">
          <a:solidFill>
            <a:schemeClr val="tx1"/>
          </a:solidFill>
          <a:latin typeface="+mn-lt"/>
          <a:ea typeface="+mn-ea"/>
          <a:cs typeface="Arial" panose="020B0604020202020204" pitchFamily="34" charset="0"/>
        </a:defRPr>
      </a:lvl1pPr>
      <a:lvl2pPr marL="180975" indent="-180975" algn="l" defTabSz="914400" rtl="0" eaLnBrk="1" latinLnBrk="0" hangingPunct="1">
        <a:lnSpc>
          <a:spcPct val="100000"/>
        </a:lnSpc>
        <a:spcBef>
          <a:spcPts val="600"/>
        </a:spcBef>
        <a:spcAft>
          <a:spcPts val="600"/>
        </a:spcAft>
        <a:buClr>
          <a:srgbClr val="47DA86"/>
        </a:buClr>
        <a:buFont typeface="Arial" panose="020B0604020202020204" pitchFamily="34" charset="0"/>
        <a:buChar char="•"/>
        <a:tabLst/>
        <a:defRPr sz="1400" kern="1200">
          <a:solidFill>
            <a:schemeClr val="tx1"/>
          </a:solidFill>
          <a:latin typeface="+mn-lt"/>
          <a:ea typeface="+mn-ea"/>
          <a:cs typeface="Arial" panose="020B0604020202020204" pitchFamily="34" charset="0"/>
        </a:defRPr>
      </a:lvl2pPr>
      <a:lvl3pPr marL="361950" indent="-180975" algn="l" defTabSz="914400" rtl="0" eaLnBrk="1" latinLnBrk="0" hangingPunct="1">
        <a:lnSpc>
          <a:spcPct val="100000"/>
        </a:lnSpc>
        <a:spcBef>
          <a:spcPts val="600"/>
        </a:spcBef>
        <a:spcAft>
          <a:spcPts val="600"/>
        </a:spcAft>
        <a:buClr>
          <a:srgbClr val="47DA86"/>
        </a:buClr>
        <a:buFont typeface="Verdana" panose="020B0604030504040204" pitchFamily="34" charset="0"/>
        <a:buChar char="–"/>
        <a:tabLst/>
        <a:defRPr sz="1200" kern="1200">
          <a:solidFill>
            <a:schemeClr val="tx1"/>
          </a:solidFill>
          <a:latin typeface="+mn-lt"/>
          <a:ea typeface="+mn-ea"/>
          <a:cs typeface="Arial" panose="020B0604020202020204" pitchFamily="34" charset="0"/>
        </a:defRPr>
      </a:lvl3pPr>
      <a:lvl4pPr marL="0" indent="0" algn="l" defTabSz="914400" rtl="0" eaLnBrk="1" latinLnBrk="0" hangingPunct="1">
        <a:lnSpc>
          <a:spcPct val="80000"/>
        </a:lnSpc>
        <a:spcBef>
          <a:spcPts val="1200"/>
        </a:spcBef>
        <a:spcAft>
          <a:spcPts val="300"/>
        </a:spcAft>
        <a:buClr>
          <a:srgbClr val="47DA86"/>
        </a:buClr>
        <a:buFont typeface="Arial" panose="020B0604020202020204" pitchFamily="34" charset="0"/>
        <a:buNone/>
        <a:tabLst/>
        <a:defRPr sz="1400" b="1" kern="1200" cap="all" baseline="0">
          <a:solidFill>
            <a:schemeClr val="tx1"/>
          </a:solidFill>
          <a:latin typeface="+mn-lt"/>
          <a:ea typeface="+mn-ea"/>
          <a:cs typeface="Arial" panose="020B0604020202020204" pitchFamily="34" charset="0"/>
        </a:defRPr>
      </a:lvl4pPr>
      <a:lvl5pPr marL="0" indent="0" algn="l" defTabSz="914400" rtl="0" eaLnBrk="1" latinLnBrk="0" hangingPunct="1">
        <a:lnSpc>
          <a:spcPct val="80000"/>
        </a:lnSpc>
        <a:spcBef>
          <a:spcPts val="1200"/>
        </a:spcBef>
        <a:spcAft>
          <a:spcPts val="300"/>
        </a:spcAft>
        <a:buClr>
          <a:srgbClr val="47DA86"/>
        </a:buClr>
        <a:buFont typeface="Arial" panose="020B0604020202020204" pitchFamily="34" charset="0"/>
        <a:buNone/>
        <a:tabLst/>
        <a:defRPr sz="2000" b="1" kern="1200">
          <a:solidFill>
            <a:schemeClr val="accent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
          <p15:clr>
            <a:srgbClr val="F26B43"/>
          </p15:clr>
        </p15:guide>
        <p15:guide id="2" pos="7265">
          <p15:clr>
            <a:srgbClr val="F26B43"/>
          </p15:clr>
        </p15:guide>
        <p15:guide id="3" orient="horz" pos="3657" userDrawn="1">
          <p15:clr>
            <a:srgbClr val="F26B43"/>
          </p15:clr>
        </p15:guide>
        <p15:guide id="4" orient="horz" pos="346" userDrawn="1">
          <p15:clr>
            <a:srgbClr val="A4A3A4"/>
          </p15:clr>
        </p15:guide>
        <p15:guide id="5" pos="3636" userDrawn="1">
          <p15:clr>
            <a:srgbClr val="F26B43"/>
          </p15:clr>
        </p15:guide>
        <p15:guide id="6" pos="4044" userDrawn="1">
          <p15:clr>
            <a:srgbClr val="F26B43"/>
          </p15:clr>
        </p15:guide>
        <p15:guide id="7" orient="horz" pos="884" userDrawn="1">
          <p15:clr>
            <a:srgbClr val="A4A3A4"/>
          </p15:clr>
        </p15:guide>
        <p15:guide id="8" orient="horz" pos="114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6956CD8-62D6-9099-FA6A-FA43A97A68DE}"/>
              </a:ext>
            </a:extLst>
          </p:cNvPr>
          <p:cNvPicPr>
            <a:picLocks noChangeAspect="1"/>
          </p:cNvPicPr>
          <p:nvPr userDrawn="1"/>
        </p:nvPicPr>
        <p:blipFill>
          <a:blip r:embed="rId11"/>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5A58BA3-C89E-A115-31E6-5DE9386A8526}"/>
              </a:ext>
            </a:extLst>
          </p:cNvPr>
          <p:cNvSpPr>
            <a:spLocks noGrp="1"/>
          </p:cNvSpPr>
          <p:nvPr>
            <p:ph type="title"/>
          </p:nvPr>
        </p:nvSpPr>
        <p:spPr>
          <a:xfrm>
            <a:off x="658812" y="549277"/>
            <a:ext cx="10874375" cy="428918"/>
          </a:xfrm>
          <a:prstGeom prst="rect">
            <a:avLst/>
          </a:prstGeom>
        </p:spPr>
        <p:txBody>
          <a:bodyPr vert="horz" lIns="0" tIns="0" rIns="0" bIns="0" rtlCol="0" anchor="t">
            <a:noAutofit/>
          </a:bodyPr>
          <a:lstStyle/>
          <a:p>
            <a:r>
              <a:rPr lang="en-GB" dirty="0"/>
              <a:t>Click to edit Master </a:t>
            </a:r>
            <a:r>
              <a:rPr lang="en-GB"/>
              <a:t>title style</a:t>
            </a:r>
            <a:endParaRPr lang="en-GB" dirty="0"/>
          </a:p>
        </p:txBody>
      </p:sp>
      <p:sp>
        <p:nvSpPr>
          <p:cNvPr id="3" name="Text Placeholder 2">
            <a:extLst>
              <a:ext uri="{FF2B5EF4-FFF2-40B4-BE49-F238E27FC236}">
                <a16:creationId xmlns:a16="http://schemas.microsoft.com/office/drawing/2014/main" id="{5B60D13F-3FF6-D86C-4AB4-CE7C3E1C5B67}"/>
              </a:ext>
            </a:extLst>
          </p:cNvPr>
          <p:cNvSpPr>
            <a:spLocks noGrp="1"/>
          </p:cNvSpPr>
          <p:nvPr>
            <p:ph type="body" idx="1"/>
          </p:nvPr>
        </p:nvSpPr>
        <p:spPr>
          <a:xfrm>
            <a:off x="658812" y="1834333"/>
            <a:ext cx="10874375" cy="3971155"/>
          </a:xfrm>
          <a:prstGeom prst="rect">
            <a:avLst/>
          </a:prstGeom>
        </p:spPr>
        <p:txBody>
          <a:bodyPr vert="horz" lIns="0" tIns="0" rIns="0" bIns="0" rtlCol="0">
            <a:normAutofit/>
          </a:bodyPr>
          <a:lstStyle/>
          <a:p>
            <a:pPr lvl="0"/>
            <a:r>
              <a:rPr lang="en-GB" dirty="0"/>
              <a:t>Plain text</a:t>
            </a:r>
          </a:p>
          <a:p>
            <a:pPr lvl="1"/>
            <a:r>
              <a:rPr lang="en-GB" dirty="0"/>
              <a:t>Bullet</a:t>
            </a:r>
          </a:p>
          <a:p>
            <a:pPr lvl="2"/>
            <a:r>
              <a:rPr lang="en-GB" dirty="0"/>
              <a:t>Sub-bullet</a:t>
            </a:r>
          </a:p>
          <a:p>
            <a:pPr lvl="3"/>
            <a:r>
              <a:rPr lang="en-GB" dirty="0"/>
              <a:t>Header #1</a:t>
            </a:r>
          </a:p>
          <a:p>
            <a:pPr lvl="4"/>
            <a:r>
              <a:rPr lang="en-GB" dirty="0"/>
              <a:t>Header </a:t>
            </a:r>
            <a:r>
              <a:rPr lang="en-GB"/>
              <a:t>#2</a:t>
            </a:r>
            <a:endParaRPr lang="en-GB" dirty="0"/>
          </a:p>
        </p:txBody>
      </p:sp>
      <p:sp>
        <p:nvSpPr>
          <p:cNvPr id="6" name="Slide Number Placeholder 5">
            <a:extLst>
              <a:ext uri="{FF2B5EF4-FFF2-40B4-BE49-F238E27FC236}">
                <a16:creationId xmlns:a16="http://schemas.microsoft.com/office/drawing/2014/main" id="{7F664503-F5D0-35B3-2017-D0A942613AF8}"/>
              </a:ext>
            </a:extLst>
          </p:cNvPr>
          <p:cNvSpPr>
            <a:spLocks noGrp="1"/>
          </p:cNvSpPr>
          <p:nvPr>
            <p:ph type="sldNum" sz="quarter" idx="4"/>
          </p:nvPr>
        </p:nvSpPr>
        <p:spPr>
          <a:xfrm>
            <a:off x="11727711" y="127591"/>
            <a:ext cx="334435" cy="180828"/>
          </a:xfrm>
          <a:prstGeom prst="rect">
            <a:avLst/>
          </a:prstGeom>
        </p:spPr>
        <p:txBody>
          <a:bodyPr vert="horz" lIns="0" tIns="0" rIns="0" bIns="0" rtlCol="0" anchor="ctr"/>
          <a:lstStyle>
            <a:lvl1pPr algn="r">
              <a:defRPr sz="1000">
                <a:solidFill>
                  <a:schemeClr val="tx1"/>
                </a:solidFill>
              </a:defRPr>
            </a:lvl1p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4223877315"/>
      </p:ext>
    </p:extLst>
  </p:cSld>
  <p:clrMap bg1="lt1" tx1="dk1" bg2="lt2" tx2="dk2" accent1="accent1" accent2="accent2" accent3="accent3" accent4="accent4" accent5="accent5" accent6="accent6" hlink="hlink" folHlink="folHlink"/>
  <p:sldLayoutIdLst>
    <p:sldLayoutId id="2147483693" r:id="rId1"/>
    <p:sldLayoutId id="2147483747" r:id="rId2"/>
    <p:sldLayoutId id="2147483683" r:id="rId3"/>
    <p:sldLayoutId id="2147483713" r:id="rId4"/>
    <p:sldLayoutId id="2147483750" r:id="rId5"/>
    <p:sldLayoutId id="2147483745" r:id="rId6"/>
    <p:sldLayoutId id="2147483740" r:id="rId7"/>
    <p:sldLayoutId id="2147483714" r:id="rId8"/>
    <p:sldLayoutId id="2147483694" r:id="rId9"/>
  </p:sldLayoutIdLst>
  <p:hf hdr="0" ftr="0" dt="0"/>
  <p:txStyles>
    <p:titleStyle>
      <a:lvl1pPr algn="l" defTabSz="914400" rtl="0" eaLnBrk="1" latinLnBrk="0" hangingPunct="1">
        <a:lnSpc>
          <a:spcPct val="80000"/>
        </a:lnSpc>
        <a:spcBef>
          <a:spcPct val="0"/>
        </a:spcBef>
        <a:buNone/>
        <a:defRPr sz="3600" b="1" kern="1200">
          <a:solidFill>
            <a:srgbClr val="FFFFFF"/>
          </a:solidFill>
          <a:latin typeface="+mj-lt"/>
          <a:ea typeface="+mj-ea"/>
          <a:cs typeface="Arial" panose="020B0604020202020204" pitchFamily="34" charset="0"/>
        </a:defRPr>
      </a:lvl1pPr>
    </p:titleStyle>
    <p:bodyStyle>
      <a:lvl1pPr marL="0" indent="0" algn="l" defTabSz="914400" rtl="0" eaLnBrk="1" latinLnBrk="0" hangingPunct="1">
        <a:lnSpc>
          <a:spcPct val="100000"/>
        </a:lnSpc>
        <a:spcBef>
          <a:spcPts val="600"/>
        </a:spcBef>
        <a:spcAft>
          <a:spcPts val="600"/>
        </a:spcAft>
        <a:buClr>
          <a:schemeClr val="tx1"/>
        </a:buClr>
        <a:buFont typeface="Arial" panose="020B0604020202020204" pitchFamily="34" charset="0"/>
        <a:buNone/>
        <a:tabLst/>
        <a:defRPr sz="1400" kern="1200">
          <a:solidFill>
            <a:srgbClr val="FFFFFF"/>
          </a:solidFill>
          <a:latin typeface="+mn-lt"/>
          <a:ea typeface="+mn-ea"/>
          <a:cs typeface="Arial" panose="020B0604020202020204" pitchFamily="34" charset="0"/>
        </a:defRPr>
      </a:lvl1pPr>
      <a:lvl2pPr marL="180975" indent="-180975" algn="l" defTabSz="914400" rtl="0" eaLnBrk="1" latinLnBrk="0" hangingPunct="1">
        <a:lnSpc>
          <a:spcPct val="100000"/>
        </a:lnSpc>
        <a:spcBef>
          <a:spcPts val="600"/>
        </a:spcBef>
        <a:spcAft>
          <a:spcPts val="600"/>
        </a:spcAft>
        <a:buClr>
          <a:schemeClr val="tx1"/>
        </a:buClr>
        <a:buFont typeface="Arial" panose="020B0604020202020204" pitchFamily="34" charset="0"/>
        <a:buChar char="•"/>
        <a:tabLst/>
        <a:defRPr sz="1400" kern="1200">
          <a:solidFill>
            <a:srgbClr val="FFFFFF"/>
          </a:solidFill>
          <a:latin typeface="+mn-lt"/>
          <a:ea typeface="+mn-ea"/>
          <a:cs typeface="Arial" panose="020B0604020202020204" pitchFamily="34" charset="0"/>
        </a:defRPr>
      </a:lvl2pPr>
      <a:lvl3pPr marL="361950" indent="-180975" algn="l" defTabSz="914400" rtl="0" eaLnBrk="1" latinLnBrk="0" hangingPunct="1">
        <a:lnSpc>
          <a:spcPct val="100000"/>
        </a:lnSpc>
        <a:spcBef>
          <a:spcPts val="600"/>
        </a:spcBef>
        <a:spcAft>
          <a:spcPts val="600"/>
        </a:spcAft>
        <a:buClr>
          <a:schemeClr val="tx1"/>
        </a:buClr>
        <a:buFont typeface="Verdana" panose="020B0604030504040204" pitchFamily="34" charset="0"/>
        <a:buChar char="–"/>
        <a:tabLst/>
        <a:defRPr sz="1200" kern="1200">
          <a:solidFill>
            <a:srgbClr val="FFFFFF"/>
          </a:solidFill>
          <a:latin typeface="+mn-lt"/>
          <a:ea typeface="+mn-ea"/>
          <a:cs typeface="Arial" panose="020B0604020202020204" pitchFamily="34" charset="0"/>
        </a:defRPr>
      </a:lvl3pPr>
      <a:lvl4pPr marL="0" indent="0" algn="l" defTabSz="914400" rtl="0" eaLnBrk="1" latinLnBrk="0" hangingPunct="1">
        <a:lnSpc>
          <a:spcPct val="80000"/>
        </a:lnSpc>
        <a:spcBef>
          <a:spcPts val="1200"/>
        </a:spcBef>
        <a:spcAft>
          <a:spcPts val="300"/>
        </a:spcAft>
        <a:buClr>
          <a:schemeClr val="tx1"/>
        </a:buClr>
        <a:buFont typeface="Arial" panose="020B0604020202020204" pitchFamily="34" charset="0"/>
        <a:buNone/>
        <a:tabLst/>
        <a:defRPr sz="1400" b="1" kern="1200" cap="all" baseline="0">
          <a:solidFill>
            <a:srgbClr val="FFFFFF"/>
          </a:solidFill>
          <a:latin typeface="+mn-lt"/>
          <a:ea typeface="+mn-ea"/>
          <a:cs typeface="Arial" panose="020B0604020202020204" pitchFamily="34" charset="0"/>
        </a:defRPr>
      </a:lvl4pPr>
      <a:lvl5pPr marL="0" indent="0" algn="l" defTabSz="914400" rtl="0" eaLnBrk="1" latinLnBrk="0" hangingPunct="1">
        <a:lnSpc>
          <a:spcPct val="80000"/>
        </a:lnSpc>
        <a:spcBef>
          <a:spcPts val="1200"/>
        </a:spcBef>
        <a:spcAft>
          <a:spcPts val="300"/>
        </a:spcAft>
        <a:buClr>
          <a:schemeClr val="tx1"/>
        </a:buClr>
        <a:buFont typeface="Arial" panose="020B0604020202020204" pitchFamily="34" charset="0"/>
        <a:buNone/>
        <a:tabLst/>
        <a:defRPr sz="2000" b="1" kern="1200">
          <a:solidFill>
            <a:schemeClr val="accent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
          <p15:clr>
            <a:srgbClr val="F26B43"/>
          </p15:clr>
        </p15:guide>
        <p15:guide id="2" pos="7265">
          <p15:clr>
            <a:srgbClr val="F26B43"/>
          </p15:clr>
        </p15:guide>
        <p15:guide id="3" orient="horz" pos="346" userDrawn="1">
          <p15:clr>
            <a:srgbClr val="A4A3A4"/>
          </p15:clr>
        </p15:guide>
        <p15:guide id="4" orient="horz" pos="3657" userDrawn="1">
          <p15:clr>
            <a:srgbClr val="F26B43"/>
          </p15:clr>
        </p15:guide>
        <p15:guide id="5" pos="3636" userDrawn="1">
          <p15:clr>
            <a:srgbClr val="F26B43"/>
          </p15:clr>
        </p15:guide>
        <p15:guide id="6" pos="4044" userDrawn="1">
          <p15:clr>
            <a:srgbClr val="F26B43"/>
          </p15:clr>
        </p15:guide>
        <p15:guide id="7" orient="horz" pos="1144" userDrawn="1">
          <p15:clr>
            <a:srgbClr val="F26B43"/>
          </p15:clr>
        </p15:guide>
        <p15:guide id="8" orient="horz" pos="884"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5A58BA3-C89E-A115-31E6-5DE9386A8526}"/>
              </a:ext>
            </a:extLst>
          </p:cNvPr>
          <p:cNvSpPr>
            <a:spLocks noGrp="1"/>
          </p:cNvSpPr>
          <p:nvPr>
            <p:ph type="title"/>
          </p:nvPr>
        </p:nvSpPr>
        <p:spPr>
          <a:xfrm>
            <a:off x="658813" y="549275"/>
            <a:ext cx="10874374" cy="602631"/>
          </a:xfrm>
          <a:prstGeom prst="rect">
            <a:avLst/>
          </a:prstGeom>
        </p:spPr>
        <p:txBody>
          <a:bodyPr vert="horz" lIns="0" tIns="0" rIns="0" bIns="0" rtlCol="0" anchor="t">
            <a:noAutofit/>
          </a:bodyPr>
          <a:lstStyle/>
          <a:p>
            <a:r>
              <a:rPr lang="en-GB"/>
              <a:t>Click to edit Master title style</a:t>
            </a:r>
            <a:endParaRPr lang="en-NL"/>
          </a:p>
        </p:txBody>
      </p:sp>
      <p:sp>
        <p:nvSpPr>
          <p:cNvPr id="3" name="Text Placeholder 2">
            <a:extLst>
              <a:ext uri="{FF2B5EF4-FFF2-40B4-BE49-F238E27FC236}">
                <a16:creationId xmlns:a16="http://schemas.microsoft.com/office/drawing/2014/main" id="{5B60D13F-3FF6-D86C-4AB4-CE7C3E1C5B67}"/>
              </a:ext>
            </a:extLst>
          </p:cNvPr>
          <p:cNvSpPr>
            <a:spLocks noGrp="1"/>
          </p:cNvSpPr>
          <p:nvPr>
            <p:ph type="body" idx="1"/>
          </p:nvPr>
        </p:nvSpPr>
        <p:spPr>
          <a:xfrm>
            <a:off x="658812" y="1834333"/>
            <a:ext cx="10874375" cy="4474391"/>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a:p>
        </p:txBody>
      </p:sp>
      <p:sp>
        <p:nvSpPr>
          <p:cNvPr id="6" name="Slide Number Placeholder 5">
            <a:extLst>
              <a:ext uri="{FF2B5EF4-FFF2-40B4-BE49-F238E27FC236}">
                <a16:creationId xmlns:a16="http://schemas.microsoft.com/office/drawing/2014/main" id="{7F664503-F5D0-35B3-2017-D0A942613AF8}"/>
              </a:ext>
            </a:extLst>
          </p:cNvPr>
          <p:cNvSpPr>
            <a:spLocks noGrp="1"/>
          </p:cNvSpPr>
          <p:nvPr>
            <p:ph type="sldNum" sz="quarter" idx="4"/>
          </p:nvPr>
        </p:nvSpPr>
        <p:spPr>
          <a:xfrm>
            <a:off x="658811" y="6546512"/>
            <a:ext cx="2663373" cy="67014"/>
          </a:xfrm>
          <a:prstGeom prst="rect">
            <a:avLst/>
          </a:prstGeom>
        </p:spPr>
        <p:txBody>
          <a:bodyPr vert="horz" lIns="0" tIns="0" rIns="0" bIns="0" rtlCol="0" anchor="ctr"/>
          <a:lstStyle>
            <a:lvl1pPr algn="l">
              <a:defRPr sz="1000">
                <a:solidFill>
                  <a:schemeClr val="tx1"/>
                </a:solidFill>
              </a:defRPr>
            </a:lvl1pPr>
          </a:lstStyle>
          <a:p>
            <a:fld id="{0994303E-A424-9540-91A8-53B791C91E8F}" type="slidenum">
              <a:rPr lang="en-NL" smtClean="0"/>
              <a:pPr/>
              <a:t>‹#›</a:t>
            </a:fld>
            <a:endParaRPr lang="en-NL"/>
          </a:p>
        </p:txBody>
      </p:sp>
    </p:spTree>
    <p:extLst>
      <p:ext uri="{BB962C8B-B14F-4D97-AF65-F5344CB8AC3E}">
        <p14:creationId xmlns:p14="http://schemas.microsoft.com/office/powerpoint/2010/main" val="2767708621"/>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Lst>
  <p:hf hdr="0" ftr="0" dt="0"/>
  <p:txStyles>
    <p:titleStyle>
      <a:lvl1pPr algn="l" defTabSz="914400" rtl="0" eaLnBrk="1" latinLnBrk="0" hangingPunct="1">
        <a:lnSpc>
          <a:spcPct val="10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600"/>
        </a:spcAft>
        <a:buClr>
          <a:srgbClr val="47DA86"/>
        </a:buClr>
        <a:buFont typeface="Arial" panose="020B0604020202020204" pitchFamily="34" charset="0"/>
        <a:buNone/>
        <a:tabLst/>
        <a:defRPr sz="1400" kern="1200">
          <a:solidFill>
            <a:schemeClr val="tx1"/>
          </a:solidFill>
          <a:latin typeface="Arial" panose="020B0604020202020204" pitchFamily="34" charset="0"/>
          <a:ea typeface="+mn-ea"/>
          <a:cs typeface="Arial" panose="020B0604020202020204" pitchFamily="34" charset="0"/>
        </a:defRPr>
      </a:lvl1pPr>
      <a:lvl2pPr marL="360363" indent="-176213" algn="l" defTabSz="914400" rtl="0" eaLnBrk="1" latinLnBrk="0" hangingPunct="1">
        <a:lnSpc>
          <a:spcPct val="100000"/>
        </a:lnSpc>
        <a:spcBef>
          <a:spcPts val="0"/>
        </a:spcBef>
        <a:spcAft>
          <a:spcPts val="600"/>
        </a:spcAft>
        <a:buClr>
          <a:srgbClr val="47DA86"/>
        </a:buClr>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2pPr>
      <a:lvl3pPr marL="538163" indent="-177800" algn="l" defTabSz="914400" rtl="0" eaLnBrk="1" latinLnBrk="0" hangingPunct="1">
        <a:lnSpc>
          <a:spcPct val="100000"/>
        </a:lnSpc>
        <a:spcBef>
          <a:spcPts val="0"/>
        </a:spcBef>
        <a:spcAft>
          <a:spcPts val="600"/>
        </a:spcAft>
        <a:buClr>
          <a:srgbClr val="47DA86"/>
        </a:buClr>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3pPr>
      <a:lvl4pPr marL="714375" indent="-176213" algn="l" defTabSz="914400" rtl="0" eaLnBrk="1" latinLnBrk="0" hangingPunct="1">
        <a:lnSpc>
          <a:spcPct val="100000"/>
        </a:lnSpc>
        <a:spcBef>
          <a:spcPts val="0"/>
        </a:spcBef>
        <a:spcAft>
          <a:spcPts val="600"/>
        </a:spcAft>
        <a:buClr>
          <a:srgbClr val="47DA86"/>
        </a:buClr>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4pPr>
      <a:lvl5pPr marL="892175" indent="-177800" algn="l" defTabSz="914400" rtl="0" eaLnBrk="1" latinLnBrk="0" hangingPunct="1">
        <a:lnSpc>
          <a:spcPct val="100000"/>
        </a:lnSpc>
        <a:spcBef>
          <a:spcPts val="0"/>
        </a:spcBef>
        <a:spcAft>
          <a:spcPts val="600"/>
        </a:spcAft>
        <a:buClr>
          <a:srgbClr val="47DA86"/>
        </a:buClr>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
          <p15:clr>
            <a:srgbClr val="F26B43"/>
          </p15:clr>
        </p15:guide>
        <p15:guide id="2" pos="7265">
          <p15:clr>
            <a:srgbClr val="F26B43"/>
          </p15:clr>
        </p15:guide>
        <p15:guide id="3" orient="horz" pos="3974">
          <p15:clr>
            <a:srgbClr val="F26B43"/>
          </p15:clr>
        </p15:guide>
        <p15:guide id="4" orient="horz" pos="346">
          <p15:clr>
            <a:srgbClr val="F26B43"/>
          </p15:clr>
        </p15:guide>
        <p15:guide id="5" pos="3636">
          <p15:clr>
            <a:srgbClr val="F26B43"/>
          </p15:clr>
        </p15:guide>
        <p15:guide id="6" pos="404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CAD918E-89E6-34C9-564F-762E09C64141}"/>
              </a:ext>
            </a:extLst>
          </p:cNvPr>
          <p:cNvPicPr>
            <a:picLocks noChangeAspect="1"/>
          </p:cNvPicPr>
          <p:nvPr userDrawn="1"/>
        </p:nvPicPr>
        <p:blipFill>
          <a:blip r:embed="rId21"/>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5A58BA3-C89E-A115-31E6-5DE9386A8526}"/>
              </a:ext>
            </a:extLst>
          </p:cNvPr>
          <p:cNvSpPr>
            <a:spLocks noGrp="1"/>
          </p:cNvSpPr>
          <p:nvPr>
            <p:ph type="title"/>
          </p:nvPr>
        </p:nvSpPr>
        <p:spPr>
          <a:xfrm>
            <a:off x="658813" y="549276"/>
            <a:ext cx="10874373" cy="439552"/>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5B60D13F-3FF6-D86C-4AB4-CE7C3E1C5B67}"/>
              </a:ext>
            </a:extLst>
          </p:cNvPr>
          <p:cNvSpPr>
            <a:spLocks noGrp="1"/>
          </p:cNvSpPr>
          <p:nvPr>
            <p:ph type="body" idx="1"/>
          </p:nvPr>
        </p:nvSpPr>
        <p:spPr>
          <a:xfrm>
            <a:off x="658813" y="1834333"/>
            <a:ext cx="10874374" cy="3971155"/>
          </a:xfrm>
          <a:prstGeom prst="rect">
            <a:avLst/>
          </a:prstGeom>
        </p:spPr>
        <p:txBody>
          <a:bodyPr vert="horz" lIns="0" tIns="0" rIns="0" bIns="0" rtlCol="0">
            <a:noAutofit/>
          </a:bodyPr>
          <a:lstStyle/>
          <a:p>
            <a:pPr lvl="0"/>
            <a:r>
              <a:rPr lang="en-GB"/>
              <a:t>Plain text</a:t>
            </a:r>
          </a:p>
          <a:p>
            <a:pPr lvl="1"/>
            <a:r>
              <a:rPr lang="en-GB"/>
              <a:t>Bullet</a:t>
            </a:r>
          </a:p>
          <a:p>
            <a:pPr lvl="2"/>
            <a:r>
              <a:rPr lang="en-GB"/>
              <a:t>Sub-bullet</a:t>
            </a:r>
          </a:p>
          <a:p>
            <a:pPr lvl="3"/>
            <a:r>
              <a:rPr lang="en-GB"/>
              <a:t>Header #1</a:t>
            </a:r>
          </a:p>
          <a:p>
            <a:pPr lvl="4"/>
            <a:r>
              <a:rPr lang="en-GB"/>
              <a:t>Header #2</a:t>
            </a:r>
          </a:p>
        </p:txBody>
      </p:sp>
      <p:sp>
        <p:nvSpPr>
          <p:cNvPr id="6" name="Slide Number Placeholder 5">
            <a:extLst>
              <a:ext uri="{FF2B5EF4-FFF2-40B4-BE49-F238E27FC236}">
                <a16:creationId xmlns:a16="http://schemas.microsoft.com/office/drawing/2014/main" id="{7F664503-F5D0-35B3-2017-D0A942613AF8}"/>
              </a:ext>
            </a:extLst>
          </p:cNvPr>
          <p:cNvSpPr>
            <a:spLocks noGrp="1"/>
          </p:cNvSpPr>
          <p:nvPr>
            <p:ph type="sldNum" sz="quarter" idx="4"/>
          </p:nvPr>
        </p:nvSpPr>
        <p:spPr>
          <a:xfrm>
            <a:off x="11754846" y="121298"/>
            <a:ext cx="310122" cy="175404"/>
          </a:xfrm>
          <a:prstGeom prst="rect">
            <a:avLst/>
          </a:prstGeom>
        </p:spPr>
        <p:txBody>
          <a:bodyPr vert="horz" lIns="0" tIns="0" rIns="0" bIns="0" rtlCol="0" anchor="ctr"/>
          <a:lstStyle>
            <a:lvl1pPr algn="r">
              <a:defRPr sz="1000">
                <a:solidFill>
                  <a:srgbClr val="FFFFFF"/>
                </a:solidFill>
              </a:defRPr>
            </a:lvl1pPr>
          </a:lstStyle>
          <a:p>
            <a:fld id="{0994303E-A424-9540-91A8-53B791C91E8F}" type="slidenum">
              <a:rPr lang="en-GB" smtClean="0"/>
              <a:pPr/>
              <a:t>‹#›</a:t>
            </a:fld>
            <a:endParaRPr lang="en-GB"/>
          </a:p>
        </p:txBody>
      </p:sp>
    </p:spTree>
    <p:extLst>
      <p:ext uri="{BB962C8B-B14F-4D97-AF65-F5344CB8AC3E}">
        <p14:creationId xmlns:p14="http://schemas.microsoft.com/office/powerpoint/2010/main" val="366531843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Lst>
  <p:hf hdr="0" ftr="0" dt="0"/>
  <p:txStyles>
    <p:titleStyle>
      <a:lvl1pPr algn="l" defTabSz="914400" rtl="0" eaLnBrk="1" latinLnBrk="0" hangingPunct="1">
        <a:lnSpc>
          <a:spcPct val="80000"/>
        </a:lnSpc>
        <a:spcBef>
          <a:spcPct val="0"/>
        </a:spcBef>
        <a:buNone/>
        <a:defRPr sz="3600" b="1" kern="1200">
          <a:solidFill>
            <a:srgbClr val="FFFFFF"/>
          </a:solidFill>
          <a:latin typeface="+mj-lt"/>
          <a:ea typeface="+mj-ea"/>
          <a:cs typeface="Arial" panose="020B0604020202020204" pitchFamily="34" charset="0"/>
        </a:defRPr>
      </a:lvl1pPr>
    </p:titleStyle>
    <p:bodyStyle>
      <a:lvl1pPr marL="0" indent="0" algn="l" defTabSz="914400" rtl="0" eaLnBrk="1" latinLnBrk="0" hangingPunct="1">
        <a:lnSpc>
          <a:spcPct val="100000"/>
        </a:lnSpc>
        <a:spcBef>
          <a:spcPts val="600"/>
        </a:spcBef>
        <a:spcAft>
          <a:spcPts val="600"/>
        </a:spcAft>
        <a:buClr>
          <a:srgbClr val="47DA86"/>
        </a:buClr>
        <a:buFont typeface="Arial" panose="020B0604020202020204" pitchFamily="34" charset="0"/>
        <a:buNone/>
        <a:tabLst/>
        <a:defRPr sz="1400" kern="1200">
          <a:solidFill>
            <a:srgbClr val="FFFFFF"/>
          </a:solidFill>
          <a:latin typeface="+mn-lt"/>
          <a:ea typeface="+mn-ea"/>
          <a:cs typeface="Arial" panose="020B0604020202020204" pitchFamily="34" charset="0"/>
        </a:defRPr>
      </a:lvl1pPr>
      <a:lvl2pPr marL="180975" indent="-180975" algn="l" defTabSz="914400" rtl="0" eaLnBrk="1" latinLnBrk="0" hangingPunct="1">
        <a:lnSpc>
          <a:spcPct val="100000"/>
        </a:lnSpc>
        <a:spcBef>
          <a:spcPts val="600"/>
        </a:spcBef>
        <a:spcAft>
          <a:spcPts val="600"/>
        </a:spcAft>
        <a:buClr>
          <a:srgbClr val="47DA86"/>
        </a:buClr>
        <a:buFont typeface="Arial" panose="020B0604020202020204" pitchFamily="34" charset="0"/>
        <a:buChar char="•"/>
        <a:tabLst/>
        <a:defRPr sz="1400" kern="1200">
          <a:solidFill>
            <a:srgbClr val="FFFFFF"/>
          </a:solidFill>
          <a:latin typeface="+mn-lt"/>
          <a:ea typeface="+mn-ea"/>
          <a:cs typeface="Arial" panose="020B0604020202020204" pitchFamily="34" charset="0"/>
        </a:defRPr>
      </a:lvl2pPr>
      <a:lvl3pPr marL="361950" indent="-180975" algn="l" defTabSz="914400" rtl="0" eaLnBrk="1" latinLnBrk="0" hangingPunct="1">
        <a:lnSpc>
          <a:spcPct val="100000"/>
        </a:lnSpc>
        <a:spcBef>
          <a:spcPts val="600"/>
        </a:spcBef>
        <a:spcAft>
          <a:spcPts val="600"/>
        </a:spcAft>
        <a:buClr>
          <a:srgbClr val="47DA86"/>
        </a:buClr>
        <a:buFont typeface="Verdana" panose="020B0604030504040204" pitchFamily="34" charset="0"/>
        <a:buChar char="–"/>
        <a:tabLst/>
        <a:defRPr sz="1200" kern="1200">
          <a:solidFill>
            <a:srgbClr val="FFFFFF"/>
          </a:solidFill>
          <a:latin typeface="+mn-lt"/>
          <a:ea typeface="+mn-ea"/>
          <a:cs typeface="Arial" panose="020B0604020202020204" pitchFamily="34" charset="0"/>
        </a:defRPr>
      </a:lvl3pPr>
      <a:lvl4pPr marL="0" indent="0" algn="l" defTabSz="914400" rtl="0" eaLnBrk="1" latinLnBrk="0" hangingPunct="1">
        <a:lnSpc>
          <a:spcPct val="80000"/>
        </a:lnSpc>
        <a:spcBef>
          <a:spcPts val="1200"/>
        </a:spcBef>
        <a:spcAft>
          <a:spcPts val="300"/>
        </a:spcAft>
        <a:buClr>
          <a:srgbClr val="47DA86"/>
        </a:buClr>
        <a:buFont typeface="Arial" panose="020B0604020202020204" pitchFamily="34" charset="0"/>
        <a:buNone/>
        <a:tabLst/>
        <a:defRPr sz="1400" b="1" kern="1200" cap="all" baseline="0">
          <a:solidFill>
            <a:srgbClr val="FFFFFF"/>
          </a:solidFill>
          <a:latin typeface="+mn-lt"/>
          <a:ea typeface="+mn-ea"/>
          <a:cs typeface="Arial" panose="020B0604020202020204" pitchFamily="34" charset="0"/>
        </a:defRPr>
      </a:lvl4pPr>
      <a:lvl5pPr marL="0" indent="0" algn="l" defTabSz="914400" rtl="0" eaLnBrk="1" latinLnBrk="0" hangingPunct="1">
        <a:lnSpc>
          <a:spcPct val="80000"/>
        </a:lnSpc>
        <a:spcBef>
          <a:spcPts val="1200"/>
        </a:spcBef>
        <a:spcAft>
          <a:spcPts val="300"/>
        </a:spcAft>
        <a:buClr>
          <a:srgbClr val="47DA86"/>
        </a:buClr>
        <a:buFont typeface="Arial" panose="020B0604020202020204" pitchFamily="34" charset="0"/>
        <a:buNone/>
        <a:tabLst/>
        <a:defRPr sz="2000" b="1" kern="1200">
          <a:solidFill>
            <a:schemeClr val="accent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65">
          <p15:clr>
            <a:srgbClr val="F26B43"/>
          </p15:clr>
        </p15:guide>
        <p15:guide id="3" orient="horz" pos="346">
          <p15:clr>
            <a:srgbClr val="A4A3A4"/>
          </p15:clr>
        </p15:guide>
        <p15:guide id="4" orient="horz" pos="3657">
          <p15:clr>
            <a:srgbClr val="F26B43"/>
          </p15:clr>
        </p15:guide>
        <p15:guide id="5" pos="415">
          <p15:clr>
            <a:srgbClr val="F26B43"/>
          </p15:clr>
        </p15:guide>
        <p15:guide id="6" pos="3636">
          <p15:clr>
            <a:srgbClr val="F26B43"/>
          </p15:clr>
        </p15:guide>
        <p15:guide id="7" pos="4044">
          <p15:clr>
            <a:srgbClr val="F26B43"/>
          </p15:clr>
        </p15:guide>
        <p15:guide id="8" orient="horz" pos="851">
          <p15:clr>
            <a:srgbClr val="A4A3A4"/>
          </p15:clr>
        </p15:guide>
        <p15:guide id="9" orient="horz" pos="114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CAD918E-89E6-34C9-564F-762E09C64141}"/>
              </a:ext>
            </a:extLst>
          </p:cNvPr>
          <p:cNvPicPr>
            <a:picLocks noChangeAspect="1"/>
          </p:cNvPicPr>
          <p:nvPr userDrawn="1"/>
        </p:nvPicPr>
        <p:blipFill>
          <a:blip r:embed="rId15"/>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5A58BA3-C89E-A115-31E6-5DE9386A8526}"/>
              </a:ext>
            </a:extLst>
          </p:cNvPr>
          <p:cNvSpPr>
            <a:spLocks noGrp="1"/>
          </p:cNvSpPr>
          <p:nvPr>
            <p:ph type="title"/>
          </p:nvPr>
        </p:nvSpPr>
        <p:spPr>
          <a:xfrm>
            <a:off x="658813" y="549276"/>
            <a:ext cx="10874373" cy="602630"/>
          </a:xfrm>
          <a:prstGeom prst="rect">
            <a:avLst/>
          </a:prstGeom>
        </p:spPr>
        <p:txBody>
          <a:bodyPr vert="horz" lIns="0" tIns="0" rIns="0" bIns="0" rtlCol="0" anchor="t">
            <a:normAutofit/>
          </a:bodyPr>
          <a:lstStyle/>
          <a:p>
            <a:r>
              <a:rPr lang="en-US"/>
              <a:t>Click to edit Master title style</a:t>
            </a:r>
            <a:endParaRPr lang="en-NL"/>
          </a:p>
        </p:txBody>
      </p:sp>
      <p:sp>
        <p:nvSpPr>
          <p:cNvPr id="3" name="Text Placeholder 2">
            <a:extLst>
              <a:ext uri="{FF2B5EF4-FFF2-40B4-BE49-F238E27FC236}">
                <a16:creationId xmlns:a16="http://schemas.microsoft.com/office/drawing/2014/main" id="{5B60D13F-3FF6-D86C-4AB4-CE7C3E1C5B67}"/>
              </a:ext>
            </a:extLst>
          </p:cNvPr>
          <p:cNvSpPr>
            <a:spLocks noGrp="1"/>
          </p:cNvSpPr>
          <p:nvPr>
            <p:ph type="body" idx="1"/>
          </p:nvPr>
        </p:nvSpPr>
        <p:spPr>
          <a:xfrm>
            <a:off x="658813" y="1834333"/>
            <a:ext cx="10874374" cy="447439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Slide Number Placeholder 5">
            <a:extLst>
              <a:ext uri="{FF2B5EF4-FFF2-40B4-BE49-F238E27FC236}">
                <a16:creationId xmlns:a16="http://schemas.microsoft.com/office/drawing/2014/main" id="{7F664503-F5D0-35B3-2017-D0A942613AF8}"/>
              </a:ext>
            </a:extLst>
          </p:cNvPr>
          <p:cNvSpPr>
            <a:spLocks noGrp="1"/>
          </p:cNvSpPr>
          <p:nvPr>
            <p:ph type="sldNum" sz="quarter" idx="4"/>
          </p:nvPr>
        </p:nvSpPr>
        <p:spPr>
          <a:xfrm>
            <a:off x="658811" y="6546512"/>
            <a:ext cx="2663373" cy="67014"/>
          </a:xfrm>
          <a:prstGeom prst="rect">
            <a:avLst/>
          </a:prstGeom>
        </p:spPr>
        <p:txBody>
          <a:bodyPr vert="horz" lIns="0" tIns="0" rIns="0" bIns="0" rtlCol="0" anchor="ctr"/>
          <a:lstStyle>
            <a:lvl1pPr algn="l">
              <a:defRPr sz="1000">
                <a:solidFill>
                  <a:srgbClr val="FFFFFF"/>
                </a:solidFill>
              </a:defRPr>
            </a:lvl1pPr>
          </a:lstStyle>
          <a:p>
            <a:fld id="{0994303E-A424-9540-91A8-53B791C91E8F}" type="slidenum">
              <a:rPr lang="en-NL" smtClean="0"/>
              <a:pPr/>
              <a:t>‹#›</a:t>
            </a:fld>
            <a:endParaRPr lang="en-NL"/>
          </a:p>
        </p:txBody>
      </p:sp>
    </p:spTree>
    <p:extLst>
      <p:ext uri="{BB962C8B-B14F-4D97-AF65-F5344CB8AC3E}">
        <p14:creationId xmlns:p14="http://schemas.microsoft.com/office/powerpoint/2010/main" val="3398003548"/>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Lst>
  <p:hf hdr="0" ftr="0" dt="0"/>
  <p:txStyles>
    <p:titleStyle>
      <a:lvl1pPr algn="l" defTabSz="914400" rtl="0" eaLnBrk="1" latinLnBrk="0" hangingPunct="1">
        <a:lnSpc>
          <a:spcPct val="100000"/>
        </a:lnSpc>
        <a:spcBef>
          <a:spcPct val="0"/>
        </a:spcBef>
        <a:buNone/>
        <a:defRPr sz="3600" b="1" kern="1200">
          <a:solidFill>
            <a:srgbClr val="FFFFFF"/>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600"/>
        </a:spcAft>
        <a:buClr>
          <a:srgbClr val="47DA86"/>
        </a:buClr>
        <a:buFont typeface="Arial" panose="020B0604020202020204" pitchFamily="34" charset="0"/>
        <a:buNone/>
        <a:tabLst/>
        <a:defRPr sz="1400" kern="1200">
          <a:solidFill>
            <a:srgbClr val="FFFFFF"/>
          </a:solidFill>
          <a:latin typeface="Arial" panose="020B0604020202020204" pitchFamily="34" charset="0"/>
          <a:ea typeface="+mn-ea"/>
          <a:cs typeface="Arial" panose="020B0604020202020204" pitchFamily="34" charset="0"/>
        </a:defRPr>
      </a:lvl1pPr>
      <a:lvl2pPr marL="360363" indent="-176213" algn="l" defTabSz="914400" rtl="0" eaLnBrk="1" latinLnBrk="0" hangingPunct="1">
        <a:lnSpc>
          <a:spcPct val="100000"/>
        </a:lnSpc>
        <a:spcBef>
          <a:spcPts val="0"/>
        </a:spcBef>
        <a:spcAft>
          <a:spcPts val="600"/>
        </a:spcAft>
        <a:buClr>
          <a:srgbClr val="47DA86"/>
        </a:buClr>
        <a:buFont typeface="Arial" panose="020B0604020202020204" pitchFamily="34" charset="0"/>
        <a:buChar char="•"/>
        <a:tabLst/>
        <a:defRPr sz="1400" kern="1200">
          <a:solidFill>
            <a:srgbClr val="FFFFFF"/>
          </a:solidFill>
          <a:latin typeface="Arial" panose="020B0604020202020204" pitchFamily="34" charset="0"/>
          <a:ea typeface="+mn-ea"/>
          <a:cs typeface="Arial" panose="020B0604020202020204" pitchFamily="34" charset="0"/>
        </a:defRPr>
      </a:lvl2pPr>
      <a:lvl3pPr marL="538163" indent="-177800" algn="l" defTabSz="914400" rtl="0" eaLnBrk="1" latinLnBrk="0" hangingPunct="1">
        <a:lnSpc>
          <a:spcPct val="100000"/>
        </a:lnSpc>
        <a:spcBef>
          <a:spcPts val="0"/>
        </a:spcBef>
        <a:spcAft>
          <a:spcPts val="600"/>
        </a:spcAft>
        <a:buClr>
          <a:srgbClr val="47DA86"/>
        </a:buClr>
        <a:buFont typeface="Arial" panose="020B0604020202020204" pitchFamily="34" charset="0"/>
        <a:buChar char="•"/>
        <a:tabLst/>
        <a:defRPr sz="1400" kern="1200">
          <a:solidFill>
            <a:srgbClr val="FFFFFF"/>
          </a:solidFill>
          <a:latin typeface="Arial" panose="020B0604020202020204" pitchFamily="34" charset="0"/>
          <a:ea typeface="+mn-ea"/>
          <a:cs typeface="Arial" panose="020B0604020202020204" pitchFamily="34" charset="0"/>
        </a:defRPr>
      </a:lvl3pPr>
      <a:lvl4pPr marL="714375" indent="-176213" algn="l" defTabSz="914400" rtl="0" eaLnBrk="1" latinLnBrk="0" hangingPunct="1">
        <a:lnSpc>
          <a:spcPct val="100000"/>
        </a:lnSpc>
        <a:spcBef>
          <a:spcPts val="0"/>
        </a:spcBef>
        <a:spcAft>
          <a:spcPts val="600"/>
        </a:spcAft>
        <a:buClr>
          <a:srgbClr val="47DA86"/>
        </a:buClr>
        <a:buFont typeface="Arial" panose="020B0604020202020204" pitchFamily="34" charset="0"/>
        <a:buChar char="•"/>
        <a:tabLst/>
        <a:defRPr sz="1400" kern="1200">
          <a:solidFill>
            <a:srgbClr val="FFFFFF"/>
          </a:solidFill>
          <a:latin typeface="Arial" panose="020B0604020202020204" pitchFamily="34" charset="0"/>
          <a:ea typeface="+mn-ea"/>
          <a:cs typeface="Arial" panose="020B0604020202020204" pitchFamily="34" charset="0"/>
        </a:defRPr>
      </a:lvl4pPr>
      <a:lvl5pPr marL="892175" indent="-177800" algn="l" defTabSz="914400" rtl="0" eaLnBrk="1" latinLnBrk="0" hangingPunct="1">
        <a:lnSpc>
          <a:spcPct val="100000"/>
        </a:lnSpc>
        <a:spcBef>
          <a:spcPts val="0"/>
        </a:spcBef>
        <a:spcAft>
          <a:spcPts val="600"/>
        </a:spcAft>
        <a:buClr>
          <a:srgbClr val="47DA86"/>
        </a:buClr>
        <a:buFont typeface="Arial" panose="020B0604020202020204" pitchFamily="34" charset="0"/>
        <a:buChar char="•"/>
        <a:tabLst/>
        <a:defRPr sz="1400" kern="1200">
          <a:solidFill>
            <a:srgbClr val="FFFFF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65">
          <p15:clr>
            <a:srgbClr val="F26B43"/>
          </p15:clr>
        </p15:guide>
        <p15:guide id="3" orient="horz" pos="346">
          <p15:clr>
            <a:srgbClr val="F26B43"/>
          </p15:clr>
        </p15:guide>
        <p15:guide id="4" orient="horz" pos="3974">
          <p15:clr>
            <a:srgbClr val="F26B43"/>
          </p15:clr>
        </p15:guide>
        <p15:guide id="5" pos="415">
          <p15:clr>
            <a:srgbClr val="F26B43"/>
          </p15:clr>
        </p15:guide>
        <p15:guide id="6" pos="3636">
          <p15:clr>
            <a:srgbClr val="F26B43"/>
          </p15:clr>
        </p15:guide>
        <p15:guide id="7" pos="404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6956CD8-62D6-9099-FA6A-FA43A97A68DE}"/>
              </a:ext>
            </a:extLst>
          </p:cNvPr>
          <p:cNvPicPr>
            <a:picLocks noChangeAspect="1"/>
          </p:cNvPicPr>
          <p:nvPr/>
        </p:nvPicPr>
        <p:blipFill>
          <a:blip r:embed="rId8"/>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5A58BA3-C89E-A115-31E6-5DE9386A8526}"/>
              </a:ext>
            </a:extLst>
          </p:cNvPr>
          <p:cNvSpPr>
            <a:spLocks noGrp="1"/>
          </p:cNvSpPr>
          <p:nvPr>
            <p:ph type="title"/>
          </p:nvPr>
        </p:nvSpPr>
        <p:spPr>
          <a:xfrm>
            <a:off x="658812" y="549277"/>
            <a:ext cx="10874375" cy="602630"/>
          </a:xfrm>
          <a:prstGeom prst="rect">
            <a:avLst/>
          </a:prstGeom>
        </p:spPr>
        <p:txBody>
          <a:bodyPr vert="horz" lIns="0" tIns="0" rIns="0" bIns="0" rtlCol="0" anchor="t">
            <a:noAutofit/>
          </a:bodyPr>
          <a:lstStyle/>
          <a:p>
            <a:r>
              <a:rPr lang="en-GB"/>
              <a:t>Click to edit Master title style</a:t>
            </a:r>
            <a:endParaRPr lang="en-NL" dirty="0"/>
          </a:p>
        </p:txBody>
      </p:sp>
      <p:sp>
        <p:nvSpPr>
          <p:cNvPr id="3" name="Text Placeholder 2">
            <a:extLst>
              <a:ext uri="{FF2B5EF4-FFF2-40B4-BE49-F238E27FC236}">
                <a16:creationId xmlns:a16="http://schemas.microsoft.com/office/drawing/2014/main" id="{5B60D13F-3FF6-D86C-4AB4-CE7C3E1C5B67}"/>
              </a:ext>
            </a:extLst>
          </p:cNvPr>
          <p:cNvSpPr>
            <a:spLocks noGrp="1"/>
          </p:cNvSpPr>
          <p:nvPr>
            <p:ph type="body" idx="1"/>
          </p:nvPr>
        </p:nvSpPr>
        <p:spPr>
          <a:xfrm>
            <a:off x="658812" y="1834333"/>
            <a:ext cx="10874375" cy="4474391"/>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dirty="0"/>
          </a:p>
        </p:txBody>
      </p:sp>
      <p:sp>
        <p:nvSpPr>
          <p:cNvPr id="8" name="Slide Number Placeholder 9">
            <a:extLst>
              <a:ext uri="{FF2B5EF4-FFF2-40B4-BE49-F238E27FC236}">
                <a16:creationId xmlns:a16="http://schemas.microsoft.com/office/drawing/2014/main" id="{EE31EDC3-F7BA-1D15-AF87-24D72CAE0EDC}"/>
              </a:ext>
            </a:extLst>
          </p:cNvPr>
          <p:cNvSpPr>
            <a:spLocks noGrp="1"/>
          </p:cNvSpPr>
          <p:nvPr>
            <p:ph type="sldNum" sz="quarter" idx="4"/>
          </p:nvPr>
        </p:nvSpPr>
        <p:spPr>
          <a:xfrm>
            <a:off x="658813" y="6500554"/>
            <a:ext cx="411704" cy="188228"/>
          </a:xfrm>
          <a:prstGeom prst="rect">
            <a:avLst/>
          </a:prstGeom>
        </p:spPr>
        <p:txBody>
          <a:bodyPr vert="horz" lIns="0" tIns="45720" rIns="91440" bIns="45720" rtlCol="0" anchor="ctr"/>
          <a:lstStyle>
            <a:lvl1pPr algn="l">
              <a:defRPr sz="1000">
                <a:solidFill>
                  <a:schemeClr val="tx1">
                    <a:tint val="75000"/>
                  </a:schemeClr>
                </a:solidFill>
              </a:defRPr>
            </a:lvl1pPr>
          </a:lstStyle>
          <a:p>
            <a:fld id="{9B2A305F-D5DD-E143-90C1-708547DE3F23}" type="slidenum">
              <a:rPr lang="en-US" smtClean="0"/>
              <a:pPr/>
              <a:t>‹#›</a:t>
            </a:fld>
            <a:endParaRPr lang="en-US" dirty="0"/>
          </a:p>
        </p:txBody>
      </p:sp>
    </p:spTree>
    <p:extLst>
      <p:ext uri="{BB962C8B-B14F-4D97-AF65-F5344CB8AC3E}">
        <p14:creationId xmlns:p14="http://schemas.microsoft.com/office/powerpoint/2010/main" val="2264691956"/>
      </p:ext>
    </p:extLst>
  </p:cSld>
  <p:clrMap bg1="dk1" tx1="lt1" bg2="dk2" tx2="lt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Lst>
  <p:hf hdr="0" ft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00000"/>
        </a:lnSpc>
        <a:spcBef>
          <a:spcPts val="0"/>
        </a:spcBef>
        <a:spcAft>
          <a:spcPts val="600"/>
        </a:spcAft>
        <a:buClr>
          <a:schemeClr val="tx2"/>
        </a:buClr>
        <a:buFont typeface="Arial" panose="020B0604020202020204" pitchFamily="34" charset="0"/>
        <a:buNone/>
        <a:tabLst/>
        <a:defRPr sz="1400" kern="1200">
          <a:solidFill>
            <a:schemeClr val="tx2"/>
          </a:solidFill>
          <a:latin typeface="Arial" panose="020B0604020202020204" pitchFamily="34" charset="0"/>
          <a:ea typeface="+mn-ea"/>
          <a:cs typeface="Arial" panose="020B0604020202020204" pitchFamily="34" charset="0"/>
        </a:defRPr>
      </a:lvl1pPr>
      <a:lvl2pPr marL="360363" indent="-176213" algn="l" defTabSz="914400" rtl="0" eaLnBrk="1" latinLnBrk="0" hangingPunct="1">
        <a:lnSpc>
          <a:spcPct val="100000"/>
        </a:lnSpc>
        <a:spcBef>
          <a:spcPts val="0"/>
        </a:spcBef>
        <a:spcAft>
          <a:spcPts val="600"/>
        </a:spcAft>
        <a:buClr>
          <a:schemeClr val="bg1"/>
        </a:buClr>
        <a:buFont typeface="Arial" panose="020B0604020202020204" pitchFamily="34" charset="0"/>
        <a:buChar char="•"/>
        <a:tabLst/>
        <a:defRPr sz="1400" kern="1200">
          <a:solidFill>
            <a:schemeClr val="tx2"/>
          </a:solidFill>
          <a:latin typeface="Arial" panose="020B0604020202020204" pitchFamily="34" charset="0"/>
          <a:ea typeface="+mn-ea"/>
          <a:cs typeface="Arial" panose="020B0604020202020204" pitchFamily="34" charset="0"/>
        </a:defRPr>
      </a:lvl2pPr>
      <a:lvl3pPr marL="538163"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tabLst/>
        <a:defRPr sz="1400" kern="1200">
          <a:solidFill>
            <a:schemeClr val="tx2"/>
          </a:solidFill>
          <a:latin typeface="Arial" panose="020B0604020202020204" pitchFamily="34" charset="0"/>
          <a:ea typeface="+mn-ea"/>
          <a:cs typeface="Arial" panose="020B0604020202020204" pitchFamily="34" charset="0"/>
        </a:defRPr>
      </a:lvl3pPr>
      <a:lvl4pPr marL="714375" indent="-176213" algn="l" defTabSz="914400" rtl="0" eaLnBrk="1" latinLnBrk="0" hangingPunct="1">
        <a:lnSpc>
          <a:spcPct val="100000"/>
        </a:lnSpc>
        <a:spcBef>
          <a:spcPts val="0"/>
        </a:spcBef>
        <a:spcAft>
          <a:spcPts val="600"/>
        </a:spcAft>
        <a:buClr>
          <a:schemeClr val="bg1"/>
        </a:buClr>
        <a:buFont typeface="Arial" panose="020B0604020202020204" pitchFamily="34" charset="0"/>
        <a:buChar char="•"/>
        <a:tabLst/>
        <a:defRPr sz="1400" kern="1200">
          <a:solidFill>
            <a:schemeClr val="tx2"/>
          </a:solidFill>
          <a:latin typeface="Arial" panose="020B0604020202020204" pitchFamily="34" charset="0"/>
          <a:ea typeface="+mn-ea"/>
          <a:cs typeface="Arial" panose="020B0604020202020204" pitchFamily="34" charset="0"/>
        </a:defRPr>
      </a:lvl4pPr>
      <a:lvl5pPr marL="892175" indent="-177800" algn="l" defTabSz="914400" rtl="0" eaLnBrk="1" latinLnBrk="0" hangingPunct="1">
        <a:lnSpc>
          <a:spcPct val="100000"/>
        </a:lnSpc>
        <a:spcBef>
          <a:spcPts val="0"/>
        </a:spcBef>
        <a:spcAft>
          <a:spcPts val="600"/>
        </a:spcAft>
        <a:buClr>
          <a:schemeClr val="bg1"/>
        </a:buClr>
        <a:buFont typeface="Arial" panose="020B0604020202020204" pitchFamily="34" charset="0"/>
        <a:buChar char="•"/>
        <a:tabLst/>
        <a:defRPr sz="14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
          <p15:clr>
            <a:srgbClr val="F26B43"/>
          </p15:clr>
        </p15:guide>
        <p15:guide id="2" pos="7265">
          <p15:clr>
            <a:srgbClr val="F26B43"/>
          </p15:clr>
        </p15:guide>
        <p15:guide id="3" orient="horz" pos="346">
          <p15:clr>
            <a:srgbClr val="F26B43"/>
          </p15:clr>
        </p15:guide>
        <p15:guide id="4" orient="horz" pos="3974">
          <p15:clr>
            <a:srgbClr val="F26B43"/>
          </p15:clr>
        </p15:guide>
        <p15:guide id="5" pos="3636">
          <p15:clr>
            <a:srgbClr val="F26B43"/>
          </p15:clr>
        </p15:guide>
        <p15:guide id="6" pos="404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5A58BA3-C89E-A115-31E6-5DE9386A8526}"/>
              </a:ext>
            </a:extLst>
          </p:cNvPr>
          <p:cNvSpPr>
            <a:spLocks noGrp="1"/>
          </p:cNvSpPr>
          <p:nvPr>
            <p:ph type="title"/>
          </p:nvPr>
        </p:nvSpPr>
        <p:spPr>
          <a:xfrm>
            <a:off x="658813" y="549276"/>
            <a:ext cx="10874374" cy="428920"/>
          </a:xfrm>
          <a:prstGeom prst="rect">
            <a:avLst/>
          </a:prstGeom>
        </p:spPr>
        <p:txBody>
          <a:bodyPr vert="horz" lIns="0" tIns="0" rIns="0" bIns="0" rtlCol="0" anchor="t">
            <a:noAutofit/>
          </a:bodyPr>
          <a:lstStyle/>
          <a:p>
            <a:r>
              <a:rPr lang="en-GB" dirty="0"/>
              <a:t>Click to edit Master title style</a:t>
            </a:r>
          </a:p>
        </p:txBody>
      </p:sp>
      <p:sp>
        <p:nvSpPr>
          <p:cNvPr id="3" name="Text Placeholder 2">
            <a:extLst>
              <a:ext uri="{FF2B5EF4-FFF2-40B4-BE49-F238E27FC236}">
                <a16:creationId xmlns:a16="http://schemas.microsoft.com/office/drawing/2014/main" id="{5B60D13F-3FF6-D86C-4AB4-CE7C3E1C5B67}"/>
              </a:ext>
            </a:extLst>
          </p:cNvPr>
          <p:cNvSpPr>
            <a:spLocks noGrp="1"/>
          </p:cNvSpPr>
          <p:nvPr>
            <p:ph type="body" idx="1"/>
          </p:nvPr>
        </p:nvSpPr>
        <p:spPr>
          <a:xfrm>
            <a:off x="658812" y="1834333"/>
            <a:ext cx="10874375" cy="3971155"/>
          </a:xfrm>
          <a:prstGeom prst="rect">
            <a:avLst/>
          </a:prstGeom>
        </p:spPr>
        <p:txBody>
          <a:bodyPr vert="horz" lIns="0" tIns="0" rIns="0" bIns="0" rtlCol="0">
            <a:normAutofit/>
          </a:bodyPr>
          <a:lstStyle/>
          <a:p>
            <a:pPr lvl="0"/>
            <a:r>
              <a:rPr lang="en-GB" dirty="0"/>
              <a:t>Plain text</a:t>
            </a:r>
          </a:p>
          <a:p>
            <a:pPr lvl="1"/>
            <a:r>
              <a:rPr lang="en-GB" dirty="0"/>
              <a:t>Bullet</a:t>
            </a:r>
          </a:p>
          <a:p>
            <a:pPr lvl="2"/>
            <a:r>
              <a:rPr lang="en-GB" dirty="0"/>
              <a:t>Sub-bullet</a:t>
            </a:r>
          </a:p>
          <a:p>
            <a:pPr lvl="3"/>
            <a:r>
              <a:rPr lang="en-GB" dirty="0"/>
              <a:t>Header #1</a:t>
            </a:r>
          </a:p>
          <a:p>
            <a:pPr lvl="4"/>
            <a:r>
              <a:rPr lang="en-GB" dirty="0"/>
              <a:t>Header #2</a:t>
            </a:r>
          </a:p>
        </p:txBody>
      </p:sp>
      <p:sp>
        <p:nvSpPr>
          <p:cNvPr id="6" name="Slide Number Placeholder 5">
            <a:extLst>
              <a:ext uri="{FF2B5EF4-FFF2-40B4-BE49-F238E27FC236}">
                <a16:creationId xmlns:a16="http://schemas.microsoft.com/office/drawing/2014/main" id="{7F664503-F5D0-35B3-2017-D0A942613AF8}"/>
              </a:ext>
            </a:extLst>
          </p:cNvPr>
          <p:cNvSpPr>
            <a:spLocks noGrp="1"/>
          </p:cNvSpPr>
          <p:nvPr>
            <p:ph type="sldNum" sz="quarter" idx="4"/>
          </p:nvPr>
        </p:nvSpPr>
        <p:spPr>
          <a:xfrm>
            <a:off x="11727712" y="195003"/>
            <a:ext cx="249374" cy="166503"/>
          </a:xfrm>
          <a:prstGeom prst="rect">
            <a:avLst/>
          </a:prstGeom>
        </p:spPr>
        <p:txBody>
          <a:bodyPr vert="horz" lIns="0" tIns="0" rIns="0" bIns="0" rtlCol="0" anchor="ctr"/>
          <a:lstStyle>
            <a:lvl1pPr algn="r">
              <a:defRPr sz="1000">
                <a:solidFill>
                  <a:schemeClr val="tx1"/>
                </a:solidFill>
              </a:defRPr>
            </a:lvl1pPr>
          </a:lstStyle>
          <a:p>
            <a:fld id="{0994303E-A424-9540-91A8-53B791C91E8F}" type="slidenum">
              <a:rPr lang="en-GB" smtClean="0"/>
              <a:pPr/>
              <a:t>‹#›</a:t>
            </a:fld>
            <a:endParaRPr lang="en-GB" dirty="0"/>
          </a:p>
        </p:txBody>
      </p:sp>
      <p:sp>
        <p:nvSpPr>
          <p:cNvPr id="5" name="Slide Number Placeholder 5">
            <a:extLst>
              <a:ext uri="{FF2B5EF4-FFF2-40B4-BE49-F238E27FC236}">
                <a16:creationId xmlns:a16="http://schemas.microsoft.com/office/drawing/2014/main" id="{EE02EC8A-4622-E482-4901-E35DA0BEC501}"/>
              </a:ext>
            </a:extLst>
          </p:cNvPr>
          <p:cNvSpPr txBox="1">
            <a:spLocks/>
          </p:cNvSpPr>
          <p:nvPr userDrawn="1"/>
        </p:nvSpPr>
        <p:spPr>
          <a:xfrm>
            <a:off x="11754846" y="121298"/>
            <a:ext cx="310122" cy="175404"/>
          </a:xfrm>
          <a:prstGeom prst="rect">
            <a:avLst/>
          </a:prstGeom>
        </p:spPr>
        <p:txBody>
          <a:bodyPr vert="horz" lIns="0" tIns="0" rIns="0" bIns="0" rtlCol="0" anchor="ctr"/>
          <a:lstStyle>
            <a:defPPr>
              <a:defRPr lang="en-NL"/>
            </a:defPPr>
            <a:lvl1pPr marL="0" algn="r" defTabSz="914400" rtl="0" eaLnBrk="1" latinLnBrk="0" hangingPunct="1">
              <a:defRPr sz="10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994303E-A424-9540-91A8-53B791C91E8F}" type="slidenum">
              <a:rPr lang="en-GB" smtClean="0"/>
              <a:pPr/>
              <a:t>‹#›</a:t>
            </a:fld>
            <a:endParaRPr lang="en-GB" dirty="0"/>
          </a:p>
        </p:txBody>
      </p:sp>
    </p:spTree>
    <p:extLst>
      <p:ext uri="{BB962C8B-B14F-4D97-AF65-F5344CB8AC3E}">
        <p14:creationId xmlns:p14="http://schemas.microsoft.com/office/powerpoint/2010/main" val="2811082597"/>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Lst>
  <p:hf hdr="0" ft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Arial" panose="020B0604020202020204" pitchFamily="34" charset="0"/>
        </a:defRPr>
      </a:lvl1pPr>
    </p:titleStyle>
    <p:bodyStyle>
      <a:lvl1pPr marL="0" indent="0" algn="l" defTabSz="914400" rtl="0" eaLnBrk="1" latinLnBrk="0" hangingPunct="1">
        <a:lnSpc>
          <a:spcPct val="100000"/>
        </a:lnSpc>
        <a:spcBef>
          <a:spcPts val="600"/>
        </a:spcBef>
        <a:spcAft>
          <a:spcPts val="600"/>
        </a:spcAft>
        <a:buClr>
          <a:srgbClr val="47DA86"/>
        </a:buClr>
        <a:buFont typeface="Arial" panose="020B0604020202020204" pitchFamily="34" charset="0"/>
        <a:buNone/>
        <a:tabLst/>
        <a:defRPr sz="1400" kern="1200">
          <a:solidFill>
            <a:schemeClr val="tx1"/>
          </a:solidFill>
          <a:latin typeface="+mn-lt"/>
          <a:ea typeface="+mn-ea"/>
          <a:cs typeface="Arial" panose="020B0604020202020204" pitchFamily="34" charset="0"/>
        </a:defRPr>
      </a:lvl1pPr>
      <a:lvl2pPr marL="180975" indent="-180975" algn="l" defTabSz="914400" rtl="0" eaLnBrk="1" latinLnBrk="0" hangingPunct="1">
        <a:lnSpc>
          <a:spcPct val="100000"/>
        </a:lnSpc>
        <a:spcBef>
          <a:spcPts val="600"/>
        </a:spcBef>
        <a:spcAft>
          <a:spcPts val="600"/>
        </a:spcAft>
        <a:buClr>
          <a:srgbClr val="47DA86"/>
        </a:buClr>
        <a:buFont typeface="Arial" panose="020B0604020202020204" pitchFamily="34" charset="0"/>
        <a:buChar char="•"/>
        <a:tabLst/>
        <a:defRPr sz="1400" kern="1200">
          <a:solidFill>
            <a:schemeClr val="tx1"/>
          </a:solidFill>
          <a:latin typeface="+mn-lt"/>
          <a:ea typeface="+mn-ea"/>
          <a:cs typeface="Arial" panose="020B0604020202020204" pitchFamily="34" charset="0"/>
        </a:defRPr>
      </a:lvl2pPr>
      <a:lvl3pPr marL="361950" indent="-180975" algn="l" defTabSz="914400" rtl="0" eaLnBrk="1" latinLnBrk="0" hangingPunct="1">
        <a:lnSpc>
          <a:spcPct val="100000"/>
        </a:lnSpc>
        <a:spcBef>
          <a:spcPts val="600"/>
        </a:spcBef>
        <a:spcAft>
          <a:spcPts val="600"/>
        </a:spcAft>
        <a:buClr>
          <a:srgbClr val="47DA86"/>
        </a:buClr>
        <a:buFont typeface="Verdana" panose="020B0604030504040204" pitchFamily="34" charset="0"/>
        <a:buChar char="–"/>
        <a:tabLst/>
        <a:defRPr sz="1200" kern="1200">
          <a:solidFill>
            <a:schemeClr val="tx1"/>
          </a:solidFill>
          <a:latin typeface="+mn-lt"/>
          <a:ea typeface="+mn-ea"/>
          <a:cs typeface="Arial" panose="020B0604020202020204" pitchFamily="34" charset="0"/>
        </a:defRPr>
      </a:lvl3pPr>
      <a:lvl4pPr marL="0" indent="0" algn="l" defTabSz="914400" rtl="0" eaLnBrk="1" latinLnBrk="0" hangingPunct="1">
        <a:lnSpc>
          <a:spcPct val="80000"/>
        </a:lnSpc>
        <a:spcBef>
          <a:spcPts val="1200"/>
        </a:spcBef>
        <a:spcAft>
          <a:spcPts val="300"/>
        </a:spcAft>
        <a:buClr>
          <a:srgbClr val="47DA86"/>
        </a:buClr>
        <a:buFont typeface="Arial" panose="020B0604020202020204" pitchFamily="34" charset="0"/>
        <a:buNone/>
        <a:tabLst/>
        <a:defRPr sz="1400" b="1" kern="1200" cap="all" baseline="0">
          <a:solidFill>
            <a:schemeClr val="tx1"/>
          </a:solidFill>
          <a:latin typeface="+mn-lt"/>
          <a:ea typeface="+mn-ea"/>
          <a:cs typeface="Arial" panose="020B0604020202020204" pitchFamily="34" charset="0"/>
        </a:defRPr>
      </a:lvl4pPr>
      <a:lvl5pPr marL="0" indent="0" algn="l" defTabSz="914400" rtl="0" eaLnBrk="1" latinLnBrk="0" hangingPunct="1">
        <a:lnSpc>
          <a:spcPct val="80000"/>
        </a:lnSpc>
        <a:spcBef>
          <a:spcPts val="1200"/>
        </a:spcBef>
        <a:spcAft>
          <a:spcPts val="300"/>
        </a:spcAft>
        <a:buClr>
          <a:srgbClr val="47DA86"/>
        </a:buClr>
        <a:buFont typeface="Arial" panose="020B0604020202020204" pitchFamily="34" charset="0"/>
        <a:buNone/>
        <a:tabLst/>
        <a:defRPr sz="2000" b="1" kern="1200">
          <a:solidFill>
            <a:schemeClr val="accent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
          <p15:clr>
            <a:srgbClr val="F26B43"/>
          </p15:clr>
        </p15:guide>
        <p15:guide id="2" pos="7265">
          <p15:clr>
            <a:srgbClr val="F26B43"/>
          </p15:clr>
        </p15:guide>
        <p15:guide id="3" orient="horz" pos="3657">
          <p15:clr>
            <a:srgbClr val="F26B43"/>
          </p15:clr>
        </p15:guide>
        <p15:guide id="4" orient="horz" pos="346">
          <p15:clr>
            <a:srgbClr val="A4A3A4"/>
          </p15:clr>
        </p15:guide>
        <p15:guide id="5" pos="3636">
          <p15:clr>
            <a:srgbClr val="F26B43"/>
          </p15:clr>
        </p15:guide>
        <p15:guide id="6" pos="4044">
          <p15:clr>
            <a:srgbClr val="F26B43"/>
          </p15:clr>
        </p15:guide>
        <p15:guide id="7" orient="horz" pos="884">
          <p15:clr>
            <a:srgbClr val="A4A3A4"/>
          </p15:clr>
        </p15:guide>
        <p15:guide id="8" orient="horz" pos="114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580B8F6-1E85-C46E-9F7F-8F7FCEFCFC36}"/>
              </a:ext>
            </a:extLst>
          </p:cNvPr>
          <p:cNvGraphicFramePr>
            <a:graphicFrameLocks noChangeAspect="1"/>
          </p:cNvGraphicFramePr>
          <p:nvPr userDrawn="1">
            <p:custDataLst>
              <p:tags r:id="rId11"/>
            </p:custDataLst>
            <p:extLst>
              <p:ext uri="{D42A27DB-BD31-4B8C-83A1-F6EECF244321}">
                <p14:modId xmlns:p14="http://schemas.microsoft.com/office/powerpoint/2010/main" val="1522744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7" imgH="348" progId="TCLayout.ActiveDocument.1">
                  <p:embed/>
                </p:oleObj>
              </mc:Choice>
              <mc:Fallback>
                <p:oleObj name="think-cell Slide" r:id="rId12" imgW="347" imgH="348" progId="TCLayout.ActiveDocument.1">
                  <p:embed/>
                  <p:pic>
                    <p:nvPicPr>
                      <p:cNvPr id="5" name="think-cell data - do not delete" hidden="1">
                        <a:extLst>
                          <a:ext uri="{FF2B5EF4-FFF2-40B4-BE49-F238E27FC236}">
                            <a16:creationId xmlns:a16="http://schemas.microsoft.com/office/drawing/2014/main" id="{5580B8F6-1E85-C46E-9F7F-8F7FCEFCFC3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6956CD8-62D6-9099-FA6A-FA43A97A68DE}"/>
              </a:ext>
            </a:extLst>
          </p:cNvPr>
          <p:cNvPicPr>
            <a:picLocks noChangeAspect="1"/>
          </p:cNvPicPr>
          <p:nvPr userDrawn="1"/>
        </p:nvPicPr>
        <p:blipFill>
          <a:blip r:embed="rId14"/>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5A58BA3-C89E-A115-31E6-5DE9386A8526}"/>
              </a:ext>
            </a:extLst>
          </p:cNvPr>
          <p:cNvSpPr>
            <a:spLocks noGrp="1"/>
          </p:cNvSpPr>
          <p:nvPr>
            <p:ph type="title"/>
          </p:nvPr>
        </p:nvSpPr>
        <p:spPr>
          <a:xfrm>
            <a:off x="658812" y="549277"/>
            <a:ext cx="10874375" cy="428918"/>
          </a:xfrm>
          <a:prstGeom prst="rect">
            <a:avLst/>
          </a:prstGeom>
        </p:spPr>
        <p:txBody>
          <a:bodyPr vert="horz" lIns="0" tIns="0" rIns="0" bIns="0" rtlCol="0" anchor="t">
            <a:noAutofit/>
          </a:bodyPr>
          <a:lstStyle/>
          <a:p>
            <a:r>
              <a:rPr lang="en-GB"/>
              <a:t>Click to edit Master title style</a:t>
            </a:r>
          </a:p>
        </p:txBody>
      </p:sp>
      <p:sp>
        <p:nvSpPr>
          <p:cNvPr id="3" name="Text Placeholder 2">
            <a:extLst>
              <a:ext uri="{FF2B5EF4-FFF2-40B4-BE49-F238E27FC236}">
                <a16:creationId xmlns:a16="http://schemas.microsoft.com/office/drawing/2014/main" id="{5B60D13F-3FF6-D86C-4AB4-CE7C3E1C5B67}"/>
              </a:ext>
            </a:extLst>
          </p:cNvPr>
          <p:cNvSpPr>
            <a:spLocks noGrp="1"/>
          </p:cNvSpPr>
          <p:nvPr>
            <p:ph type="body" idx="1"/>
          </p:nvPr>
        </p:nvSpPr>
        <p:spPr>
          <a:xfrm>
            <a:off x="658812" y="1834333"/>
            <a:ext cx="10874375" cy="3971155"/>
          </a:xfrm>
          <a:prstGeom prst="rect">
            <a:avLst/>
          </a:prstGeom>
        </p:spPr>
        <p:txBody>
          <a:bodyPr vert="horz" lIns="0" tIns="0" rIns="0" bIns="0" rtlCol="0">
            <a:normAutofit/>
          </a:bodyPr>
          <a:lstStyle/>
          <a:p>
            <a:pPr lvl="0"/>
            <a:r>
              <a:rPr lang="en-GB"/>
              <a:t>Plain text</a:t>
            </a:r>
          </a:p>
          <a:p>
            <a:pPr lvl="1"/>
            <a:r>
              <a:rPr lang="en-GB"/>
              <a:t>Bullet</a:t>
            </a:r>
          </a:p>
          <a:p>
            <a:pPr lvl="2"/>
            <a:r>
              <a:rPr lang="en-GB"/>
              <a:t>Sub-bullet</a:t>
            </a:r>
          </a:p>
          <a:p>
            <a:pPr lvl="3"/>
            <a:r>
              <a:rPr lang="en-GB"/>
              <a:t>Header #1</a:t>
            </a:r>
          </a:p>
          <a:p>
            <a:pPr lvl="4"/>
            <a:r>
              <a:rPr lang="en-GB"/>
              <a:t>Header #2</a:t>
            </a:r>
          </a:p>
        </p:txBody>
      </p:sp>
      <p:sp>
        <p:nvSpPr>
          <p:cNvPr id="6" name="Slide Number Placeholder 5">
            <a:extLst>
              <a:ext uri="{FF2B5EF4-FFF2-40B4-BE49-F238E27FC236}">
                <a16:creationId xmlns:a16="http://schemas.microsoft.com/office/drawing/2014/main" id="{7F664503-F5D0-35B3-2017-D0A942613AF8}"/>
              </a:ext>
            </a:extLst>
          </p:cNvPr>
          <p:cNvSpPr>
            <a:spLocks noGrp="1"/>
          </p:cNvSpPr>
          <p:nvPr>
            <p:ph type="sldNum" sz="quarter" idx="4"/>
          </p:nvPr>
        </p:nvSpPr>
        <p:spPr>
          <a:xfrm>
            <a:off x="11727711" y="127591"/>
            <a:ext cx="334435" cy="180828"/>
          </a:xfrm>
          <a:prstGeom prst="rect">
            <a:avLst/>
          </a:prstGeom>
        </p:spPr>
        <p:txBody>
          <a:bodyPr vert="horz" lIns="0" tIns="0" rIns="0" bIns="0" rtlCol="0" anchor="ctr"/>
          <a:lstStyle>
            <a:lvl1pPr algn="r">
              <a:defRPr sz="1000">
                <a:solidFill>
                  <a:schemeClr val="tx1"/>
                </a:solidFill>
              </a:defRPr>
            </a:lvl1pPr>
          </a:lstStyle>
          <a:p>
            <a:fld id="{0994303E-A424-9540-91A8-53B791C91E8F}" type="slidenum">
              <a:rPr lang="en-GB" smtClean="0"/>
              <a:pPr/>
              <a:t>‹#›</a:t>
            </a:fld>
            <a:endParaRPr lang="en-GB"/>
          </a:p>
        </p:txBody>
      </p:sp>
    </p:spTree>
    <p:extLst>
      <p:ext uri="{BB962C8B-B14F-4D97-AF65-F5344CB8AC3E}">
        <p14:creationId xmlns:p14="http://schemas.microsoft.com/office/powerpoint/2010/main" val="1882188570"/>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Lst>
  <p:hf hdr="0" ftr="0" dt="0"/>
  <p:txStyles>
    <p:titleStyle>
      <a:lvl1pPr algn="l" defTabSz="914400" rtl="0" eaLnBrk="1" latinLnBrk="0" hangingPunct="1">
        <a:lnSpc>
          <a:spcPct val="80000"/>
        </a:lnSpc>
        <a:spcBef>
          <a:spcPct val="0"/>
        </a:spcBef>
        <a:buNone/>
        <a:defRPr sz="3600" b="1" kern="1200">
          <a:solidFill>
            <a:srgbClr val="FFFFFF"/>
          </a:solidFill>
          <a:latin typeface="+mj-lt"/>
          <a:ea typeface="+mj-ea"/>
          <a:cs typeface="Arial" panose="020B0604020202020204" pitchFamily="34" charset="0"/>
        </a:defRPr>
      </a:lvl1pPr>
    </p:titleStyle>
    <p:bodyStyle>
      <a:lvl1pPr marL="0" indent="0" algn="l" defTabSz="914400" rtl="0" eaLnBrk="1" latinLnBrk="0" hangingPunct="1">
        <a:lnSpc>
          <a:spcPct val="100000"/>
        </a:lnSpc>
        <a:spcBef>
          <a:spcPts val="600"/>
        </a:spcBef>
        <a:spcAft>
          <a:spcPts val="600"/>
        </a:spcAft>
        <a:buClr>
          <a:schemeClr val="tx1"/>
        </a:buClr>
        <a:buFont typeface="Arial" panose="020B0604020202020204" pitchFamily="34" charset="0"/>
        <a:buNone/>
        <a:tabLst/>
        <a:defRPr sz="1400" kern="1200">
          <a:solidFill>
            <a:srgbClr val="FFFFFF"/>
          </a:solidFill>
          <a:latin typeface="+mn-lt"/>
          <a:ea typeface="+mn-ea"/>
          <a:cs typeface="Arial" panose="020B0604020202020204" pitchFamily="34" charset="0"/>
        </a:defRPr>
      </a:lvl1pPr>
      <a:lvl2pPr marL="180975" indent="-180975" algn="l" defTabSz="914400" rtl="0" eaLnBrk="1" latinLnBrk="0" hangingPunct="1">
        <a:lnSpc>
          <a:spcPct val="100000"/>
        </a:lnSpc>
        <a:spcBef>
          <a:spcPts val="600"/>
        </a:spcBef>
        <a:spcAft>
          <a:spcPts val="600"/>
        </a:spcAft>
        <a:buClr>
          <a:schemeClr val="tx1"/>
        </a:buClr>
        <a:buFont typeface="Arial" panose="020B0604020202020204" pitchFamily="34" charset="0"/>
        <a:buChar char="•"/>
        <a:tabLst/>
        <a:defRPr sz="1400" kern="1200">
          <a:solidFill>
            <a:srgbClr val="FFFFFF"/>
          </a:solidFill>
          <a:latin typeface="+mn-lt"/>
          <a:ea typeface="+mn-ea"/>
          <a:cs typeface="Arial" panose="020B0604020202020204" pitchFamily="34" charset="0"/>
        </a:defRPr>
      </a:lvl2pPr>
      <a:lvl3pPr marL="361950" indent="-180975" algn="l" defTabSz="914400" rtl="0" eaLnBrk="1" latinLnBrk="0" hangingPunct="1">
        <a:lnSpc>
          <a:spcPct val="100000"/>
        </a:lnSpc>
        <a:spcBef>
          <a:spcPts val="600"/>
        </a:spcBef>
        <a:spcAft>
          <a:spcPts val="600"/>
        </a:spcAft>
        <a:buClr>
          <a:schemeClr val="tx1"/>
        </a:buClr>
        <a:buFont typeface="Verdana" panose="020B0604030504040204" pitchFamily="34" charset="0"/>
        <a:buChar char="–"/>
        <a:tabLst/>
        <a:defRPr sz="1200" kern="1200">
          <a:solidFill>
            <a:srgbClr val="FFFFFF"/>
          </a:solidFill>
          <a:latin typeface="+mn-lt"/>
          <a:ea typeface="+mn-ea"/>
          <a:cs typeface="Arial" panose="020B0604020202020204" pitchFamily="34" charset="0"/>
        </a:defRPr>
      </a:lvl3pPr>
      <a:lvl4pPr marL="0" indent="0" algn="l" defTabSz="914400" rtl="0" eaLnBrk="1" latinLnBrk="0" hangingPunct="1">
        <a:lnSpc>
          <a:spcPct val="80000"/>
        </a:lnSpc>
        <a:spcBef>
          <a:spcPts val="1200"/>
        </a:spcBef>
        <a:spcAft>
          <a:spcPts val="300"/>
        </a:spcAft>
        <a:buClr>
          <a:schemeClr val="tx1"/>
        </a:buClr>
        <a:buFont typeface="Arial" panose="020B0604020202020204" pitchFamily="34" charset="0"/>
        <a:buNone/>
        <a:tabLst/>
        <a:defRPr sz="1400" b="1" kern="1200" cap="all" baseline="0">
          <a:solidFill>
            <a:srgbClr val="FFFFFF"/>
          </a:solidFill>
          <a:latin typeface="+mn-lt"/>
          <a:ea typeface="+mn-ea"/>
          <a:cs typeface="Arial" panose="020B0604020202020204" pitchFamily="34" charset="0"/>
        </a:defRPr>
      </a:lvl4pPr>
      <a:lvl5pPr marL="0" indent="0" algn="l" defTabSz="914400" rtl="0" eaLnBrk="1" latinLnBrk="0" hangingPunct="1">
        <a:lnSpc>
          <a:spcPct val="80000"/>
        </a:lnSpc>
        <a:spcBef>
          <a:spcPts val="1200"/>
        </a:spcBef>
        <a:spcAft>
          <a:spcPts val="300"/>
        </a:spcAft>
        <a:buClr>
          <a:schemeClr val="tx1"/>
        </a:buClr>
        <a:buFont typeface="Arial" panose="020B0604020202020204" pitchFamily="34" charset="0"/>
        <a:buNone/>
        <a:tabLst/>
        <a:defRPr sz="2000" b="1" kern="1200">
          <a:solidFill>
            <a:schemeClr val="accent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5">
          <p15:clr>
            <a:srgbClr val="F26B43"/>
          </p15:clr>
        </p15:guide>
        <p15:guide id="2" pos="7265">
          <p15:clr>
            <a:srgbClr val="F26B43"/>
          </p15:clr>
        </p15:guide>
        <p15:guide id="3" orient="horz" pos="346">
          <p15:clr>
            <a:srgbClr val="A4A3A4"/>
          </p15:clr>
        </p15:guide>
        <p15:guide id="4" orient="horz" pos="3657">
          <p15:clr>
            <a:srgbClr val="F26B43"/>
          </p15:clr>
        </p15:guide>
        <p15:guide id="5" pos="3636">
          <p15:clr>
            <a:srgbClr val="F26B43"/>
          </p15:clr>
        </p15:guide>
        <p15:guide id="6" pos="4044">
          <p15:clr>
            <a:srgbClr val="F26B43"/>
          </p15:clr>
        </p15:guide>
        <p15:guide id="7" orient="horz" pos="1144">
          <p15:clr>
            <a:srgbClr val="F26B43"/>
          </p15:clr>
        </p15:guide>
        <p15:guide id="8" orient="horz" pos="884">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svg"/><Relationship Id="rId2" Type="http://schemas.openxmlformats.org/officeDocument/2006/relationships/notesSlide" Target="../notesSlides/notesSlide12.xml"/><Relationship Id="rId1" Type="http://schemas.openxmlformats.org/officeDocument/2006/relationships/slideLayout" Target="../slideLayouts/slideLayout29.xml"/><Relationship Id="rId6" Type="http://schemas.openxmlformats.org/officeDocument/2006/relationships/image" Target="../media/image77.sv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svg"/><Relationship Id="rId4" Type="http://schemas.openxmlformats.org/officeDocument/2006/relationships/image" Target="../media/image75.svg"/><Relationship Id="rId9" Type="http://schemas.openxmlformats.org/officeDocument/2006/relationships/image" Target="../media/image80.png"/></Relationships>
</file>

<file path=ppt/slides/_rels/slide1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3.xml"/><Relationship Id="rId1" Type="http://schemas.openxmlformats.org/officeDocument/2006/relationships/slideLayout" Target="../slideLayouts/slideLayout22.xml"/><Relationship Id="rId4" Type="http://schemas.openxmlformats.org/officeDocument/2006/relationships/image" Target="../media/image85.png"/></Relationships>
</file>

<file path=ppt/slides/_rels/slide14.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8" Type="http://schemas.openxmlformats.org/officeDocument/2006/relationships/image" Target="../media/image96.svg"/><Relationship Id="rId13" Type="http://schemas.openxmlformats.org/officeDocument/2006/relationships/image" Target="../media/image99.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98.svg"/><Relationship Id="rId2" Type="http://schemas.openxmlformats.org/officeDocument/2006/relationships/notesSlide" Target="../notesSlides/notesSlide18.xml"/><Relationship Id="rId1" Type="http://schemas.openxmlformats.org/officeDocument/2006/relationships/slideLayout" Target="../slideLayouts/slideLayout37.xml"/><Relationship Id="rId6" Type="http://schemas.openxmlformats.org/officeDocument/2006/relationships/image" Target="../media/image94.svg"/><Relationship Id="rId11" Type="http://schemas.openxmlformats.org/officeDocument/2006/relationships/image" Target="../media/image97.png"/><Relationship Id="rId5" Type="http://schemas.openxmlformats.org/officeDocument/2006/relationships/image" Target="../media/image93.png"/><Relationship Id="rId10" Type="http://schemas.openxmlformats.org/officeDocument/2006/relationships/image" Target="../media/image47.svg"/><Relationship Id="rId4" Type="http://schemas.openxmlformats.org/officeDocument/2006/relationships/image" Target="../media/image92.svg"/><Relationship Id="rId9" Type="http://schemas.openxmlformats.org/officeDocument/2006/relationships/image" Target="../media/image46.png"/></Relationships>
</file>

<file path=ppt/slides/_rels/slide19.xml.rels><?xml version="1.0" encoding="UTF-8" standalone="yes"?>
<Relationships xmlns="http://schemas.openxmlformats.org/package/2006/relationships"><Relationship Id="rId8" Type="http://schemas.openxmlformats.org/officeDocument/2006/relationships/image" Target="../media/image101.svg"/><Relationship Id="rId13" Type="http://schemas.openxmlformats.org/officeDocument/2006/relationships/image" Target="../media/image97.png"/><Relationship Id="rId3" Type="http://schemas.openxmlformats.org/officeDocument/2006/relationships/image" Target="../media/image91.png"/><Relationship Id="rId7" Type="http://schemas.openxmlformats.org/officeDocument/2006/relationships/image" Target="../media/image100.png"/><Relationship Id="rId12" Type="http://schemas.openxmlformats.org/officeDocument/2006/relationships/image" Target="../media/image103.svg"/><Relationship Id="rId2" Type="http://schemas.openxmlformats.org/officeDocument/2006/relationships/notesSlide" Target="../notesSlides/notesSlide19.xml"/><Relationship Id="rId1" Type="http://schemas.openxmlformats.org/officeDocument/2006/relationships/slideLayout" Target="../slideLayouts/slideLayout37.xml"/><Relationship Id="rId6" Type="http://schemas.openxmlformats.org/officeDocument/2006/relationships/image" Target="../media/image94.svg"/><Relationship Id="rId11" Type="http://schemas.openxmlformats.org/officeDocument/2006/relationships/image" Target="../media/image102.png"/><Relationship Id="rId5" Type="http://schemas.openxmlformats.org/officeDocument/2006/relationships/image" Target="../media/image93.png"/><Relationship Id="rId10" Type="http://schemas.openxmlformats.org/officeDocument/2006/relationships/image" Target="../media/image96.svg"/><Relationship Id="rId4" Type="http://schemas.openxmlformats.org/officeDocument/2006/relationships/image" Target="../media/image92.svg"/><Relationship Id="rId9" Type="http://schemas.openxmlformats.org/officeDocument/2006/relationships/image" Target="../media/image95.png"/><Relationship Id="rId14" Type="http://schemas.openxmlformats.org/officeDocument/2006/relationships/image" Target="../media/image98.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8" Type="http://schemas.openxmlformats.org/officeDocument/2006/relationships/image" Target="../media/image106.svg"/><Relationship Id="rId13" Type="http://schemas.openxmlformats.org/officeDocument/2006/relationships/image" Target="../media/image99.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8.svg"/><Relationship Id="rId2" Type="http://schemas.openxmlformats.org/officeDocument/2006/relationships/notesSlide" Target="../notesSlides/notesSlide20.xml"/><Relationship Id="rId1" Type="http://schemas.openxmlformats.org/officeDocument/2006/relationships/slideLayout" Target="../slideLayouts/slideLayout112.xml"/><Relationship Id="rId6" Type="http://schemas.openxmlformats.org/officeDocument/2006/relationships/image" Target="../media/image105.svg"/><Relationship Id="rId11" Type="http://schemas.openxmlformats.org/officeDocument/2006/relationships/image" Target="../media/image97.png"/><Relationship Id="rId5" Type="http://schemas.openxmlformats.org/officeDocument/2006/relationships/image" Target="../media/image93.png"/><Relationship Id="rId10" Type="http://schemas.openxmlformats.org/officeDocument/2006/relationships/image" Target="../media/image107.svg"/><Relationship Id="rId4" Type="http://schemas.openxmlformats.org/officeDocument/2006/relationships/image" Target="../media/image104.svg"/><Relationship Id="rId9" Type="http://schemas.openxmlformats.org/officeDocument/2006/relationships/image" Target="../media/image46.png"/></Relationships>
</file>

<file path=ppt/slides/_rels/slide21.xml.rels><?xml version="1.0" encoding="UTF-8" standalone="yes"?>
<Relationships xmlns="http://schemas.openxmlformats.org/package/2006/relationships"><Relationship Id="rId8" Type="http://schemas.openxmlformats.org/officeDocument/2006/relationships/image" Target="../media/image112.svg"/><Relationship Id="rId13" Type="http://schemas.openxmlformats.org/officeDocument/2006/relationships/image" Target="../media/image117.png"/><Relationship Id="rId3" Type="http://schemas.openxmlformats.org/officeDocument/2006/relationships/chart" Target="../charts/chart2.xml"/><Relationship Id="rId7" Type="http://schemas.openxmlformats.org/officeDocument/2006/relationships/image" Target="../media/image111.png"/><Relationship Id="rId12" Type="http://schemas.openxmlformats.org/officeDocument/2006/relationships/image" Target="../media/image116.svg"/><Relationship Id="rId2" Type="http://schemas.openxmlformats.org/officeDocument/2006/relationships/notesSlide" Target="../notesSlides/notesSlide21.xml"/><Relationship Id="rId16" Type="http://schemas.openxmlformats.org/officeDocument/2006/relationships/image" Target="../media/image120.svg"/><Relationship Id="rId1" Type="http://schemas.openxmlformats.org/officeDocument/2006/relationships/slideLayout" Target="../slideLayouts/slideLayout12.xml"/><Relationship Id="rId6" Type="http://schemas.openxmlformats.org/officeDocument/2006/relationships/image" Target="../media/image110.svg"/><Relationship Id="rId11" Type="http://schemas.openxmlformats.org/officeDocument/2006/relationships/image" Target="../media/image115.png"/><Relationship Id="rId5" Type="http://schemas.openxmlformats.org/officeDocument/2006/relationships/image" Target="../media/image109.png"/><Relationship Id="rId15" Type="http://schemas.openxmlformats.org/officeDocument/2006/relationships/image" Target="../media/image119.png"/><Relationship Id="rId10" Type="http://schemas.openxmlformats.org/officeDocument/2006/relationships/image" Target="../media/image114.svg"/><Relationship Id="rId4" Type="http://schemas.openxmlformats.org/officeDocument/2006/relationships/chart" Target="../charts/chart3.xml"/><Relationship Id="rId9" Type="http://schemas.openxmlformats.org/officeDocument/2006/relationships/image" Target="../media/image113.png"/><Relationship Id="rId14" Type="http://schemas.openxmlformats.org/officeDocument/2006/relationships/image" Target="../media/image118.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7.xml"/></Relationships>
</file>

<file path=ppt/slides/_rels/slide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12.sv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image" Target="../media/image13.jpg"/><Relationship Id="rId7" Type="http://schemas.openxmlformats.org/officeDocument/2006/relationships/image" Target="../media/image17.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notesSlide" Target="../notesSlides/notesSlide4.xml"/><Relationship Id="rId16" Type="http://schemas.openxmlformats.org/officeDocument/2006/relationships/image" Target="../media/image26.png"/><Relationship Id="rId1" Type="http://schemas.openxmlformats.org/officeDocument/2006/relationships/slideLayout" Target="../slideLayouts/slideLayout9.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 Id="rId14"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18" Type="http://schemas.openxmlformats.org/officeDocument/2006/relationships/image" Target="../media/image43.sv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17" Type="http://schemas.openxmlformats.org/officeDocument/2006/relationships/image" Target="../media/image42.png"/><Relationship Id="rId2" Type="http://schemas.openxmlformats.org/officeDocument/2006/relationships/notesSlide" Target="../notesSlides/notesSlide5.xml"/><Relationship Id="rId16" Type="http://schemas.openxmlformats.org/officeDocument/2006/relationships/image" Target="../media/image41.svg"/><Relationship Id="rId20" Type="http://schemas.openxmlformats.org/officeDocument/2006/relationships/image" Target="../media/image45.svg"/><Relationship Id="rId1" Type="http://schemas.openxmlformats.org/officeDocument/2006/relationships/slideLayout" Target="../slideLayouts/slideLayout37.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svg"/><Relationship Id="rId19" Type="http://schemas.openxmlformats.org/officeDocument/2006/relationships/image" Target="../media/image44.pn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s>
</file>

<file path=ppt/slides/_rels/slide6.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37.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7.svg"/></Relationships>
</file>

<file path=ppt/slides/_rels/slide7.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14.png"/><Relationship Id="rId18" Type="http://schemas.openxmlformats.org/officeDocument/2006/relationships/image" Target="../media/image58.svg"/><Relationship Id="rId3" Type="http://schemas.openxmlformats.org/officeDocument/2006/relationships/image" Target="../media/image28.png"/><Relationship Id="rId21" Type="http://schemas.openxmlformats.org/officeDocument/2006/relationships/image" Target="../media/image59.png"/><Relationship Id="rId7" Type="http://schemas.openxmlformats.org/officeDocument/2006/relationships/image" Target="../media/image42.png"/><Relationship Id="rId12" Type="http://schemas.openxmlformats.org/officeDocument/2006/relationships/image" Target="../media/image54.svg"/><Relationship Id="rId17" Type="http://schemas.openxmlformats.org/officeDocument/2006/relationships/image" Target="../media/image57.png"/><Relationship Id="rId2" Type="http://schemas.openxmlformats.org/officeDocument/2006/relationships/notesSlide" Target="../notesSlides/notesSlide7.xml"/><Relationship Id="rId16" Type="http://schemas.openxmlformats.org/officeDocument/2006/relationships/image" Target="../media/image56.svg"/><Relationship Id="rId20" Type="http://schemas.openxmlformats.org/officeDocument/2006/relationships/image" Target="../media/image21.svg"/><Relationship Id="rId1" Type="http://schemas.openxmlformats.org/officeDocument/2006/relationships/slideLayout" Target="../slideLayouts/slideLayout13.xml"/><Relationship Id="rId6" Type="http://schemas.openxmlformats.org/officeDocument/2006/relationships/image" Target="../media/image52.svg"/><Relationship Id="rId11" Type="http://schemas.openxmlformats.org/officeDocument/2006/relationships/image" Target="../media/image53.png"/><Relationship Id="rId24" Type="http://schemas.openxmlformats.org/officeDocument/2006/relationships/image" Target="../media/image62.svg"/><Relationship Id="rId5" Type="http://schemas.openxmlformats.org/officeDocument/2006/relationships/image" Target="../media/image51.png"/><Relationship Id="rId15" Type="http://schemas.openxmlformats.org/officeDocument/2006/relationships/image" Target="../media/image55.png"/><Relationship Id="rId23" Type="http://schemas.openxmlformats.org/officeDocument/2006/relationships/image" Target="../media/image61.png"/><Relationship Id="rId10" Type="http://schemas.openxmlformats.org/officeDocument/2006/relationships/image" Target="../media/image23.svg"/><Relationship Id="rId19" Type="http://schemas.openxmlformats.org/officeDocument/2006/relationships/image" Target="../media/image20.png"/><Relationship Id="rId4" Type="http://schemas.openxmlformats.org/officeDocument/2006/relationships/image" Target="../media/image50.svg"/><Relationship Id="rId9" Type="http://schemas.openxmlformats.org/officeDocument/2006/relationships/image" Target="../media/image22.png"/><Relationship Id="rId14" Type="http://schemas.openxmlformats.org/officeDocument/2006/relationships/image" Target="../media/image15.svg"/><Relationship Id="rId22" Type="http://schemas.openxmlformats.org/officeDocument/2006/relationships/image" Target="../media/image60.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chart" Target="../charts/chart1.xml"/><Relationship Id="rId18" Type="http://schemas.openxmlformats.org/officeDocument/2006/relationships/image" Target="../media/image73.svg"/><Relationship Id="rId3" Type="http://schemas.openxmlformats.org/officeDocument/2006/relationships/notesSlide" Target="../notesSlides/notesSlide9.xml"/><Relationship Id="rId7" Type="http://schemas.openxmlformats.org/officeDocument/2006/relationships/image" Target="../media/image63.png"/><Relationship Id="rId12" Type="http://schemas.openxmlformats.org/officeDocument/2006/relationships/image" Target="../media/image68.svg"/><Relationship Id="rId17" Type="http://schemas.openxmlformats.org/officeDocument/2006/relationships/image" Target="../media/image72.png"/><Relationship Id="rId2" Type="http://schemas.openxmlformats.org/officeDocument/2006/relationships/slideLayout" Target="../slideLayouts/slideLayout101.xml"/><Relationship Id="rId16" Type="http://schemas.openxmlformats.org/officeDocument/2006/relationships/image" Target="../media/image71.svg"/><Relationship Id="rId1" Type="http://schemas.openxmlformats.org/officeDocument/2006/relationships/tags" Target="../tags/tag2.xml"/><Relationship Id="rId6" Type="http://schemas.openxmlformats.org/officeDocument/2006/relationships/image" Target="../media/image12.svg"/><Relationship Id="rId11" Type="http://schemas.openxmlformats.org/officeDocument/2006/relationships/image" Target="../media/image67.png"/><Relationship Id="rId5" Type="http://schemas.openxmlformats.org/officeDocument/2006/relationships/image" Target="../media/image11.png"/><Relationship Id="rId15" Type="http://schemas.openxmlformats.org/officeDocument/2006/relationships/image" Target="../media/image70.png"/><Relationship Id="rId10" Type="http://schemas.openxmlformats.org/officeDocument/2006/relationships/image" Target="../media/image66.svg"/><Relationship Id="rId4" Type="http://schemas.openxmlformats.org/officeDocument/2006/relationships/image" Target="../media/image1.png"/><Relationship Id="rId9" Type="http://schemas.openxmlformats.org/officeDocument/2006/relationships/image" Target="../media/image65.png"/><Relationship Id="rId14" Type="http://schemas.openxmlformats.org/officeDocument/2006/relationships/image" Target="../media/image6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C42F43-8C32-B921-83DA-8BA127361418}"/>
              </a:ext>
            </a:extLst>
          </p:cNvPr>
          <p:cNvSpPr>
            <a:spLocks noGrp="1"/>
          </p:cNvSpPr>
          <p:nvPr>
            <p:ph type="body" sz="quarter" idx="16"/>
          </p:nvPr>
        </p:nvSpPr>
        <p:spPr>
          <a:xfrm>
            <a:off x="658811" y="551732"/>
            <a:ext cx="5263523" cy="3169664"/>
          </a:xfrm>
        </p:spPr>
        <p:txBody>
          <a:bodyPr>
            <a:normAutofit/>
          </a:bodyPr>
          <a:lstStyle/>
          <a:p>
            <a:r>
              <a:rPr lang="en-GB" dirty="0"/>
              <a:t>Living Income 101 - Palm</a:t>
            </a:r>
          </a:p>
        </p:txBody>
      </p:sp>
      <p:sp>
        <p:nvSpPr>
          <p:cNvPr id="3" name="Text Placeholder 2">
            <a:extLst>
              <a:ext uri="{FF2B5EF4-FFF2-40B4-BE49-F238E27FC236}">
                <a16:creationId xmlns:a16="http://schemas.microsoft.com/office/drawing/2014/main" id="{68A3840C-0515-22C2-FCF6-CEFC3A2A8D70}"/>
              </a:ext>
            </a:extLst>
          </p:cNvPr>
          <p:cNvSpPr>
            <a:spLocks noGrp="1"/>
          </p:cNvSpPr>
          <p:nvPr>
            <p:ph type="body" sz="quarter" idx="17"/>
          </p:nvPr>
        </p:nvSpPr>
        <p:spPr/>
        <p:txBody>
          <a:bodyPr/>
          <a:lstStyle/>
          <a:p>
            <a:r>
              <a:rPr lang="en-GB" dirty="0"/>
              <a:t>SPOD 2025</a:t>
            </a:r>
          </a:p>
        </p:txBody>
      </p:sp>
      <p:pic>
        <p:nvPicPr>
          <p:cNvPr id="7" name="Graphic 6">
            <a:extLst>
              <a:ext uri="{FF2B5EF4-FFF2-40B4-BE49-F238E27FC236}">
                <a16:creationId xmlns:a16="http://schemas.microsoft.com/office/drawing/2014/main" id="{EF87E7DE-D2E9-D795-A96D-883C93BCC0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81657" y="1624868"/>
            <a:ext cx="3362605" cy="3362605"/>
          </a:xfrm>
          <a:prstGeom prst="rect">
            <a:avLst/>
          </a:prstGeom>
        </p:spPr>
      </p:pic>
    </p:spTree>
    <p:extLst>
      <p:ext uri="{BB962C8B-B14F-4D97-AF65-F5344CB8AC3E}">
        <p14:creationId xmlns:p14="http://schemas.microsoft.com/office/powerpoint/2010/main" val="2026795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 name="Vrije vorm: vorm 324">
            <a:extLst>
              <a:ext uri="{FF2B5EF4-FFF2-40B4-BE49-F238E27FC236}">
                <a16:creationId xmlns:a16="http://schemas.microsoft.com/office/drawing/2014/main" id="{613D6F61-D49A-8603-C46C-B2705C916370}"/>
              </a:ext>
            </a:extLst>
          </p:cNvPr>
          <p:cNvSpPr/>
          <p:nvPr/>
        </p:nvSpPr>
        <p:spPr>
          <a:xfrm>
            <a:off x="9848283" y="543099"/>
            <a:ext cx="1262274" cy="1262274"/>
          </a:xfrm>
          <a:custGeom>
            <a:avLst/>
            <a:gdLst>
              <a:gd name="connsiteX0" fmla="*/ 631137 w 1262274"/>
              <a:gd name="connsiteY0" fmla="*/ 0 h 1262274"/>
              <a:gd name="connsiteX1" fmla="*/ 679273 w 1262274"/>
              <a:gd name="connsiteY1" fmla="*/ 541457 h 1262274"/>
              <a:gd name="connsiteX2" fmla="*/ 933699 w 1262274"/>
              <a:gd name="connsiteY2" fmla="*/ 328575 h 1262274"/>
              <a:gd name="connsiteX3" fmla="*/ 720816 w 1262274"/>
              <a:gd name="connsiteY3" fmla="*/ 583001 h 1262274"/>
              <a:gd name="connsiteX4" fmla="*/ 1262274 w 1262274"/>
              <a:gd name="connsiteY4" fmla="*/ 631137 h 1262274"/>
              <a:gd name="connsiteX5" fmla="*/ 720817 w 1262274"/>
              <a:gd name="connsiteY5" fmla="*/ 679273 h 1262274"/>
              <a:gd name="connsiteX6" fmla="*/ 933699 w 1262274"/>
              <a:gd name="connsiteY6" fmla="*/ 933698 h 1262274"/>
              <a:gd name="connsiteX7" fmla="*/ 679273 w 1262274"/>
              <a:gd name="connsiteY7" fmla="*/ 720816 h 1262274"/>
              <a:gd name="connsiteX8" fmla="*/ 631137 w 1262274"/>
              <a:gd name="connsiteY8" fmla="*/ 1262274 h 1262274"/>
              <a:gd name="connsiteX9" fmla="*/ 583001 w 1262274"/>
              <a:gd name="connsiteY9" fmla="*/ 720816 h 1262274"/>
              <a:gd name="connsiteX10" fmla="*/ 328575 w 1262274"/>
              <a:gd name="connsiteY10" fmla="*/ 933699 h 1262274"/>
              <a:gd name="connsiteX11" fmla="*/ 541456 w 1262274"/>
              <a:gd name="connsiteY11" fmla="*/ 679273 h 1262274"/>
              <a:gd name="connsiteX12" fmla="*/ 0 w 1262274"/>
              <a:gd name="connsiteY12" fmla="*/ 631137 h 1262274"/>
              <a:gd name="connsiteX13" fmla="*/ 541457 w 1262274"/>
              <a:gd name="connsiteY13" fmla="*/ 583001 h 1262274"/>
              <a:gd name="connsiteX14" fmla="*/ 328575 w 1262274"/>
              <a:gd name="connsiteY14" fmla="*/ 328574 h 1262274"/>
              <a:gd name="connsiteX15" fmla="*/ 583001 w 1262274"/>
              <a:gd name="connsiteY15" fmla="*/ 541457 h 126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62274" h="1262274">
                <a:moveTo>
                  <a:pt x="631137" y="0"/>
                </a:moveTo>
                <a:lnTo>
                  <a:pt x="679273" y="541457"/>
                </a:lnTo>
                <a:lnTo>
                  <a:pt x="933699" y="328575"/>
                </a:lnTo>
                <a:lnTo>
                  <a:pt x="720816" y="583001"/>
                </a:lnTo>
                <a:lnTo>
                  <a:pt x="1262274" y="631137"/>
                </a:lnTo>
                <a:lnTo>
                  <a:pt x="720817" y="679273"/>
                </a:lnTo>
                <a:lnTo>
                  <a:pt x="933699" y="933698"/>
                </a:lnTo>
                <a:lnTo>
                  <a:pt x="679273" y="720816"/>
                </a:lnTo>
                <a:lnTo>
                  <a:pt x="631137" y="1262274"/>
                </a:lnTo>
                <a:lnTo>
                  <a:pt x="583001" y="720816"/>
                </a:lnTo>
                <a:lnTo>
                  <a:pt x="328575" y="933699"/>
                </a:lnTo>
                <a:lnTo>
                  <a:pt x="541456" y="679273"/>
                </a:lnTo>
                <a:lnTo>
                  <a:pt x="0" y="631137"/>
                </a:lnTo>
                <a:lnTo>
                  <a:pt x="541457" y="583001"/>
                </a:lnTo>
                <a:lnTo>
                  <a:pt x="328575" y="328574"/>
                </a:lnTo>
                <a:lnTo>
                  <a:pt x="583001" y="541457"/>
                </a:lnTo>
                <a:close/>
              </a:path>
            </a:pathLst>
          </a:custGeom>
          <a:solidFill>
            <a:schemeClr val="accent4"/>
          </a:solidFill>
          <a:ln>
            <a:noFill/>
          </a:ln>
          <a:effectLst>
            <a:outerShdw blurRad="254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spcAft>
                <a:spcPts val="600"/>
              </a:spcAft>
            </a:pPr>
            <a:endParaRPr lang="en-GB" sz="1400" dirty="0">
              <a:solidFill>
                <a:schemeClr val="accent1"/>
              </a:solidFill>
            </a:endParaRPr>
          </a:p>
        </p:txBody>
      </p:sp>
      <p:sp>
        <p:nvSpPr>
          <p:cNvPr id="296" name="Vrije vorm: vorm 295">
            <a:extLst>
              <a:ext uri="{FF2B5EF4-FFF2-40B4-BE49-F238E27FC236}">
                <a16:creationId xmlns:a16="http://schemas.microsoft.com/office/drawing/2014/main" id="{DF3ACBF3-00F7-5122-EBBA-A5BA55CB4F93}"/>
              </a:ext>
            </a:extLst>
          </p:cNvPr>
          <p:cNvSpPr/>
          <p:nvPr/>
        </p:nvSpPr>
        <p:spPr>
          <a:xfrm>
            <a:off x="584" y="1816100"/>
            <a:ext cx="12206178" cy="5118984"/>
          </a:xfrm>
          <a:custGeom>
            <a:avLst/>
            <a:gdLst>
              <a:gd name="connsiteX0" fmla="*/ 7460015 w 12206178"/>
              <a:gd name="connsiteY0" fmla="*/ 2199542 h 5118984"/>
              <a:gd name="connsiteX1" fmla="*/ 7463780 w 12206178"/>
              <a:gd name="connsiteY1" fmla="*/ 2204372 h 5118984"/>
              <a:gd name="connsiteX2" fmla="*/ 7463135 w 12206178"/>
              <a:gd name="connsiteY2" fmla="*/ 2204110 h 5118984"/>
              <a:gd name="connsiteX3" fmla="*/ 7460015 w 12206178"/>
              <a:gd name="connsiteY3" fmla="*/ 2199542 h 5118984"/>
              <a:gd name="connsiteX4" fmla="*/ 12136113 w 12206178"/>
              <a:gd name="connsiteY4" fmla="*/ 0 h 5118984"/>
              <a:gd name="connsiteX5" fmla="*/ 12148387 w 12206178"/>
              <a:gd name="connsiteY5" fmla="*/ 39873 h 5118984"/>
              <a:gd name="connsiteX6" fmla="*/ 12170477 w 12206178"/>
              <a:gd name="connsiteY6" fmla="*/ 73504 h 5118984"/>
              <a:gd name="connsiteX7" fmla="*/ 12176031 w 12206178"/>
              <a:gd name="connsiteY7" fmla="*/ 123970 h 5118984"/>
              <a:gd name="connsiteX8" fmla="*/ 12199887 w 12206178"/>
              <a:gd name="connsiteY8" fmla="*/ 141110 h 5118984"/>
              <a:gd name="connsiteX9" fmla="*/ 12202426 w 12206178"/>
              <a:gd name="connsiteY9" fmla="*/ 163803 h 5118984"/>
              <a:gd name="connsiteX10" fmla="*/ 12199887 w 12206178"/>
              <a:gd name="connsiteY10" fmla="*/ 168797 h 5118984"/>
              <a:gd name="connsiteX11" fmla="*/ 12192522 w 12206178"/>
              <a:gd name="connsiteY11" fmla="*/ 231018 h 5118984"/>
              <a:gd name="connsiteX12" fmla="*/ 12206173 w 12206178"/>
              <a:gd name="connsiteY12" fmla="*/ 232310 h 5118984"/>
              <a:gd name="connsiteX13" fmla="*/ 12206173 w 12206178"/>
              <a:gd name="connsiteY13" fmla="*/ 4079044 h 5118984"/>
              <a:gd name="connsiteX14" fmla="*/ 12199708 w 12206178"/>
              <a:gd name="connsiteY14" fmla="*/ 4079044 h 5118984"/>
              <a:gd name="connsiteX15" fmla="*/ 12199708 w 12206178"/>
              <a:gd name="connsiteY15" fmla="*/ 5118984 h 5118984"/>
              <a:gd name="connsiteX16" fmla="*/ 4163 w 12206178"/>
              <a:gd name="connsiteY16" fmla="*/ 5118984 h 5118984"/>
              <a:gd name="connsiteX17" fmla="*/ 4163 w 12206178"/>
              <a:gd name="connsiteY17" fmla="*/ 4079044 h 5118984"/>
              <a:gd name="connsiteX18" fmla="*/ 0 w 12206178"/>
              <a:gd name="connsiteY18" fmla="*/ 4079044 h 5118984"/>
              <a:gd name="connsiteX19" fmla="*/ 50 w 12206178"/>
              <a:gd name="connsiteY19" fmla="*/ 810014 h 5118984"/>
              <a:gd name="connsiteX20" fmla="*/ 13321 w 12206178"/>
              <a:gd name="connsiteY20" fmla="*/ 808980 h 5118984"/>
              <a:gd name="connsiteX21" fmla="*/ 6170 w 12206178"/>
              <a:gd name="connsiteY21" fmla="*/ 761484 h 5118984"/>
              <a:gd name="connsiteX22" fmla="*/ 3699 w 12206178"/>
              <a:gd name="connsiteY22" fmla="*/ 757649 h 5118984"/>
              <a:gd name="connsiteX23" fmla="*/ 6170 w 12206178"/>
              <a:gd name="connsiteY23" fmla="*/ 740340 h 5118984"/>
              <a:gd name="connsiteX24" fmla="*/ 29518 w 12206178"/>
              <a:gd name="connsiteY24" fmla="*/ 727205 h 5118984"/>
              <a:gd name="connsiteX25" fmla="*/ 34936 w 12206178"/>
              <a:gd name="connsiteY25" fmla="*/ 688796 h 5118984"/>
              <a:gd name="connsiteX26" fmla="*/ 56599 w 12206178"/>
              <a:gd name="connsiteY26" fmla="*/ 663089 h 5118984"/>
              <a:gd name="connsiteX27" fmla="*/ 68591 w 12206178"/>
              <a:gd name="connsiteY27" fmla="*/ 632689 h 5118984"/>
              <a:gd name="connsiteX28" fmla="*/ 131029 w 12206178"/>
              <a:gd name="connsiteY28" fmla="*/ 701586 h 5118984"/>
              <a:gd name="connsiteX29" fmla="*/ 128642 w 12206178"/>
              <a:gd name="connsiteY29" fmla="*/ 749685 h 5118984"/>
              <a:gd name="connsiteX30" fmla="*/ 183848 w 12206178"/>
              <a:gd name="connsiteY30" fmla="*/ 778535 h 5118984"/>
              <a:gd name="connsiteX31" fmla="*/ 167061 w 12206178"/>
              <a:gd name="connsiteY31" fmla="*/ 828228 h 5118984"/>
              <a:gd name="connsiteX32" fmla="*/ 274560 w 12206178"/>
              <a:gd name="connsiteY32" fmla="*/ 845666 h 5118984"/>
              <a:gd name="connsiteX33" fmla="*/ 313566 w 12206178"/>
              <a:gd name="connsiteY33" fmla="*/ 849067 h 5118984"/>
              <a:gd name="connsiteX34" fmla="*/ 215133 w 12206178"/>
              <a:gd name="connsiteY34" fmla="*/ 881149 h 5118984"/>
              <a:gd name="connsiteX35" fmla="*/ 243946 w 12206178"/>
              <a:gd name="connsiteY35" fmla="*/ 940399 h 5118984"/>
              <a:gd name="connsiteX36" fmla="*/ 311179 w 12206178"/>
              <a:gd name="connsiteY36" fmla="*/ 967660 h 5118984"/>
              <a:gd name="connsiteX37" fmla="*/ 303980 w 12206178"/>
              <a:gd name="connsiteY37" fmla="*/ 1009378 h 5118984"/>
              <a:gd name="connsiteX38" fmla="*/ 344820 w 12206178"/>
              <a:gd name="connsiteY38" fmla="*/ 1022211 h 5118984"/>
              <a:gd name="connsiteX39" fmla="*/ 311179 w 12206178"/>
              <a:gd name="connsiteY39" fmla="*/ 1076725 h 5118984"/>
              <a:gd name="connsiteX40" fmla="*/ 328067 w 12206178"/>
              <a:gd name="connsiteY40" fmla="*/ 1090250 h 5118984"/>
              <a:gd name="connsiteX41" fmla="*/ 371226 w 12206178"/>
              <a:gd name="connsiteY41" fmla="*/ 1099164 h 5118984"/>
              <a:gd name="connsiteX42" fmla="*/ 311179 w 12206178"/>
              <a:gd name="connsiteY42" fmla="*/ 1168095 h 5118984"/>
              <a:gd name="connsiteX43" fmla="*/ 374037 w 12206178"/>
              <a:gd name="connsiteY43" fmla="*/ 1164969 h 5118984"/>
              <a:gd name="connsiteX44" fmla="*/ 419251 w 12206178"/>
              <a:gd name="connsiteY44" fmla="*/ 1164867 h 5118984"/>
              <a:gd name="connsiteX45" fmla="*/ 392841 w 12206178"/>
              <a:gd name="connsiteY45" fmla="*/ 1224179 h 5118984"/>
              <a:gd name="connsiteX46" fmla="*/ 419251 w 12206178"/>
              <a:gd name="connsiteY46" fmla="*/ 1256203 h 5118984"/>
              <a:gd name="connsiteX47" fmla="*/ 346285 w 12206178"/>
              <a:gd name="connsiteY47" fmla="*/ 1306296 h 5118984"/>
              <a:gd name="connsiteX48" fmla="*/ 378377 w 12206178"/>
              <a:gd name="connsiteY48" fmla="*/ 1335360 h 5118984"/>
              <a:gd name="connsiteX49" fmla="*/ 440866 w 12206178"/>
              <a:gd name="connsiteY49" fmla="*/ 1358823 h 5118984"/>
              <a:gd name="connsiteX50" fmla="*/ 433922 w 12206178"/>
              <a:gd name="connsiteY50" fmla="*/ 1372467 h 5118984"/>
              <a:gd name="connsiteX51" fmla="*/ 527607 w 12206178"/>
              <a:gd name="connsiteY51" fmla="*/ 1402138 h 5118984"/>
              <a:gd name="connsiteX52" fmla="*/ 516981 w 12206178"/>
              <a:gd name="connsiteY52" fmla="*/ 1339229 h 5118984"/>
              <a:gd name="connsiteX53" fmla="*/ 430941 w 12206178"/>
              <a:gd name="connsiteY53" fmla="*/ 1109190 h 5118984"/>
              <a:gd name="connsiteX54" fmla="*/ 527238 w 12206178"/>
              <a:gd name="connsiteY54" fmla="*/ 1141401 h 5118984"/>
              <a:gd name="connsiteX55" fmla="*/ 592249 w 12206178"/>
              <a:gd name="connsiteY55" fmla="*/ 1067811 h 5118984"/>
              <a:gd name="connsiteX56" fmla="*/ 538511 w 12206178"/>
              <a:gd name="connsiteY56" fmla="*/ 851650 h 5118984"/>
              <a:gd name="connsiteX57" fmla="*/ 651405 w 12206178"/>
              <a:gd name="connsiteY57" fmla="*/ 888425 h 5118984"/>
              <a:gd name="connsiteX58" fmla="*/ 624545 w 12206178"/>
              <a:gd name="connsiteY58" fmla="*/ 723116 h 5118984"/>
              <a:gd name="connsiteX59" fmla="*/ 667554 w 12206178"/>
              <a:gd name="connsiteY59" fmla="*/ 699907 h 5118984"/>
              <a:gd name="connsiteX60" fmla="*/ 753594 w 12206178"/>
              <a:gd name="connsiteY60" fmla="*/ 658481 h 5118984"/>
              <a:gd name="connsiteX61" fmla="*/ 753594 w 12206178"/>
              <a:gd name="connsiteY61" fmla="*/ 488307 h 5118984"/>
              <a:gd name="connsiteX62" fmla="*/ 791237 w 12206178"/>
              <a:gd name="connsiteY62" fmla="*/ 391678 h 5118984"/>
              <a:gd name="connsiteX63" fmla="*/ 857123 w 12206178"/>
              <a:gd name="connsiteY63" fmla="*/ 483655 h 5118984"/>
              <a:gd name="connsiteX64" fmla="*/ 936398 w 12206178"/>
              <a:gd name="connsiteY64" fmla="*/ 649265 h 5118984"/>
              <a:gd name="connsiteX65" fmla="*/ 990173 w 12206178"/>
              <a:gd name="connsiteY65" fmla="*/ 653873 h 5118984"/>
              <a:gd name="connsiteX66" fmla="*/ 968643 w 12206178"/>
              <a:gd name="connsiteY66" fmla="*/ 773497 h 5118984"/>
              <a:gd name="connsiteX67" fmla="*/ 1043935 w 12206178"/>
              <a:gd name="connsiteY67" fmla="*/ 745894 h 5118984"/>
              <a:gd name="connsiteX68" fmla="*/ 990173 w 12206178"/>
              <a:gd name="connsiteY68" fmla="*/ 865474 h 5118984"/>
              <a:gd name="connsiteX69" fmla="*/ 1017050 w 12206178"/>
              <a:gd name="connsiteY69" fmla="*/ 957400 h 5118984"/>
              <a:gd name="connsiteX70" fmla="*/ 1140716 w 12206178"/>
              <a:gd name="connsiteY70" fmla="*/ 874645 h 5118984"/>
              <a:gd name="connsiteX71" fmla="*/ 1189127 w 12206178"/>
              <a:gd name="connsiteY71" fmla="*/ 902248 h 5118984"/>
              <a:gd name="connsiteX72" fmla="*/ 1038581 w 12206178"/>
              <a:gd name="connsiteY72" fmla="*/ 1058643 h 5118984"/>
              <a:gd name="connsiteX73" fmla="*/ 1129951 w 12206178"/>
              <a:gd name="connsiteY73" fmla="*/ 1109190 h 5118984"/>
              <a:gd name="connsiteX74" fmla="*/ 1151481 w 12206178"/>
              <a:gd name="connsiteY74" fmla="*/ 1196607 h 5118984"/>
              <a:gd name="connsiteX75" fmla="*/ 1232140 w 12206178"/>
              <a:gd name="connsiteY75" fmla="*/ 1274804 h 5118984"/>
              <a:gd name="connsiteX76" fmla="*/ 1312792 w 12206178"/>
              <a:gd name="connsiteY76" fmla="*/ 1224179 h 5118984"/>
              <a:gd name="connsiteX77" fmla="*/ 1280429 w 12206178"/>
              <a:gd name="connsiteY77" fmla="*/ 1478820 h 5118984"/>
              <a:gd name="connsiteX78" fmla="*/ 1230085 w 12206178"/>
              <a:gd name="connsiteY78" fmla="*/ 1618601 h 5118984"/>
              <a:gd name="connsiteX79" fmla="*/ 1302129 w 12206178"/>
              <a:gd name="connsiteY79" fmla="*/ 1598806 h 5118984"/>
              <a:gd name="connsiteX80" fmla="*/ 1311748 w 12206178"/>
              <a:gd name="connsiteY80" fmla="*/ 1565463 h 5118984"/>
              <a:gd name="connsiteX81" fmla="*/ 1336679 w 12206178"/>
              <a:gd name="connsiteY81" fmla="*/ 1575035 h 5118984"/>
              <a:gd name="connsiteX82" fmla="*/ 1395682 w 12206178"/>
              <a:gd name="connsiteY82" fmla="*/ 1526291 h 5118984"/>
              <a:gd name="connsiteX83" fmla="*/ 1389511 w 12206178"/>
              <a:gd name="connsiteY83" fmla="*/ 1520724 h 5118984"/>
              <a:gd name="connsiteX84" fmla="*/ 1381218 w 12206178"/>
              <a:gd name="connsiteY84" fmla="*/ 1458117 h 5118984"/>
              <a:gd name="connsiteX85" fmla="*/ 1432487 w 12206178"/>
              <a:gd name="connsiteY85" fmla="*/ 1496352 h 5118984"/>
              <a:gd name="connsiteX86" fmla="*/ 1464898 w 12206178"/>
              <a:gd name="connsiteY86" fmla="*/ 1490026 h 5118984"/>
              <a:gd name="connsiteX87" fmla="*/ 1440763 w 12206178"/>
              <a:gd name="connsiteY87" fmla="*/ 1429019 h 5118984"/>
              <a:gd name="connsiteX88" fmla="*/ 1429205 w 12206178"/>
              <a:gd name="connsiteY88" fmla="*/ 1382038 h 5118984"/>
              <a:gd name="connsiteX89" fmla="*/ 1476588 w 12206178"/>
              <a:gd name="connsiteY89" fmla="*/ 1367906 h 5118984"/>
              <a:gd name="connsiteX90" fmla="*/ 1492067 w 12206178"/>
              <a:gd name="connsiteY90" fmla="*/ 1261970 h 5118984"/>
              <a:gd name="connsiteX91" fmla="*/ 1505270 w 12206178"/>
              <a:gd name="connsiteY91" fmla="*/ 1360403 h 5118984"/>
              <a:gd name="connsiteX92" fmla="*/ 1566999 w 12206178"/>
              <a:gd name="connsiteY92" fmla="*/ 1358911 h 5118984"/>
              <a:gd name="connsiteX93" fmla="*/ 1521785 w 12206178"/>
              <a:gd name="connsiteY93" fmla="*/ 1423061 h 5118984"/>
              <a:gd name="connsiteX94" fmla="*/ 1619933 w 12206178"/>
              <a:gd name="connsiteY94" fmla="*/ 1409641 h 5118984"/>
              <a:gd name="connsiteX95" fmla="*/ 1606733 w 12206178"/>
              <a:gd name="connsiteY95" fmla="*/ 1458859 h 5118984"/>
              <a:gd name="connsiteX96" fmla="*/ 1564812 w 12206178"/>
              <a:gd name="connsiteY96" fmla="*/ 1566240 h 5118984"/>
              <a:gd name="connsiteX97" fmla="*/ 1692685 w 12206178"/>
              <a:gd name="connsiteY97" fmla="*/ 1488693 h 5118984"/>
              <a:gd name="connsiteX98" fmla="*/ 1626545 w 12206178"/>
              <a:gd name="connsiteY98" fmla="*/ 1637863 h 5118984"/>
              <a:gd name="connsiteX99" fmla="*/ 1677261 w 12206178"/>
              <a:gd name="connsiteY99" fmla="*/ 1678078 h 5118984"/>
              <a:gd name="connsiteX100" fmla="*/ 1683903 w 12206178"/>
              <a:gd name="connsiteY100" fmla="*/ 1737756 h 5118984"/>
              <a:gd name="connsiteX101" fmla="*/ 1626294 w 12206178"/>
              <a:gd name="connsiteY101" fmla="*/ 1771632 h 5118984"/>
              <a:gd name="connsiteX102" fmla="*/ 1630044 w 12206178"/>
              <a:gd name="connsiteY102" fmla="*/ 1771517 h 5118984"/>
              <a:gd name="connsiteX103" fmla="*/ 1650011 w 12206178"/>
              <a:gd name="connsiteY103" fmla="*/ 1806301 h 5118984"/>
              <a:gd name="connsiteX104" fmla="*/ 1772076 w 12206178"/>
              <a:gd name="connsiteY104" fmla="*/ 1764620 h 5118984"/>
              <a:gd name="connsiteX105" fmla="*/ 1775490 w 12206178"/>
              <a:gd name="connsiteY105" fmla="*/ 1784214 h 5118984"/>
              <a:gd name="connsiteX106" fmla="*/ 1810814 w 12206178"/>
              <a:gd name="connsiteY106" fmla="*/ 1770696 h 5118984"/>
              <a:gd name="connsiteX107" fmla="*/ 1797895 w 12206178"/>
              <a:gd name="connsiteY107" fmla="*/ 1732843 h 5118984"/>
              <a:gd name="connsiteX108" fmla="*/ 1866541 w 12206178"/>
              <a:gd name="connsiteY108" fmla="*/ 1710659 h 5118984"/>
              <a:gd name="connsiteX109" fmla="*/ 1812665 w 12206178"/>
              <a:gd name="connsiteY109" fmla="*/ 1680703 h 5118984"/>
              <a:gd name="connsiteX110" fmla="*/ 1744961 w 12206178"/>
              <a:gd name="connsiteY110" fmla="*/ 1625365 h 5118984"/>
              <a:gd name="connsiteX111" fmla="*/ 1812665 w 12206178"/>
              <a:gd name="connsiteY111" fmla="*/ 1628508 h 5118984"/>
              <a:gd name="connsiteX112" fmla="*/ 1934530 w 12206178"/>
              <a:gd name="connsiteY112" fmla="*/ 1619038 h 5118984"/>
              <a:gd name="connsiteX113" fmla="*/ 1882806 w 12206178"/>
              <a:gd name="connsiteY113" fmla="*/ 1596955 h 5118984"/>
              <a:gd name="connsiteX114" fmla="*/ 1818215 w 12206178"/>
              <a:gd name="connsiteY114" fmla="*/ 1552684 h 5118984"/>
              <a:gd name="connsiteX115" fmla="*/ 1759093 w 12206178"/>
              <a:gd name="connsiteY115" fmla="*/ 1505348 h 5118984"/>
              <a:gd name="connsiteX116" fmla="*/ 1822708 w 12206178"/>
              <a:gd name="connsiteY116" fmla="*/ 1496617 h 5118984"/>
              <a:gd name="connsiteX117" fmla="*/ 1864388 w 12206178"/>
              <a:gd name="connsiteY117" fmla="*/ 1487923 h 5118984"/>
              <a:gd name="connsiteX118" fmla="*/ 1871756 w 12206178"/>
              <a:gd name="connsiteY118" fmla="*/ 1446880 h 5118984"/>
              <a:gd name="connsiteX119" fmla="*/ 1858838 w 12206178"/>
              <a:gd name="connsiteY119" fmla="*/ 1410530 h 5118984"/>
              <a:gd name="connsiteX120" fmla="*/ 1892998 w 12206178"/>
              <a:gd name="connsiteY120" fmla="*/ 1407132 h 5118984"/>
              <a:gd name="connsiteX121" fmla="*/ 1925311 w 12206178"/>
              <a:gd name="connsiteY121" fmla="*/ 1389993 h 5118984"/>
              <a:gd name="connsiteX122" fmla="*/ 1894833 w 12206178"/>
              <a:gd name="connsiteY122" fmla="*/ 1323686 h 5118984"/>
              <a:gd name="connsiteX123" fmla="*/ 2007953 w 12206178"/>
              <a:gd name="connsiteY123" fmla="*/ 1282612 h 5118984"/>
              <a:gd name="connsiteX124" fmla="*/ 1962248 w 12206178"/>
              <a:gd name="connsiteY124" fmla="*/ 1244712 h 5118984"/>
              <a:gd name="connsiteX125" fmla="*/ 2012103 w 12206178"/>
              <a:gd name="connsiteY125" fmla="*/ 1219381 h 5118984"/>
              <a:gd name="connsiteX126" fmla="*/ 2004725 w 12206178"/>
              <a:gd name="connsiteY126" fmla="*/ 1168837 h 5118984"/>
              <a:gd name="connsiteX127" fmla="*/ 2024519 w 12206178"/>
              <a:gd name="connsiteY127" fmla="*/ 1138827 h 5118984"/>
              <a:gd name="connsiteX128" fmla="*/ 2028727 w 12206178"/>
              <a:gd name="connsiteY128" fmla="*/ 1100931 h 5118984"/>
              <a:gd name="connsiteX129" fmla="*/ 2045324 w 12206178"/>
              <a:gd name="connsiteY129" fmla="*/ 1075650 h 5118984"/>
              <a:gd name="connsiteX130" fmla="*/ 2083611 w 12206178"/>
              <a:gd name="connsiteY130" fmla="*/ 998799 h 5118984"/>
              <a:gd name="connsiteX131" fmla="*/ 2174760 w 12206178"/>
              <a:gd name="connsiteY131" fmla="*/ 1015637 h 5118984"/>
              <a:gd name="connsiteX132" fmla="*/ 2244956 w 12206178"/>
              <a:gd name="connsiteY132" fmla="*/ 1097452 h 5118984"/>
              <a:gd name="connsiteX133" fmla="*/ 2276156 w 12206178"/>
              <a:gd name="connsiteY133" fmla="*/ 1151525 h 5118984"/>
              <a:gd name="connsiteX134" fmla="*/ 2285355 w 12206178"/>
              <a:gd name="connsiteY134" fmla="*/ 1200496 h 5118984"/>
              <a:gd name="connsiteX135" fmla="*/ 2353781 w 12206178"/>
              <a:gd name="connsiteY135" fmla="*/ 1217666 h 5118984"/>
              <a:gd name="connsiteX136" fmla="*/ 2375850 w 12206178"/>
              <a:gd name="connsiteY136" fmla="*/ 1220978 h 5118984"/>
              <a:gd name="connsiteX137" fmla="*/ 2322326 w 12206178"/>
              <a:gd name="connsiteY137" fmla="*/ 1271546 h 5118984"/>
              <a:gd name="connsiteX138" fmla="*/ 2344497 w 12206178"/>
              <a:gd name="connsiteY138" fmla="*/ 1329979 h 5118984"/>
              <a:gd name="connsiteX139" fmla="*/ 2396170 w 12206178"/>
              <a:gd name="connsiteY139" fmla="*/ 1356789 h 5118984"/>
              <a:gd name="connsiteX140" fmla="*/ 2390620 w 12206178"/>
              <a:gd name="connsiteY140" fmla="*/ 1397913 h 5118984"/>
              <a:gd name="connsiteX141" fmla="*/ 2422040 w 12206178"/>
              <a:gd name="connsiteY141" fmla="*/ 1410530 h 5118984"/>
              <a:gd name="connsiteX142" fmla="*/ 2396170 w 12206178"/>
              <a:gd name="connsiteY142" fmla="*/ 1464240 h 5118984"/>
              <a:gd name="connsiteX143" fmla="*/ 2486662 w 12206178"/>
              <a:gd name="connsiteY143" fmla="*/ 1524254 h 5118984"/>
              <a:gd name="connsiteX144" fmla="*/ 2440492 w 12206178"/>
              <a:gd name="connsiteY144" fmla="*/ 1592161 h 5118984"/>
              <a:gd name="connsiteX145" fmla="*/ 2488849 w 12206178"/>
              <a:gd name="connsiteY145" fmla="*/ 1589065 h 5118984"/>
              <a:gd name="connsiteX146" fmla="*/ 2523589 w 12206178"/>
              <a:gd name="connsiteY146" fmla="*/ 1589014 h 5118984"/>
              <a:gd name="connsiteX147" fmla="*/ 2503282 w 12206178"/>
              <a:gd name="connsiteY147" fmla="*/ 1647499 h 5118984"/>
              <a:gd name="connsiteX148" fmla="*/ 2523589 w 12206178"/>
              <a:gd name="connsiteY148" fmla="*/ 1679106 h 5118984"/>
              <a:gd name="connsiteX149" fmla="*/ 2486662 w 12206178"/>
              <a:gd name="connsiteY149" fmla="*/ 1743914 h 5118984"/>
              <a:gd name="connsiteX150" fmla="*/ 2584508 w 12206178"/>
              <a:gd name="connsiteY150" fmla="*/ 1780210 h 5118984"/>
              <a:gd name="connsiteX151" fmla="*/ 2559193 w 12206178"/>
              <a:gd name="connsiteY151" fmla="*/ 1804755 h 5118984"/>
              <a:gd name="connsiteX152" fmla="*/ 2559668 w 12206178"/>
              <a:gd name="connsiteY152" fmla="*/ 1819690 h 5118984"/>
              <a:gd name="connsiteX153" fmla="*/ 2535242 w 12206178"/>
              <a:gd name="connsiteY153" fmla="*/ 1854410 h 5118984"/>
              <a:gd name="connsiteX154" fmla="*/ 2615932 w 12206178"/>
              <a:gd name="connsiteY154" fmla="*/ 1873397 h 5118984"/>
              <a:gd name="connsiteX155" fmla="*/ 2639934 w 12206178"/>
              <a:gd name="connsiteY155" fmla="*/ 1914525 h 5118984"/>
              <a:gd name="connsiteX156" fmla="*/ 2592333 w 12206178"/>
              <a:gd name="connsiteY156" fmla="*/ 1917316 h 5118984"/>
              <a:gd name="connsiteX157" fmla="*/ 2551287 w 12206178"/>
              <a:gd name="connsiteY157" fmla="*/ 1916071 h 5118984"/>
              <a:gd name="connsiteX158" fmla="*/ 2513996 w 12206178"/>
              <a:gd name="connsiteY158" fmla="*/ 1947933 h 5118984"/>
              <a:gd name="connsiteX159" fmla="*/ 2536958 w 12206178"/>
              <a:gd name="connsiteY159" fmla="*/ 1985609 h 5118984"/>
              <a:gd name="connsiteX160" fmla="*/ 2606682 w 12206178"/>
              <a:gd name="connsiteY160" fmla="*/ 1985575 h 5118984"/>
              <a:gd name="connsiteX161" fmla="*/ 2629976 w 12206178"/>
              <a:gd name="connsiteY161" fmla="*/ 2016742 h 5118984"/>
              <a:gd name="connsiteX162" fmla="*/ 2658118 w 12206178"/>
              <a:gd name="connsiteY162" fmla="*/ 2019620 h 5118984"/>
              <a:gd name="connsiteX163" fmla="*/ 2662135 w 12206178"/>
              <a:gd name="connsiteY163" fmla="*/ 2128618 h 5118984"/>
              <a:gd name="connsiteX164" fmla="*/ 2697174 w 12206178"/>
              <a:gd name="connsiteY164" fmla="*/ 2134002 h 5118984"/>
              <a:gd name="connsiteX165" fmla="*/ 2748897 w 12206178"/>
              <a:gd name="connsiteY165" fmla="*/ 2130852 h 5118984"/>
              <a:gd name="connsiteX166" fmla="*/ 2787669 w 12206178"/>
              <a:gd name="connsiteY166" fmla="*/ 2135599 h 5118984"/>
              <a:gd name="connsiteX167" fmla="*/ 2734094 w 12206178"/>
              <a:gd name="connsiteY167" fmla="*/ 2189320 h 5118984"/>
              <a:gd name="connsiteX168" fmla="*/ 2665600 w 12206178"/>
              <a:gd name="connsiteY168" fmla="*/ 2190500 h 5118984"/>
              <a:gd name="connsiteX169" fmla="*/ 2626443 w 12206178"/>
              <a:gd name="connsiteY169" fmla="*/ 2185505 h 5118984"/>
              <a:gd name="connsiteX170" fmla="*/ 2612955 w 12206178"/>
              <a:gd name="connsiteY170" fmla="*/ 2202981 h 5118984"/>
              <a:gd name="connsiteX171" fmla="*/ 2671320 w 12206178"/>
              <a:gd name="connsiteY171" fmla="*/ 2235140 h 5118984"/>
              <a:gd name="connsiteX172" fmla="*/ 2676315 w 12206178"/>
              <a:gd name="connsiteY172" fmla="*/ 2237904 h 5118984"/>
              <a:gd name="connsiteX173" fmla="*/ 2735155 w 12206178"/>
              <a:gd name="connsiteY173" fmla="*/ 2199532 h 5118984"/>
              <a:gd name="connsiteX174" fmla="*/ 2765081 w 12206178"/>
              <a:gd name="connsiteY174" fmla="*/ 2268090 h 5118984"/>
              <a:gd name="connsiteX175" fmla="*/ 2721311 w 12206178"/>
              <a:gd name="connsiteY175" fmla="*/ 2335692 h 5118984"/>
              <a:gd name="connsiteX176" fmla="*/ 2748847 w 12206178"/>
              <a:gd name="connsiteY176" fmla="*/ 2356754 h 5118984"/>
              <a:gd name="connsiteX177" fmla="*/ 2715625 w 12206178"/>
              <a:gd name="connsiteY177" fmla="*/ 2410445 h 5118984"/>
              <a:gd name="connsiteX178" fmla="*/ 2708441 w 12206178"/>
              <a:gd name="connsiteY178" fmla="*/ 2416181 h 5118984"/>
              <a:gd name="connsiteX179" fmla="*/ 2790778 w 12206178"/>
              <a:gd name="connsiteY179" fmla="*/ 2422288 h 5118984"/>
              <a:gd name="connsiteX180" fmla="*/ 2838301 w 12206178"/>
              <a:gd name="connsiteY180" fmla="*/ 2403043 h 5118984"/>
              <a:gd name="connsiteX181" fmla="*/ 2823494 w 12206178"/>
              <a:gd name="connsiteY181" fmla="*/ 2400758 h 5118984"/>
              <a:gd name="connsiteX182" fmla="*/ 2841779 w 12206178"/>
              <a:gd name="connsiteY182" fmla="*/ 2376298 h 5118984"/>
              <a:gd name="connsiteX183" fmla="*/ 2870261 w 12206178"/>
              <a:gd name="connsiteY183" fmla="*/ 2368984 h 5118984"/>
              <a:gd name="connsiteX184" fmla="*/ 2886152 w 12206178"/>
              <a:gd name="connsiteY184" fmla="*/ 2312399 h 5118984"/>
              <a:gd name="connsiteX185" fmla="*/ 2914328 w 12206178"/>
              <a:gd name="connsiteY185" fmla="*/ 2275441 h 5118984"/>
              <a:gd name="connsiteX186" fmla="*/ 2895236 w 12206178"/>
              <a:gd name="connsiteY186" fmla="*/ 2260861 h 5118984"/>
              <a:gd name="connsiteX187" fmla="*/ 2910710 w 12206178"/>
              <a:gd name="connsiteY187" fmla="*/ 2242071 h 5118984"/>
              <a:gd name="connsiteX188" fmla="*/ 2895236 w 12206178"/>
              <a:gd name="connsiteY188" fmla="*/ 2207337 h 5118984"/>
              <a:gd name="connsiteX189" fmla="*/ 2921679 w 12206178"/>
              <a:gd name="connsiteY189" fmla="*/ 2207419 h 5118984"/>
              <a:gd name="connsiteX190" fmla="*/ 2958481 w 12206178"/>
              <a:gd name="connsiteY190" fmla="*/ 2209219 h 5118984"/>
              <a:gd name="connsiteX191" fmla="*/ 2923361 w 12206178"/>
              <a:gd name="connsiteY191" fmla="*/ 2168919 h 5118984"/>
              <a:gd name="connsiteX192" fmla="*/ 2948590 w 12206178"/>
              <a:gd name="connsiteY192" fmla="*/ 2163670 h 5118984"/>
              <a:gd name="connsiteX193" fmla="*/ 2958481 w 12206178"/>
              <a:gd name="connsiteY193" fmla="*/ 2155699 h 5118984"/>
              <a:gd name="connsiteX194" fmla="*/ 2938798 w 12206178"/>
              <a:gd name="connsiteY194" fmla="*/ 2123837 h 5118984"/>
              <a:gd name="connsiteX195" fmla="*/ 2962770 w 12206178"/>
              <a:gd name="connsiteY195" fmla="*/ 2116303 h 5118984"/>
              <a:gd name="connsiteX196" fmla="*/ 2958481 w 12206178"/>
              <a:gd name="connsiteY196" fmla="*/ 2091932 h 5118984"/>
              <a:gd name="connsiteX197" fmla="*/ 2997872 w 12206178"/>
              <a:gd name="connsiteY197" fmla="*/ 2076003 h 5118984"/>
              <a:gd name="connsiteX198" fmla="*/ 3002331 w 12206178"/>
              <a:gd name="connsiteY198" fmla="*/ 2072368 h 5118984"/>
              <a:gd name="connsiteX199" fmla="*/ 2977570 w 12206178"/>
              <a:gd name="connsiteY199" fmla="*/ 2076206 h 5118984"/>
              <a:gd name="connsiteX200" fmla="*/ 2886152 w 12206178"/>
              <a:gd name="connsiteY200" fmla="*/ 2090080 h 5118984"/>
              <a:gd name="connsiteX201" fmla="*/ 2886152 w 12206178"/>
              <a:gd name="connsiteY201" fmla="*/ 2060931 h 5118984"/>
              <a:gd name="connsiteX202" fmla="*/ 2932746 w 12206178"/>
              <a:gd name="connsiteY202" fmla="*/ 1993499 h 5118984"/>
              <a:gd name="connsiteX203" fmla="*/ 2981153 w 12206178"/>
              <a:gd name="connsiteY203" fmla="*/ 1955162 h 5118984"/>
              <a:gd name="connsiteX204" fmla="*/ 3062799 w 12206178"/>
              <a:gd name="connsiteY204" fmla="*/ 1939534 h 5118984"/>
              <a:gd name="connsiteX205" fmla="*/ 3063999 w 12206178"/>
              <a:gd name="connsiteY205" fmla="*/ 1936056 h 5118984"/>
              <a:gd name="connsiteX206" fmla="*/ 3072693 w 12206178"/>
              <a:gd name="connsiteY206" fmla="*/ 1910219 h 5118984"/>
              <a:gd name="connsiteX207" fmla="*/ 3017019 w 12206178"/>
              <a:gd name="connsiteY207" fmla="*/ 1909178 h 5118984"/>
              <a:gd name="connsiteX208" fmla="*/ 2959657 w 12206178"/>
              <a:gd name="connsiteY208" fmla="*/ 1863137 h 5118984"/>
              <a:gd name="connsiteX209" fmla="*/ 3009835 w 12206178"/>
              <a:gd name="connsiteY209" fmla="*/ 1844754 h 5118984"/>
              <a:gd name="connsiteX210" fmla="*/ 2997289 w 12206178"/>
              <a:gd name="connsiteY210" fmla="*/ 1807952 h 5118984"/>
              <a:gd name="connsiteX211" fmla="*/ 3063911 w 12206178"/>
              <a:gd name="connsiteY211" fmla="*/ 1786503 h 5118984"/>
              <a:gd name="connsiteX212" fmla="*/ 3011635 w 12206178"/>
              <a:gd name="connsiteY212" fmla="*/ 1757354 h 5118984"/>
              <a:gd name="connsiteX213" fmla="*/ 2945952 w 12206178"/>
              <a:gd name="connsiteY213" fmla="*/ 1703698 h 5118984"/>
              <a:gd name="connsiteX214" fmla="*/ 3011635 w 12206178"/>
              <a:gd name="connsiteY214" fmla="*/ 1706760 h 5118984"/>
              <a:gd name="connsiteX215" fmla="*/ 3129916 w 12206178"/>
              <a:gd name="connsiteY215" fmla="*/ 1697537 h 5118984"/>
              <a:gd name="connsiteX216" fmla="*/ 3079705 w 12206178"/>
              <a:gd name="connsiteY216" fmla="*/ 1676044 h 5118984"/>
              <a:gd name="connsiteX217" fmla="*/ 3017019 w 12206178"/>
              <a:gd name="connsiteY217" fmla="*/ 1633150 h 5118984"/>
              <a:gd name="connsiteX218" fmla="*/ 2959657 w 12206178"/>
              <a:gd name="connsiteY218" fmla="*/ 1587163 h 5118984"/>
              <a:gd name="connsiteX219" fmla="*/ 3021522 w 12206178"/>
              <a:gd name="connsiteY219" fmla="*/ 1578734 h 5118984"/>
              <a:gd name="connsiteX220" fmla="*/ 3061809 w 12206178"/>
              <a:gd name="connsiteY220" fmla="*/ 1570291 h 5118984"/>
              <a:gd name="connsiteX221" fmla="*/ 3068939 w 12206178"/>
              <a:gd name="connsiteY221" fmla="*/ 1530492 h 5118984"/>
              <a:gd name="connsiteX222" fmla="*/ 3056428 w 12206178"/>
              <a:gd name="connsiteY222" fmla="*/ 1495152 h 5118984"/>
              <a:gd name="connsiteX223" fmla="*/ 3089510 w 12206178"/>
              <a:gd name="connsiteY223" fmla="*/ 1491877 h 5118984"/>
              <a:gd name="connsiteX224" fmla="*/ 3120914 w 12206178"/>
              <a:gd name="connsiteY224" fmla="*/ 1475205 h 5118984"/>
              <a:gd name="connsiteX225" fmla="*/ 3091361 w 12206178"/>
              <a:gd name="connsiteY225" fmla="*/ 1410886 h 5118984"/>
              <a:gd name="connsiteX226" fmla="*/ 3136663 w 12206178"/>
              <a:gd name="connsiteY226" fmla="*/ 1389389 h 5118984"/>
              <a:gd name="connsiteX227" fmla="*/ 3092287 w 12206178"/>
              <a:gd name="connsiteY227" fmla="*/ 1352618 h 5118984"/>
              <a:gd name="connsiteX228" fmla="*/ 3140644 w 12206178"/>
              <a:gd name="connsiteY228" fmla="*/ 1328026 h 5118984"/>
              <a:gd name="connsiteX229" fmla="*/ 3133496 w 12206178"/>
              <a:gd name="connsiteY229" fmla="*/ 1279029 h 5118984"/>
              <a:gd name="connsiteX230" fmla="*/ 3152758 w 12206178"/>
              <a:gd name="connsiteY230" fmla="*/ 1249876 h 5118984"/>
              <a:gd name="connsiteX231" fmla="*/ 3156793 w 12206178"/>
              <a:gd name="connsiteY231" fmla="*/ 1213061 h 5118984"/>
              <a:gd name="connsiteX232" fmla="*/ 3172939 w 12206178"/>
              <a:gd name="connsiteY232" fmla="*/ 1188517 h 5118984"/>
              <a:gd name="connsiteX233" fmla="*/ 3181860 w 12206178"/>
              <a:gd name="connsiteY233" fmla="*/ 1159401 h 5118984"/>
              <a:gd name="connsiteX234" fmla="*/ 3228501 w 12206178"/>
              <a:gd name="connsiteY234" fmla="*/ 1225369 h 5118984"/>
              <a:gd name="connsiteX235" fmla="*/ 3226684 w 12206178"/>
              <a:gd name="connsiteY235" fmla="*/ 1271359 h 5118984"/>
              <a:gd name="connsiteX236" fmla="*/ 3267893 w 12206178"/>
              <a:gd name="connsiteY236" fmla="*/ 1298962 h 5118984"/>
              <a:gd name="connsiteX237" fmla="*/ 3255365 w 12206178"/>
              <a:gd name="connsiteY237" fmla="*/ 1346461 h 5118984"/>
              <a:gd name="connsiteX238" fmla="*/ 3335617 w 12206178"/>
              <a:gd name="connsiteY238" fmla="*/ 1363163 h 5118984"/>
              <a:gd name="connsiteX239" fmla="*/ 3364698 w 12206178"/>
              <a:gd name="connsiteY239" fmla="*/ 1366394 h 5118984"/>
              <a:gd name="connsiteX240" fmla="*/ 3291223 w 12206178"/>
              <a:gd name="connsiteY240" fmla="*/ 1397110 h 5118984"/>
              <a:gd name="connsiteX241" fmla="*/ 3312720 w 12206178"/>
              <a:gd name="connsiteY241" fmla="*/ 1453777 h 5118984"/>
              <a:gd name="connsiteX242" fmla="*/ 3362932 w 12206178"/>
              <a:gd name="connsiteY242" fmla="*/ 1479864 h 5118984"/>
              <a:gd name="connsiteX243" fmla="*/ 3357550 w 12206178"/>
              <a:gd name="connsiteY243" fmla="*/ 1519727 h 5118984"/>
              <a:gd name="connsiteX244" fmla="*/ 3387995 w 12206178"/>
              <a:gd name="connsiteY244" fmla="*/ 1532008 h 5118984"/>
              <a:gd name="connsiteX245" fmla="*/ 3362932 w 12206178"/>
              <a:gd name="connsiteY245" fmla="*/ 1584152 h 5118984"/>
              <a:gd name="connsiteX246" fmla="*/ 3375528 w 12206178"/>
              <a:gd name="connsiteY246" fmla="*/ 1597070 h 5118984"/>
              <a:gd name="connsiteX247" fmla="*/ 3407725 w 12206178"/>
              <a:gd name="connsiteY247" fmla="*/ 1605601 h 5118984"/>
              <a:gd name="connsiteX248" fmla="*/ 3362932 w 12206178"/>
              <a:gd name="connsiteY248" fmla="*/ 1671518 h 5118984"/>
              <a:gd name="connsiteX249" fmla="*/ 3409827 w 12206178"/>
              <a:gd name="connsiteY249" fmla="*/ 1668507 h 5118984"/>
              <a:gd name="connsiteX250" fmla="*/ 3443587 w 12206178"/>
              <a:gd name="connsiteY250" fmla="*/ 1668425 h 5118984"/>
              <a:gd name="connsiteX251" fmla="*/ 3423854 w 12206178"/>
              <a:gd name="connsiteY251" fmla="*/ 1725174 h 5118984"/>
              <a:gd name="connsiteX252" fmla="*/ 3443587 w 12206178"/>
              <a:gd name="connsiteY252" fmla="*/ 1755791 h 5118984"/>
              <a:gd name="connsiteX253" fmla="*/ 3386194 w 12206178"/>
              <a:gd name="connsiteY253" fmla="*/ 1818717 h 5118984"/>
              <a:gd name="connsiteX254" fmla="*/ 3459682 w 12206178"/>
              <a:gd name="connsiteY254" fmla="*/ 1853939 h 5118984"/>
              <a:gd name="connsiteX255" fmla="*/ 3416672 w 12206178"/>
              <a:gd name="connsiteY255" fmla="*/ 1909178 h 5118984"/>
              <a:gd name="connsiteX256" fmla="*/ 3511677 w 12206178"/>
              <a:gd name="connsiteY256" fmla="*/ 1944447 h 5118984"/>
              <a:gd name="connsiteX257" fmla="*/ 3520961 w 12206178"/>
              <a:gd name="connsiteY257" fmla="*/ 1949832 h 5118984"/>
              <a:gd name="connsiteX258" fmla="*/ 3534384 w 12206178"/>
              <a:gd name="connsiteY258" fmla="*/ 1943488 h 5118984"/>
              <a:gd name="connsiteX259" fmla="*/ 3561041 w 12206178"/>
              <a:gd name="connsiteY259" fmla="*/ 1901722 h 5118984"/>
              <a:gd name="connsiteX260" fmla="*/ 3624526 w 12206178"/>
              <a:gd name="connsiteY260" fmla="*/ 1910941 h 5118984"/>
              <a:gd name="connsiteX261" fmla="*/ 3673388 w 12206178"/>
              <a:gd name="connsiteY261" fmla="*/ 1955382 h 5118984"/>
              <a:gd name="connsiteX262" fmla="*/ 3695051 w 12206178"/>
              <a:gd name="connsiteY262" fmla="*/ 1984667 h 5118984"/>
              <a:gd name="connsiteX263" fmla="*/ 3701527 w 12206178"/>
              <a:gd name="connsiteY263" fmla="*/ 2011310 h 5118984"/>
              <a:gd name="connsiteX264" fmla="*/ 3749050 w 12206178"/>
              <a:gd name="connsiteY264" fmla="*/ 2020661 h 5118984"/>
              <a:gd name="connsiteX265" fmla="*/ 3762673 w 12206178"/>
              <a:gd name="connsiteY265" fmla="*/ 2020309 h 5118984"/>
              <a:gd name="connsiteX266" fmla="*/ 3786387 w 12206178"/>
              <a:gd name="connsiteY266" fmla="*/ 1987932 h 5118984"/>
              <a:gd name="connsiteX267" fmla="*/ 3836347 w 12206178"/>
              <a:gd name="connsiteY267" fmla="*/ 1929678 h 5118984"/>
              <a:gd name="connsiteX268" fmla="*/ 3901237 w 12206178"/>
              <a:gd name="connsiteY268" fmla="*/ 1982293 h 5118984"/>
              <a:gd name="connsiteX269" fmla="*/ 3928487 w 12206178"/>
              <a:gd name="connsiteY269" fmla="*/ 2036977 h 5118984"/>
              <a:gd name="connsiteX270" fmla="*/ 3940300 w 12206178"/>
              <a:gd name="connsiteY270" fmla="*/ 2054940 h 5118984"/>
              <a:gd name="connsiteX271" fmla="*/ 3943239 w 12206178"/>
              <a:gd name="connsiteY271" fmla="*/ 2081939 h 5118984"/>
              <a:gd name="connsiteX272" fmla="*/ 3957368 w 12206178"/>
              <a:gd name="connsiteY272" fmla="*/ 2103304 h 5118984"/>
              <a:gd name="connsiteX273" fmla="*/ 3952123 w 12206178"/>
              <a:gd name="connsiteY273" fmla="*/ 2139298 h 5118984"/>
              <a:gd name="connsiteX274" fmla="*/ 3987612 w 12206178"/>
              <a:gd name="connsiteY274" fmla="*/ 2157296 h 5118984"/>
              <a:gd name="connsiteX275" fmla="*/ 3955045 w 12206178"/>
              <a:gd name="connsiteY275" fmla="*/ 2184244 h 5118984"/>
              <a:gd name="connsiteX276" fmla="*/ 4035535 w 12206178"/>
              <a:gd name="connsiteY276" fmla="*/ 2213495 h 5118984"/>
              <a:gd name="connsiteX277" fmla="*/ 4013886 w 12206178"/>
              <a:gd name="connsiteY277" fmla="*/ 2260678 h 5118984"/>
              <a:gd name="connsiteX278" fmla="*/ 4036877 w 12206178"/>
              <a:gd name="connsiteY278" fmla="*/ 2272820 h 5118984"/>
              <a:gd name="connsiteX279" fmla="*/ 4061151 w 12206178"/>
              <a:gd name="connsiteY279" fmla="*/ 2275241 h 5118984"/>
              <a:gd name="connsiteX280" fmla="*/ 4065325 w 12206178"/>
              <a:gd name="connsiteY280" fmla="*/ 2278167 h 5118984"/>
              <a:gd name="connsiteX281" fmla="*/ 4088655 w 12206178"/>
              <a:gd name="connsiteY281" fmla="*/ 2270498 h 5118984"/>
              <a:gd name="connsiteX282" fmla="*/ 4098241 w 12206178"/>
              <a:gd name="connsiteY282" fmla="*/ 2265469 h 5118984"/>
              <a:gd name="connsiteX283" fmla="*/ 4103004 w 12206178"/>
              <a:gd name="connsiteY283" fmla="*/ 2260424 h 5118984"/>
              <a:gd name="connsiteX284" fmla="*/ 4067257 w 12206178"/>
              <a:gd name="connsiteY284" fmla="*/ 2237293 h 5118984"/>
              <a:gd name="connsiteX285" fmla="*/ 4106232 w 12206178"/>
              <a:gd name="connsiteY285" fmla="*/ 2221836 h 5118984"/>
              <a:gd name="connsiteX286" fmla="*/ 4100427 w 12206178"/>
              <a:gd name="connsiteY286" fmla="*/ 2191056 h 5118984"/>
              <a:gd name="connsiteX287" fmla="*/ 4115987 w 12206178"/>
              <a:gd name="connsiteY287" fmla="*/ 2172787 h 5118984"/>
              <a:gd name="connsiteX288" fmla="*/ 4119215 w 12206178"/>
              <a:gd name="connsiteY288" fmla="*/ 2149629 h 5118984"/>
              <a:gd name="connsiteX289" fmla="*/ 4132221 w 12206178"/>
              <a:gd name="connsiteY289" fmla="*/ 2134216 h 5118984"/>
              <a:gd name="connsiteX290" fmla="*/ 4162109 w 12206178"/>
              <a:gd name="connsiteY290" fmla="*/ 2087324 h 5118984"/>
              <a:gd name="connsiteX291" fmla="*/ 4233359 w 12206178"/>
              <a:gd name="connsiteY291" fmla="*/ 2097614 h 5118984"/>
              <a:gd name="connsiteX292" fmla="*/ 4252957 w 12206178"/>
              <a:gd name="connsiteY292" fmla="*/ 2114486 h 5118984"/>
              <a:gd name="connsiteX293" fmla="*/ 4268469 w 12206178"/>
              <a:gd name="connsiteY293" fmla="*/ 2112302 h 5118984"/>
              <a:gd name="connsiteX294" fmla="*/ 4357214 w 12206178"/>
              <a:gd name="connsiteY294" fmla="*/ 2130466 h 5118984"/>
              <a:gd name="connsiteX295" fmla="*/ 4331636 w 12206178"/>
              <a:gd name="connsiteY295" fmla="*/ 2069411 h 5118984"/>
              <a:gd name="connsiteX296" fmla="*/ 4324878 w 12206178"/>
              <a:gd name="connsiteY296" fmla="*/ 2009374 h 5118984"/>
              <a:gd name="connsiteX297" fmla="*/ 4385421 w 12206178"/>
              <a:gd name="connsiteY297" fmla="*/ 2051139 h 5118984"/>
              <a:gd name="connsiteX298" fmla="*/ 4373276 w 12206178"/>
              <a:gd name="connsiteY298" fmla="*/ 1981520 h 5118984"/>
              <a:gd name="connsiteX299" fmla="*/ 4363931 w 12206178"/>
              <a:gd name="connsiteY299" fmla="*/ 1936524 h 5118984"/>
              <a:gd name="connsiteX300" fmla="*/ 4402428 w 12206178"/>
              <a:gd name="connsiteY300" fmla="*/ 1922951 h 5118984"/>
              <a:gd name="connsiteX301" fmla="*/ 4415004 w 12206178"/>
              <a:gd name="connsiteY301" fmla="*/ 1821460 h 5118984"/>
              <a:gd name="connsiteX302" fmla="*/ 4425725 w 12206178"/>
              <a:gd name="connsiteY302" fmla="*/ 1915804 h 5118984"/>
              <a:gd name="connsiteX303" fmla="*/ 4475933 w 12206178"/>
              <a:gd name="connsiteY303" fmla="*/ 1914393 h 5118984"/>
              <a:gd name="connsiteX304" fmla="*/ 4439158 w 12206178"/>
              <a:gd name="connsiteY304" fmla="*/ 1975783 h 5118984"/>
              <a:gd name="connsiteX305" fmla="*/ 4518949 w 12206178"/>
              <a:gd name="connsiteY305" fmla="*/ 1962970 h 5118984"/>
              <a:gd name="connsiteX306" fmla="*/ 4508184 w 12206178"/>
              <a:gd name="connsiteY306" fmla="*/ 2010066 h 5118984"/>
              <a:gd name="connsiteX307" fmla="*/ 4474126 w 12206178"/>
              <a:gd name="connsiteY307" fmla="*/ 2112991 h 5118984"/>
              <a:gd name="connsiteX308" fmla="*/ 4578075 w 12206178"/>
              <a:gd name="connsiteY308" fmla="*/ 2038713 h 5118984"/>
              <a:gd name="connsiteX309" fmla="*/ 4524334 w 12206178"/>
              <a:gd name="connsiteY309" fmla="*/ 2181616 h 5118984"/>
              <a:gd name="connsiteX310" fmla="*/ 4565543 w 12206178"/>
              <a:gd name="connsiteY310" fmla="*/ 2220154 h 5118984"/>
              <a:gd name="connsiteX311" fmla="*/ 4570924 w 12206178"/>
              <a:gd name="connsiteY311" fmla="*/ 2277313 h 5118984"/>
              <a:gd name="connsiteX312" fmla="*/ 4498111 w 12206178"/>
              <a:gd name="connsiteY312" fmla="*/ 2345908 h 5118984"/>
              <a:gd name="connsiteX313" fmla="*/ 4642621 w 12206178"/>
              <a:gd name="connsiteY313" fmla="*/ 2324574 h 5118984"/>
              <a:gd name="connsiteX314" fmla="*/ 4628283 w 12206178"/>
              <a:gd name="connsiteY314" fmla="*/ 2358772 h 5118984"/>
              <a:gd name="connsiteX315" fmla="*/ 4556585 w 12206178"/>
              <a:gd name="connsiteY315" fmla="*/ 2463111 h 5118984"/>
              <a:gd name="connsiteX316" fmla="*/ 4631857 w 12206178"/>
              <a:gd name="connsiteY316" fmla="*/ 2498773 h 5118984"/>
              <a:gd name="connsiteX317" fmla="*/ 4612133 w 12206178"/>
              <a:gd name="connsiteY317" fmla="*/ 2535958 h 5118984"/>
              <a:gd name="connsiteX318" fmla="*/ 4584574 w 12206178"/>
              <a:gd name="connsiteY318" fmla="*/ 2604468 h 5118984"/>
              <a:gd name="connsiteX319" fmla="*/ 4656184 w 12206178"/>
              <a:gd name="connsiteY319" fmla="*/ 2584369 h 5118984"/>
              <a:gd name="connsiteX320" fmla="*/ 4620186 w 12206178"/>
              <a:gd name="connsiteY320" fmla="*/ 2548293 h 5118984"/>
              <a:gd name="connsiteX321" fmla="*/ 4681718 w 12206178"/>
              <a:gd name="connsiteY321" fmla="*/ 2525247 h 5118984"/>
              <a:gd name="connsiteX322" fmla="*/ 4633663 w 12206178"/>
              <a:gd name="connsiteY322" fmla="*/ 2484204 h 5118984"/>
              <a:gd name="connsiteX323" fmla="*/ 4650199 w 12206178"/>
              <a:gd name="connsiteY323" fmla="*/ 2464186 h 5118984"/>
              <a:gd name="connsiteX324" fmla="*/ 4633663 w 12206178"/>
              <a:gd name="connsiteY324" fmla="*/ 2427150 h 5118984"/>
              <a:gd name="connsiteX325" fmla="*/ 4661870 w 12206178"/>
              <a:gd name="connsiteY325" fmla="*/ 2427197 h 5118984"/>
              <a:gd name="connsiteX326" fmla="*/ 4701184 w 12206178"/>
              <a:gd name="connsiteY326" fmla="*/ 2429134 h 5118984"/>
              <a:gd name="connsiteX327" fmla="*/ 4663722 w 12206178"/>
              <a:gd name="connsiteY327" fmla="*/ 2407603 h 5118984"/>
              <a:gd name="connsiteX328" fmla="*/ 4690632 w 12206178"/>
              <a:gd name="connsiteY328" fmla="*/ 2402053 h 5118984"/>
              <a:gd name="connsiteX329" fmla="*/ 4701184 w 12206178"/>
              <a:gd name="connsiteY329" fmla="*/ 2393610 h 5118984"/>
              <a:gd name="connsiteX330" fmla="*/ 4680214 w 12206178"/>
              <a:gd name="connsiteY330" fmla="*/ 2359596 h 5118984"/>
              <a:gd name="connsiteX331" fmla="*/ 4705704 w 12206178"/>
              <a:gd name="connsiteY331" fmla="*/ 2351489 h 5118984"/>
              <a:gd name="connsiteX332" fmla="*/ 4701184 w 12206178"/>
              <a:gd name="connsiteY332" fmla="*/ 2325534 h 5118984"/>
              <a:gd name="connsiteX333" fmla="*/ 4743167 w 12206178"/>
              <a:gd name="connsiteY333" fmla="*/ 2308479 h 5118984"/>
              <a:gd name="connsiteX334" fmla="*/ 4761211 w 12206178"/>
              <a:gd name="connsiteY334" fmla="*/ 2271443 h 5118984"/>
              <a:gd name="connsiteX335" fmla="*/ 4699763 w 12206178"/>
              <a:gd name="connsiteY335" fmla="*/ 2251422 h 5118984"/>
              <a:gd name="connsiteX336" fmla="*/ 4724091 w 12206178"/>
              <a:gd name="connsiteY336" fmla="*/ 2249269 h 5118984"/>
              <a:gd name="connsiteX337" fmla="*/ 4791265 w 12206178"/>
              <a:gd name="connsiteY337" fmla="*/ 2238372 h 5118984"/>
              <a:gd name="connsiteX338" fmla="*/ 4780717 w 12206178"/>
              <a:gd name="connsiteY338" fmla="*/ 2207337 h 5118984"/>
              <a:gd name="connsiteX339" fmla="*/ 4815250 w 12206178"/>
              <a:gd name="connsiteY339" fmla="*/ 2189238 h 5118984"/>
              <a:gd name="connsiteX340" fmla="*/ 4813745 w 12206178"/>
              <a:gd name="connsiteY340" fmla="*/ 2159232 h 5118984"/>
              <a:gd name="connsiteX341" fmla="*/ 4852757 w 12206178"/>
              <a:gd name="connsiteY341" fmla="*/ 2116171 h 5118984"/>
              <a:gd name="connsiteX342" fmla="*/ 4860251 w 12206178"/>
              <a:gd name="connsiteY342" fmla="*/ 2135213 h 5118984"/>
              <a:gd name="connsiteX343" fmla="*/ 4873769 w 12206178"/>
              <a:gd name="connsiteY343" fmla="*/ 2151226 h 5118984"/>
              <a:gd name="connsiteX344" fmla="*/ 4877173 w 12206178"/>
              <a:gd name="connsiteY344" fmla="*/ 2175245 h 5118984"/>
              <a:gd name="connsiteX345" fmla="*/ 4893279 w 12206178"/>
              <a:gd name="connsiteY345" fmla="*/ 2194318 h 5118984"/>
              <a:gd name="connsiteX346" fmla="*/ 4887250 w 12206178"/>
              <a:gd name="connsiteY346" fmla="*/ 2226362 h 5118984"/>
              <a:gd name="connsiteX347" fmla="*/ 4927767 w 12206178"/>
              <a:gd name="connsiteY347" fmla="*/ 2242376 h 5118984"/>
              <a:gd name="connsiteX348" fmla="*/ 4890651 w 12206178"/>
              <a:gd name="connsiteY348" fmla="*/ 2266361 h 5118984"/>
              <a:gd name="connsiteX349" fmla="*/ 4892848 w 12206178"/>
              <a:gd name="connsiteY349" fmla="*/ 2271657 h 5118984"/>
              <a:gd name="connsiteX350" fmla="*/ 4942883 w 12206178"/>
              <a:gd name="connsiteY350" fmla="*/ 2268127 h 5118984"/>
              <a:gd name="connsiteX351" fmla="*/ 4975134 w 12206178"/>
              <a:gd name="connsiteY351" fmla="*/ 2264561 h 5118984"/>
              <a:gd name="connsiteX352" fmla="*/ 4984092 w 12206178"/>
              <a:gd name="connsiteY352" fmla="*/ 2234720 h 5118984"/>
              <a:gd name="connsiteX353" fmla="*/ 4976083 w 12206178"/>
              <a:gd name="connsiteY353" fmla="*/ 2207117 h 5118984"/>
              <a:gd name="connsiteX354" fmla="*/ 5004073 w 12206178"/>
              <a:gd name="connsiteY354" fmla="*/ 2206544 h 5118984"/>
              <a:gd name="connsiteX355" fmla="*/ 5032320 w 12206178"/>
              <a:gd name="connsiteY355" fmla="*/ 2195833 h 5118984"/>
              <a:gd name="connsiteX356" fmla="*/ 5011909 w 12206178"/>
              <a:gd name="connsiteY356" fmla="*/ 2145184 h 5118984"/>
              <a:gd name="connsiteX357" fmla="*/ 5051911 w 12206178"/>
              <a:gd name="connsiteY357" fmla="*/ 2131496 h 5118984"/>
              <a:gd name="connsiteX358" fmla="*/ 5016903 w 12206178"/>
              <a:gd name="connsiteY358" fmla="*/ 2100879 h 5118984"/>
              <a:gd name="connsiteX359" fmla="*/ 5059794 w 12206178"/>
              <a:gd name="connsiteY359" fmla="*/ 2085120 h 5118984"/>
              <a:gd name="connsiteX360" fmla="*/ 5057296 w 12206178"/>
              <a:gd name="connsiteY360" fmla="*/ 2047325 h 5118984"/>
              <a:gd name="connsiteX361" fmla="*/ 5075768 w 12206178"/>
              <a:gd name="connsiteY361" fmla="*/ 2026351 h 5118984"/>
              <a:gd name="connsiteX362" fmla="*/ 5081840 w 12206178"/>
              <a:gd name="connsiteY362" fmla="*/ 1998609 h 5118984"/>
              <a:gd name="connsiteX363" fmla="*/ 5097341 w 12206178"/>
              <a:gd name="connsiteY363" fmla="*/ 1980917 h 5118984"/>
              <a:gd name="connsiteX364" fmla="*/ 5107072 w 12206178"/>
              <a:gd name="connsiteY364" fmla="*/ 1959302 h 5118984"/>
              <a:gd name="connsiteX365" fmla="*/ 5141867 w 12206178"/>
              <a:gd name="connsiteY365" fmla="*/ 2076779 h 5118984"/>
              <a:gd name="connsiteX366" fmla="*/ 5137002 w 12206178"/>
              <a:gd name="connsiteY366" fmla="*/ 2111645 h 5118984"/>
              <a:gd name="connsiteX367" fmla="*/ 5169985 w 12206178"/>
              <a:gd name="connsiteY367" fmla="*/ 2135107 h 5118984"/>
              <a:gd name="connsiteX368" fmla="*/ 5155860 w 12206178"/>
              <a:gd name="connsiteY368" fmla="*/ 2170516 h 5118984"/>
              <a:gd name="connsiteX369" fmla="*/ 5247322 w 12206178"/>
              <a:gd name="connsiteY369" fmla="*/ 2192215 h 5118984"/>
              <a:gd name="connsiteX370" fmla="*/ 5182646 w 12206178"/>
              <a:gd name="connsiteY370" fmla="*/ 2211121 h 5118984"/>
              <a:gd name="connsiteX371" fmla="*/ 5196811 w 12206178"/>
              <a:gd name="connsiteY371" fmla="*/ 2255511 h 5118984"/>
              <a:gd name="connsiteX372" fmla="*/ 5237590 w 12206178"/>
              <a:gd name="connsiteY372" fmla="*/ 2278337 h 5118984"/>
              <a:gd name="connsiteX373" fmla="*/ 5230053 w 12206178"/>
              <a:gd name="connsiteY373" fmla="*/ 2308343 h 5118984"/>
              <a:gd name="connsiteX374" fmla="*/ 5237546 w 12206178"/>
              <a:gd name="connsiteY374" fmla="*/ 2308309 h 5118984"/>
              <a:gd name="connsiteX375" fmla="*/ 5255072 w 12206178"/>
              <a:gd name="connsiteY375" fmla="*/ 2319498 h 5118984"/>
              <a:gd name="connsiteX376" fmla="*/ 5229968 w 12206178"/>
              <a:gd name="connsiteY376" fmla="*/ 2357646 h 5118984"/>
              <a:gd name="connsiteX377" fmla="*/ 5266485 w 12206178"/>
              <a:gd name="connsiteY377" fmla="*/ 2376633 h 5118984"/>
              <a:gd name="connsiteX378" fmla="*/ 5223638 w 12206178"/>
              <a:gd name="connsiteY378" fmla="*/ 2424105 h 5118984"/>
              <a:gd name="connsiteX379" fmla="*/ 5264545 w 12206178"/>
              <a:gd name="connsiteY379" fmla="*/ 2413927 h 5118984"/>
              <a:gd name="connsiteX380" fmla="*/ 5292362 w 12206178"/>
              <a:gd name="connsiteY380" fmla="*/ 2404979 h 5118984"/>
              <a:gd name="connsiteX381" fmla="*/ 5270099 w 12206178"/>
              <a:gd name="connsiteY381" fmla="*/ 2446829 h 5118984"/>
              <a:gd name="connsiteX382" fmla="*/ 5285343 w 12206178"/>
              <a:gd name="connsiteY382" fmla="*/ 2444069 h 5118984"/>
              <a:gd name="connsiteX383" fmla="*/ 5372197 w 12206178"/>
              <a:gd name="connsiteY383" fmla="*/ 2458588 h 5118984"/>
              <a:gd name="connsiteX384" fmla="*/ 5347178 w 12206178"/>
              <a:gd name="connsiteY384" fmla="*/ 2409838 h 5118984"/>
              <a:gd name="connsiteX385" fmla="*/ 5340590 w 12206178"/>
              <a:gd name="connsiteY385" fmla="*/ 2383533 h 5118984"/>
              <a:gd name="connsiteX386" fmla="*/ 5399756 w 12206178"/>
              <a:gd name="connsiteY386" fmla="*/ 2416904 h 5118984"/>
              <a:gd name="connsiteX387" fmla="*/ 5387957 w 12206178"/>
              <a:gd name="connsiteY387" fmla="*/ 2361315 h 5118984"/>
              <a:gd name="connsiteX388" fmla="*/ 5378741 w 12206178"/>
              <a:gd name="connsiteY388" fmla="*/ 2325402 h 5118984"/>
              <a:gd name="connsiteX389" fmla="*/ 5416465 w 12206178"/>
              <a:gd name="connsiteY389" fmla="*/ 2314585 h 5118984"/>
              <a:gd name="connsiteX390" fmla="*/ 5428779 w 12206178"/>
              <a:gd name="connsiteY390" fmla="*/ 2233598 h 5118984"/>
              <a:gd name="connsiteX391" fmla="*/ 5439243 w 12206178"/>
              <a:gd name="connsiteY391" fmla="*/ 2308866 h 5118984"/>
              <a:gd name="connsiteX392" fmla="*/ 5488332 w 12206178"/>
              <a:gd name="connsiteY392" fmla="*/ 2307736 h 5118984"/>
              <a:gd name="connsiteX393" fmla="*/ 5452419 w 12206178"/>
              <a:gd name="connsiteY393" fmla="*/ 2356704 h 5118984"/>
              <a:gd name="connsiteX394" fmla="*/ 5530487 w 12206178"/>
              <a:gd name="connsiteY394" fmla="*/ 2324927 h 5118984"/>
              <a:gd name="connsiteX395" fmla="*/ 5519895 w 12206178"/>
              <a:gd name="connsiteY395" fmla="*/ 2362559 h 5118984"/>
              <a:gd name="connsiteX396" fmla="*/ 5486609 w 12206178"/>
              <a:gd name="connsiteY396" fmla="*/ 2444639 h 5118984"/>
              <a:gd name="connsiteX397" fmla="*/ 5511887 w 12206178"/>
              <a:gd name="connsiteY397" fmla="*/ 2436637 h 5118984"/>
              <a:gd name="connsiteX398" fmla="*/ 5517613 w 12206178"/>
              <a:gd name="connsiteY398" fmla="*/ 2432921 h 5118984"/>
              <a:gd name="connsiteX399" fmla="*/ 5518559 w 12206178"/>
              <a:gd name="connsiteY399" fmla="*/ 2433440 h 5118984"/>
              <a:gd name="connsiteX400" fmla="*/ 5585778 w 12206178"/>
              <a:gd name="connsiteY400" fmla="*/ 2388748 h 5118984"/>
              <a:gd name="connsiteX401" fmla="*/ 5569415 w 12206178"/>
              <a:gd name="connsiteY401" fmla="*/ 2355544 h 5118984"/>
              <a:gd name="connsiteX402" fmla="*/ 5595295 w 12206178"/>
              <a:gd name="connsiteY402" fmla="*/ 2341602 h 5118984"/>
              <a:gd name="connsiteX403" fmla="*/ 5647097 w 12206178"/>
              <a:gd name="connsiteY403" fmla="*/ 2316657 h 5118984"/>
              <a:gd name="connsiteX404" fmla="*/ 5647097 w 12206178"/>
              <a:gd name="connsiteY404" fmla="*/ 2214220 h 5118984"/>
              <a:gd name="connsiteX405" fmla="*/ 5669746 w 12206178"/>
              <a:gd name="connsiteY405" fmla="*/ 2156133 h 5118984"/>
              <a:gd name="connsiteX406" fmla="*/ 5709406 w 12206178"/>
              <a:gd name="connsiteY406" fmla="*/ 2211457 h 5118984"/>
              <a:gd name="connsiteX407" fmla="*/ 5757115 w 12206178"/>
              <a:gd name="connsiteY407" fmla="*/ 2311151 h 5118984"/>
              <a:gd name="connsiteX408" fmla="*/ 5789454 w 12206178"/>
              <a:gd name="connsiteY408" fmla="*/ 2313914 h 5118984"/>
              <a:gd name="connsiteX409" fmla="*/ 5776536 w 12206178"/>
              <a:gd name="connsiteY409" fmla="*/ 2385907 h 5118984"/>
              <a:gd name="connsiteX410" fmla="*/ 5821835 w 12206178"/>
              <a:gd name="connsiteY410" fmla="*/ 2369283 h 5118984"/>
              <a:gd name="connsiteX411" fmla="*/ 5789454 w 12206178"/>
              <a:gd name="connsiteY411" fmla="*/ 2441224 h 5118984"/>
              <a:gd name="connsiteX412" fmla="*/ 5805644 w 12206178"/>
              <a:gd name="connsiteY412" fmla="*/ 2496620 h 5118984"/>
              <a:gd name="connsiteX413" fmla="*/ 5849824 w 12206178"/>
              <a:gd name="connsiteY413" fmla="*/ 2474313 h 5118984"/>
              <a:gd name="connsiteX414" fmla="*/ 5791133 w 12206178"/>
              <a:gd name="connsiteY414" fmla="*/ 2458367 h 5118984"/>
              <a:gd name="connsiteX415" fmla="*/ 5815419 w 12206178"/>
              <a:gd name="connsiteY415" fmla="*/ 2456401 h 5118984"/>
              <a:gd name="connsiteX416" fmla="*/ 5876220 w 12206178"/>
              <a:gd name="connsiteY416" fmla="*/ 2450745 h 5118984"/>
              <a:gd name="connsiteX417" fmla="*/ 5880139 w 12206178"/>
              <a:gd name="connsiteY417" fmla="*/ 2446792 h 5118984"/>
              <a:gd name="connsiteX418" fmla="*/ 5889830 w 12206178"/>
              <a:gd name="connsiteY418" fmla="*/ 2437227 h 5118984"/>
              <a:gd name="connsiteX419" fmla="*/ 5872131 w 12206178"/>
              <a:gd name="connsiteY419" fmla="*/ 2417426 h 5118984"/>
              <a:gd name="connsiteX420" fmla="*/ 5906664 w 12206178"/>
              <a:gd name="connsiteY420" fmla="*/ 2400625 h 5118984"/>
              <a:gd name="connsiteX421" fmla="*/ 5905158 w 12206178"/>
              <a:gd name="connsiteY421" fmla="*/ 2372683 h 5118984"/>
              <a:gd name="connsiteX422" fmla="*/ 5944215 w 12206178"/>
              <a:gd name="connsiteY422" fmla="*/ 2332681 h 5118984"/>
              <a:gd name="connsiteX423" fmla="*/ 5951664 w 12206178"/>
              <a:gd name="connsiteY423" fmla="*/ 2350380 h 5118984"/>
              <a:gd name="connsiteX424" fmla="*/ 5965186 w 12206178"/>
              <a:gd name="connsiteY424" fmla="*/ 2365231 h 5118984"/>
              <a:gd name="connsiteX425" fmla="*/ 5968542 w 12206178"/>
              <a:gd name="connsiteY425" fmla="*/ 2387585 h 5118984"/>
              <a:gd name="connsiteX426" fmla="*/ 5984648 w 12206178"/>
              <a:gd name="connsiteY426" fmla="*/ 2405315 h 5118984"/>
              <a:gd name="connsiteX427" fmla="*/ 5978663 w 12206178"/>
              <a:gd name="connsiteY427" fmla="*/ 2435074 h 5118984"/>
              <a:gd name="connsiteX428" fmla="*/ 6019181 w 12206178"/>
              <a:gd name="connsiteY428" fmla="*/ 2450023 h 5118984"/>
              <a:gd name="connsiteX429" fmla="*/ 5982064 w 12206178"/>
              <a:gd name="connsiteY429" fmla="*/ 2472364 h 5118984"/>
              <a:gd name="connsiteX430" fmla="*/ 6019957 w 12206178"/>
              <a:gd name="connsiteY430" fmla="*/ 2485363 h 5118984"/>
              <a:gd name="connsiteX431" fmla="*/ 5997824 w 12206178"/>
              <a:gd name="connsiteY431" fmla="*/ 2519608 h 5118984"/>
              <a:gd name="connsiteX432" fmla="*/ 6027881 w 12206178"/>
              <a:gd name="connsiteY432" fmla="*/ 2513960 h 5118984"/>
              <a:gd name="connsiteX433" fmla="*/ 6034039 w 12206178"/>
              <a:gd name="connsiteY433" fmla="*/ 2482271 h 5118984"/>
              <a:gd name="connsiteX434" fmla="*/ 6023318 w 12206178"/>
              <a:gd name="connsiteY434" fmla="*/ 2454248 h 5118984"/>
              <a:gd name="connsiteX435" fmla="*/ 6051649 w 12206178"/>
              <a:gd name="connsiteY435" fmla="*/ 2451603 h 5118984"/>
              <a:gd name="connsiteX436" fmla="*/ 6078520 w 12206178"/>
              <a:gd name="connsiteY436" fmla="*/ 2438383 h 5118984"/>
              <a:gd name="connsiteX437" fmla="*/ 6053199 w 12206178"/>
              <a:gd name="connsiteY437" fmla="*/ 2387151 h 5118984"/>
              <a:gd name="connsiteX438" fmla="*/ 6091953 w 12206178"/>
              <a:gd name="connsiteY438" fmla="*/ 2370093 h 5118984"/>
              <a:gd name="connsiteX439" fmla="*/ 6053975 w 12206178"/>
              <a:gd name="connsiteY439" fmla="*/ 2340825 h 5118984"/>
              <a:gd name="connsiteX440" fmla="*/ 6095402 w 12206178"/>
              <a:gd name="connsiteY440" fmla="*/ 2321316 h 5118984"/>
              <a:gd name="connsiteX441" fmla="*/ 6089241 w 12206178"/>
              <a:gd name="connsiteY441" fmla="*/ 2282256 h 5118984"/>
              <a:gd name="connsiteX442" fmla="*/ 6105733 w 12206178"/>
              <a:gd name="connsiteY442" fmla="*/ 2259044 h 5118984"/>
              <a:gd name="connsiteX443" fmla="*/ 6109178 w 12206178"/>
              <a:gd name="connsiteY443" fmla="*/ 2229810 h 5118984"/>
              <a:gd name="connsiteX444" fmla="*/ 6123001 w 12206178"/>
              <a:gd name="connsiteY444" fmla="*/ 2210267 h 5118984"/>
              <a:gd name="connsiteX445" fmla="*/ 6130667 w 12206178"/>
              <a:gd name="connsiteY445" fmla="*/ 2187085 h 5118984"/>
              <a:gd name="connsiteX446" fmla="*/ 6170585 w 12206178"/>
              <a:gd name="connsiteY446" fmla="*/ 2239531 h 5118984"/>
              <a:gd name="connsiteX447" fmla="*/ 6169032 w 12206178"/>
              <a:gd name="connsiteY447" fmla="*/ 2276133 h 5118984"/>
              <a:gd name="connsiteX448" fmla="*/ 6204301 w 12206178"/>
              <a:gd name="connsiteY448" fmla="*/ 2298100 h 5118984"/>
              <a:gd name="connsiteX449" fmla="*/ 6193536 w 12206178"/>
              <a:gd name="connsiteY449" fmla="*/ 2335946 h 5118984"/>
              <a:gd name="connsiteX450" fmla="*/ 6262216 w 12206178"/>
              <a:gd name="connsiteY450" fmla="*/ 2349217 h 5118984"/>
              <a:gd name="connsiteX451" fmla="*/ 6287106 w 12206178"/>
              <a:gd name="connsiteY451" fmla="*/ 2351841 h 5118984"/>
              <a:gd name="connsiteX452" fmla="*/ 6224238 w 12206178"/>
              <a:gd name="connsiteY452" fmla="*/ 2376132 h 5118984"/>
              <a:gd name="connsiteX453" fmla="*/ 6242665 w 12206178"/>
              <a:gd name="connsiteY453" fmla="*/ 2421294 h 5118984"/>
              <a:gd name="connsiteX454" fmla="*/ 6277589 w 12206178"/>
              <a:gd name="connsiteY454" fmla="*/ 2434263 h 5118984"/>
              <a:gd name="connsiteX455" fmla="*/ 6277975 w 12206178"/>
              <a:gd name="connsiteY455" fmla="*/ 2429486 h 5118984"/>
              <a:gd name="connsiteX456" fmla="*/ 6309626 w 12206178"/>
              <a:gd name="connsiteY456" fmla="*/ 2427370 h 5118984"/>
              <a:gd name="connsiteX457" fmla="*/ 6356305 w 12206178"/>
              <a:gd name="connsiteY457" fmla="*/ 2351289 h 5118984"/>
              <a:gd name="connsiteX458" fmla="*/ 6395188 w 12206178"/>
              <a:gd name="connsiteY458" fmla="*/ 2309035 h 5118984"/>
              <a:gd name="connsiteX459" fmla="*/ 6417278 w 12206178"/>
              <a:gd name="connsiteY459" fmla="*/ 2353391 h 5118984"/>
              <a:gd name="connsiteX460" fmla="*/ 6417278 w 12206178"/>
              <a:gd name="connsiteY460" fmla="*/ 2431537 h 5118984"/>
              <a:gd name="connsiteX461" fmla="*/ 6467961 w 12206178"/>
              <a:gd name="connsiteY461" fmla="*/ 2450579 h 5118984"/>
              <a:gd name="connsiteX462" fmla="*/ 6497242 w 12206178"/>
              <a:gd name="connsiteY462" fmla="*/ 2451016 h 5118984"/>
              <a:gd name="connsiteX463" fmla="*/ 6506888 w 12206178"/>
              <a:gd name="connsiteY463" fmla="*/ 2445751 h 5118984"/>
              <a:gd name="connsiteX464" fmla="*/ 6548138 w 12206178"/>
              <a:gd name="connsiteY464" fmla="*/ 2405498 h 5118984"/>
              <a:gd name="connsiteX465" fmla="*/ 6494356 w 12206178"/>
              <a:gd name="connsiteY465" fmla="*/ 2256118 h 5118984"/>
              <a:gd name="connsiteX466" fmla="*/ 6598305 w 12206178"/>
              <a:gd name="connsiteY466" fmla="*/ 2333793 h 5118984"/>
              <a:gd name="connsiteX467" fmla="*/ 6564243 w 12206178"/>
              <a:gd name="connsiteY467" fmla="*/ 2226277 h 5118984"/>
              <a:gd name="connsiteX468" fmla="*/ 6553522 w 12206178"/>
              <a:gd name="connsiteY468" fmla="*/ 2176924 h 5118984"/>
              <a:gd name="connsiteX469" fmla="*/ 6633313 w 12206178"/>
              <a:gd name="connsiteY469" fmla="*/ 2190449 h 5118984"/>
              <a:gd name="connsiteX470" fmla="*/ 6596539 w 12206178"/>
              <a:gd name="connsiteY470" fmla="*/ 2126194 h 5118984"/>
              <a:gd name="connsiteX471" fmla="*/ 6646662 w 12206178"/>
              <a:gd name="connsiteY471" fmla="*/ 2127675 h 5118984"/>
              <a:gd name="connsiteX472" fmla="*/ 6657427 w 12206178"/>
              <a:gd name="connsiteY472" fmla="*/ 2029141 h 5118984"/>
              <a:gd name="connsiteX473" fmla="*/ 6670000 w 12206178"/>
              <a:gd name="connsiteY473" fmla="*/ 2135158 h 5118984"/>
              <a:gd name="connsiteX474" fmla="*/ 6708581 w 12206178"/>
              <a:gd name="connsiteY474" fmla="*/ 2149321 h 5118984"/>
              <a:gd name="connsiteX475" fmla="*/ 6699152 w 12206178"/>
              <a:gd name="connsiteY475" fmla="*/ 2196386 h 5118984"/>
              <a:gd name="connsiteX476" fmla="*/ 6687051 w 12206178"/>
              <a:gd name="connsiteY476" fmla="*/ 2269202 h 5118984"/>
              <a:gd name="connsiteX477" fmla="*/ 6747553 w 12206178"/>
              <a:gd name="connsiteY477" fmla="*/ 2225504 h 5118984"/>
              <a:gd name="connsiteX478" fmla="*/ 6740836 w 12206178"/>
              <a:gd name="connsiteY478" fmla="*/ 2288193 h 5118984"/>
              <a:gd name="connsiteX479" fmla="*/ 6715301 w 12206178"/>
              <a:gd name="connsiteY479" fmla="*/ 2352096 h 5118984"/>
              <a:gd name="connsiteX480" fmla="*/ 6804047 w 12206178"/>
              <a:gd name="connsiteY480" fmla="*/ 2333020 h 5118984"/>
              <a:gd name="connsiteX481" fmla="*/ 6804047 w 12206178"/>
              <a:gd name="connsiteY481" fmla="*/ 2384557 h 5118984"/>
              <a:gd name="connsiteX482" fmla="*/ 6743504 w 12206178"/>
              <a:gd name="connsiteY482" fmla="*/ 2460741 h 5118984"/>
              <a:gd name="connsiteX483" fmla="*/ 6786524 w 12206178"/>
              <a:gd name="connsiteY483" fmla="*/ 2464491 h 5118984"/>
              <a:gd name="connsiteX484" fmla="*/ 6789667 w 12206178"/>
              <a:gd name="connsiteY484" fmla="*/ 2460910 h 5118984"/>
              <a:gd name="connsiteX485" fmla="*/ 6825404 w 12206178"/>
              <a:gd name="connsiteY485" fmla="*/ 2446358 h 5118984"/>
              <a:gd name="connsiteX486" fmla="*/ 6800819 w 12206178"/>
              <a:gd name="connsiteY486" fmla="*/ 2417260 h 5118984"/>
              <a:gd name="connsiteX487" fmla="*/ 6817870 w 12206178"/>
              <a:gd name="connsiteY487" fmla="*/ 2408763 h 5118984"/>
              <a:gd name="connsiteX488" fmla="*/ 6825320 w 12206178"/>
              <a:gd name="connsiteY488" fmla="*/ 2408763 h 5118984"/>
              <a:gd name="connsiteX489" fmla="*/ 6817955 w 12206178"/>
              <a:gd name="connsiteY489" fmla="*/ 2385907 h 5118984"/>
              <a:gd name="connsiteX490" fmla="*/ 6857832 w 12206178"/>
              <a:gd name="connsiteY490" fmla="*/ 2368513 h 5118984"/>
              <a:gd name="connsiteX491" fmla="*/ 6871652 w 12206178"/>
              <a:gd name="connsiteY491" fmla="*/ 2334570 h 5118984"/>
              <a:gd name="connsiteX492" fmla="*/ 6808397 w 12206178"/>
              <a:gd name="connsiteY492" fmla="*/ 2320102 h 5118984"/>
              <a:gd name="connsiteX493" fmla="*/ 6897878 w 12206178"/>
              <a:gd name="connsiteY493" fmla="*/ 2303569 h 5118984"/>
              <a:gd name="connsiteX494" fmla="*/ 6884055 w 12206178"/>
              <a:gd name="connsiteY494" fmla="*/ 2276570 h 5118984"/>
              <a:gd name="connsiteX495" fmla="*/ 6916350 w 12206178"/>
              <a:gd name="connsiteY495" fmla="*/ 2258658 h 5118984"/>
              <a:gd name="connsiteX496" fmla="*/ 6911570 w 12206178"/>
              <a:gd name="connsiteY496" fmla="*/ 2232045 h 5118984"/>
              <a:gd name="connsiteX497" fmla="*/ 6945632 w 12206178"/>
              <a:gd name="connsiteY497" fmla="*/ 2191612 h 5118984"/>
              <a:gd name="connsiteX498" fmla="*/ 6955149 w 12206178"/>
              <a:gd name="connsiteY498" fmla="*/ 2208195 h 5118984"/>
              <a:gd name="connsiteX499" fmla="*/ 6970305 w 12206178"/>
              <a:gd name="connsiteY499" fmla="*/ 2221615 h 5118984"/>
              <a:gd name="connsiteX500" fmla="*/ 6976289 w 12206178"/>
              <a:gd name="connsiteY500" fmla="*/ 2242864 h 5118984"/>
              <a:gd name="connsiteX501" fmla="*/ 6994375 w 12206178"/>
              <a:gd name="connsiteY501" fmla="*/ 2258908 h 5118984"/>
              <a:gd name="connsiteX502" fmla="*/ 6991879 w 12206178"/>
              <a:gd name="connsiteY502" fmla="*/ 2287671 h 5118984"/>
              <a:gd name="connsiteX503" fmla="*/ 7033862 w 12206178"/>
              <a:gd name="connsiteY503" fmla="*/ 2299731 h 5118984"/>
              <a:gd name="connsiteX504" fmla="*/ 6999586 w 12206178"/>
              <a:gd name="connsiteY504" fmla="*/ 2323079 h 5118984"/>
              <a:gd name="connsiteX505" fmla="*/ 7038771 w 12206178"/>
              <a:gd name="connsiteY505" fmla="*/ 2333539 h 5118984"/>
              <a:gd name="connsiteX506" fmla="*/ 7018791 w 12206178"/>
              <a:gd name="connsiteY506" fmla="*/ 2372161 h 5118984"/>
              <a:gd name="connsiteX507" fmla="*/ 7046393 w 12206178"/>
              <a:gd name="connsiteY507" fmla="*/ 2380387 h 5118984"/>
              <a:gd name="connsiteX508" fmla="*/ 7073779 w 12206178"/>
              <a:gd name="connsiteY508" fmla="*/ 2380858 h 5118984"/>
              <a:gd name="connsiteX509" fmla="*/ 7065944 w 12206178"/>
              <a:gd name="connsiteY509" fmla="*/ 2401887 h 5118984"/>
              <a:gd name="connsiteX510" fmla="*/ 7065727 w 12206178"/>
              <a:gd name="connsiteY510" fmla="*/ 2421125 h 5118984"/>
              <a:gd name="connsiteX511" fmla="*/ 7086094 w 12206178"/>
              <a:gd name="connsiteY511" fmla="*/ 2424997 h 5118984"/>
              <a:gd name="connsiteX512" fmla="*/ 7160850 w 12206178"/>
              <a:gd name="connsiteY512" fmla="*/ 2365231 h 5118984"/>
              <a:gd name="connsiteX513" fmla="*/ 7168428 w 12206178"/>
              <a:gd name="connsiteY513" fmla="*/ 2365099 h 5118984"/>
              <a:gd name="connsiteX514" fmla="*/ 7201713 w 12206178"/>
              <a:gd name="connsiteY514" fmla="*/ 2355795 h 5118984"/>
              <a:gd name="connsiteX515" fmla="*/ 7158738 w 12206178"/>
              <a:gd name="connsiteY515" fmla="*/ 2337462 h 5118984"/>
              <a:gd name="connsiteX516" fmla="*/ 7130362 w 12206178"/>
              <a:gd name="connsiteY516" fmla="*/ 2352614 h 5118984"/>
              <a:gd name="connsiteX517" fmla="*/ 7105085 w 12206178"/>
              <a:gd name="connsiteY517" fmla="*/ 2365285 h 5118984"/>
              <a:gd name="connsiteX518" fmla="*/ 7055996 w 12206178"/>
              <a:gd name="connsiteY518" fmla="*/ 2325924 h 5118984"/>
              <a:gd name="connsiteX519" fmla="*/ 7108916 w 12206178"/>
              <a:gd name="connsiteY519" fmla="*/ 2286393 h 5118984"/>
              <a:gd name="connsiteX520" fmla="*/ 7143453 w 12206178"/>
              <a:gd name="connsiteY520" fmla="*/ 2246868 h 5118984"/>
              <a:gd name="connsiteX521" fmla="*/ 7149566 w 12206178"/>
              <a:gd name="connsiteY521" fmla="*/ 2212756 h 5118984"/>
              <a:gd name="connsiteX522" fmla="*/ 7138801 w 12206178"/>
              <a:gd name="connsiteY522" fmla="*/ 2182613 h 5118984"/>
              <a:gd name="connsiteX523" fmla="*/ 7167136 w 12206178"/>
              <a:gd name="connsiteY523" fmla="*/ 2179772 h 5118984"/>
              <a:gd name="connsiteX524" fmla="*/ 7194007 w 12206178"/>
              <a:gd name="connsiteY524" fmla="*/ 2165555 h 5118984"/>
              <a:gd name="connsiteX525" fmla="*/ 7168730 w 12206178"/>
              <a:gd name="connsiteY525" fmla="*/ 2110451 h 5118984"/>
              <a:gd name="connsiteX526" fmla="*/ 7207484 w 12206178"/>
              <a:gd name="connsiteY526" fmla="*/ 2092098 h 5118984"/>
              <a:gd name="connsiteX527" fmla="*/ 7169503 w 12206178"/>
              <a:gd name="connsiteY527" fmla="*/ 2060579 h 5118984"/>
              <a:gd name="connsiteX528" fmla="*/ 7210929 w 12206178"/>
              <a:gd name="connsiteY528" fmla="*/ 2039652 h 5118984"/>
              <a:gd name="connsiteX529" fmla="*/ 7204772 w 12206178"/>
              <a:gd name="connsiteY529" fmla="*/ 1997619 h 5118984"/>
              <a:gd name="connsiteX530" fmla="*/ 7221264 w 12206178"/>
              <a:gd name="connsiteY530" fmla="*/ 1972691 h 5118984"/>
              <a:gd name="connsiteX531" fmla="*/ 7224708 w 12206178"/>
              <a:gd name="connsiteY531" fmla="*/ 1941219 h 5118984"/>
              <a:gd name="connsiteX532" fmla="*/ 7238529 w 12206178"/>
              <a:gd name="connsiteY532" fmla="*/ 1920157 h 5118984"/>
              <a:gd name="connsiteX533" fmla="*/ 7246151 w 12206178"/>
              <a:gd name="connsiteY533" fmla="*/ 1895229 h 5118984"/>
              <a:gd name="connsiteX534" fmla="*/ 7286068 w 12206178"/>
              <a:gd name="connsiteY534" fmla="*/ 1951683 h 5118984"/>
              <a:gd name="connsiteX535" fmla="*/ 7284519 w 12206178"/>
              <a:gd name="connsiteY535" fmla="*/ 1991041 h 5118984"/>
              <a:gd name="connsiteX536" fmla="*/ 7319784 w 12206178"/>
              <a:gd name="connsiteY536" fmla="*/ 2014724 h 5118984"/>
              <a:gd name="connsiteX537" fmla="*/ 7309063 w 12206178"/>
              <a:gd name="connsiteY537" fmla="*/ 2055364 h 5118984"/>
              <a:gd name="connsiteX538" fmla="*/ 7377658 w 12206178"/>
              <a:gd name="connsiteY538" fmla="*/ 2069625 h 5118984"/>
              <a:gd name="connsiteX539" fmla="*/ 7402589 w 12206178"/>
              <a:gd name="connsiteY539" fmla="*/ 2072473 h 5118984"/>
              <a:gd name="connsiteX540" fmla="*/ 7339721 w 12206178"/>
              <a:gd name="connsiteY540" fmla="*/ 2098692 h 5118984"/>
              <a:gd name="connsiteX541" fmla="*/ 7358152 w 12206178"/>
              <a:gd name="connsiteY541" fmla="*/ 2147222 h 5118984"/>
              <a:gd name="connsiteX542" fmla="*/ 7401084 w 12206178"/>
              <a:gd name="connsiteY542" fmla="*/ 2169475 h 5118984"/>
              <a:gd name="connsiteX543" fmla="*/ 7396520 w 12206178"/>
              <a:gd name="connsiteY543" fmla="*/ 2203587 h 5118984"/>
              <a:gd name="connsiteX544" fmla="*/ 7422570 w 12206178"/>
              <a:gd name="connsiteY544" fmla="*/ 2214132 h 5118984"/>
              <a:gd name="connsiteX545" fmla="*/ 7401084 w 12206178"/>
              <a:gd name="connsiteY545" fmla="*/ 2258739 h 5118984"/>
              <a:gd name="connsiteX546" fmla="*/ 7411893 w 12206178"/>
              <a:gd name="connsiteY546" fmla="*/ 2269809 h 5118984"/>
              <a:gd name="connsiteX547" fmla="*/ 7439452 w 12206178"/>
              <a:gd name="connsiteY547" fmla="*/ 2277041 h 5118984"/>
              <a:gd name="connsiteX548" fmla="*/ 7401084 w 12206178"/>
              <a:gd name="connsiteY548" fmla="*/ 2333491 h 5118984"/>
              <a:gd name="connsiteX549" fmla="*/ 7441215 w 12206178"/>
              <a:gd name="connsiteY549" fmla="*/ 2330918 h 5118984"/>
              <a:gd name="connsiteX550" fmla="*/ 7470154 w 12206178"/>
              <a:gd name="connsiteY550" fmla="*/ 2330918 h 5118984"/>
              <a:gd name="connsiteX551" fmla="*/ 7463047 w 12206178"/>
              <a:gd name="connsiteY551" fmla="*/ 2347569 h 5118984"/>
              <a:gd name="connsiteX552" fmla="*/ 7475406 w 12206178"/>
              <a:gd name="connsiteY552" fmla="*/ 2342626 h 5118984"/>
              <a:gd name="connsiteX553" fmla="*/ 7515798 w 12206178"/>
              <a:gd name="connsiteY553" fmla="*/ 2248581 h 5118984"/>
              <a:gd name="connsiteX554" fmla="*/ 7469732 w 12206178"/>
              <a:gd name="connsiteY554" fmla="*/ 2212008 h 5118984"/>
              <a:gd name="connsiteX555" fmla="*/ 7463780 w 12206178"/>
              <a:gd name="connsiteY555" fmla="*/ 2204372 h 5118984"/>
              <a:gd name="connsiteX556" fmla="*/ 7483489 w 12206178"/>
              <a:gd name="connsiteY556" fmla="*/ 2212389 h 5118984"/>
              <a:gd name="connsiteX557" fmla="*/ 7564887 w 12206178"/>
              <a:gd name="connsiteY557" fmla="*/ 2196271 h 5118984"/>
              <a:gd name="connsiteX558" fmla="*/ 7531558 w 12206178"/>
              <a:gd name="connsiteY558" fmla="*/ 2117687 h 5118984"/>
              <a:gd name="connsiteX559" fmla="*/ 7521006 w 12206178"/>
              <a:gd name="connsiteY559" fmla="*/ 2081668 h 5118984"/>
              <a:gd name="connsiteX560" fmla="*/ 7599119 w 12206178"/>
              <a:gd name="connsiteY560" fmla="*/ 2091542 h 5118984"/>
              <a:gd name="connsiteX561" fmla="*/ 7563121 w 12206178"/>
              <a:gd name="connsiteY561" fmla="*/ 2044599 h 5118984"/>
              <a:gd name="connsiteX562" fmla="*/ 7612210 w 12206178"/>
              <a:gd name="connsiteY562" fmla="*/ 2045674 h 5118984"/>
              <a:gd name="connsiteX563" fmla="*/ 7622717 w 12206178"/>
              <a:gd name="connsiteY563" fmla="*/ 1973735 h 5118984"/>
              <a:gd name="connsiteX564" fmla="*/ 7635076 w 12206178"/>
              <a:gd name="connsiteY564" fmla="*/ 2051139 h 5118984"/>
              <a:gd name="connsiteX565" fmla="*/ 7672752 w 12206178"/>
              <a:gd name="connsiteY565" fmla="*/ 2061521 h 5118984"/>
              <a:gd name="connsiteX566" fmla="*/ 7663537 w 12206178"/>
              <a:gd name="connsiteY566" fmla="*/ 2095848 h 5118984"/>
              <a:gd name="connsiteX567" fmla="*/ 7651697 w 12206178"/>
              <a:gd name="connsiteY567" fmla="*/ 2149073 h 5118984"/>
              <a:gd name="connsiteX568" fmla="*/ 7702552 w 12206178"/>
              <a:gd name="connsiteY568" fmla="*/ 2120609 h 5118984"/>
              <a:gd name="connsiteX569" fmla="*/ 7702424 w 12206178"/>
              <a:gd name="connsiteY569" fmla="*/ 2107169 h 5118984"/>
              <a:gd name="connsiteX570" fmla="*/ 7743758 w 12206178"/>
              <a:gd name="connsiteY570" fmla="*/ 2085727 h 5118984"/>
              <a:gd name="connsiteX571" fmla="*/ 7761413 w 12206178"/>
              <a:gd name="connsiteY571" fmla="*/ 2039048 h 5118984"/>
              <a:gd name="connsiteX572" fmla="*/ 7718654 w 12206178"/>
              <a:gd name="connsiteY572" fmla="*/ 1998663 h 5118984"/>
              <a:gd name="connsiteX573" fmla="*/ 7736309 w 12206178"/>
              <a:gd name="connsiteY573" fmla="*/ 1995988 h 5118984"/>
              <a:gd name="connsiteX574" fmla="*/ 7790911 w 12206178"/>
              <a:gd name="connsiteY574" fmla="*/ 1982242 h 5118984"/>
              <a:gd name="connsiteX575" fmla="*/ 7798316 w 12206178"/>
              <a:gd name="connsiteY575" fmla="*/ 1943152 h 5118984"/>
              <a:gd name="connsiteX576" fmla="*/ 7823207 w 12206178"/>
              <a:gd name="connsiteY576" fmla="*/ 1900010 h 5118984"/>
              <a:gd name="connsiteX577" fmla="*/ 7879230 w 12206178"/>
              <a:gd name="connsiteY577" fmla="*/ 1834592 h 5118984"/>
              <a:gd name="connsiteX578" fmla="*/ 7952087 w 12206178"/>
              <a:gd name="connsiteY578" fmla="*/ 1821152 h 5118984"/>
              <a:gd name="connsiteX579" fmla="*/ 7982660 w 12206178"/>
              <a:gd name="connsiteY579" fmla="*/ 1882515 h 5118984"/>
              <a:gd name="connsiteX580" fmla="*/ 7995924 w 12206178"/>
              <a:gd name="connsiteY580" fmla="*/ 1902767 h 5118984"/>
              <a:gd name="connsiteX581" fmla="*/ 7999281 w 12206178"/>
              <a:gd name="connsiteY581" fmla="*/ 1932994 h 5118984"/>
              <a:gd name="connsiteX582" fmla="*/ 8015128 w 12206178"/>
              <a:gd name="connsiteY582" fmla="*/ 1957013 h 5118984"/>
              <a:gd name="connsiteX583" fmla="*/ 8009229 w 12206178"/>
              <a:gd name="connsiteY583" fmla="*/ 1997364 h 5118984"/>
              <a:gd name="connsiteX584" fmla="*/ 8049061 w 12206178"/>
              <a:gd name="connsiteY584" fmla="*/ 2017569 h 5118984"/>
              <a:gd name="connsiteX585" fmla="*/ 8012501 w 12206178"/>
              <a:gd name="connsiteY585" fmla="*/ 2047827 h 5118984"/>
              <a:gd name="connsiteX586" fmla="*/ 8102887 w 12206178"/>
              <a:gd name="connsiteY586" fmla="*/ 2080644 h 5118984"/>
              <a:gd name="connsiteX587" fmla="*/ 8078512 w 12206178"/>
              <a:gd name="connsiteY587" fmla="*/ 2133650 h 5118984"/>
              <a:gd name="connsiteX588" fmla="*/ 8084283 w 12206178"/>
              <a:gd name="connsiteY588" fmla="*/ 2146059 h 5118984"/>
              <a:gd name="connsiteX589" fmla="*/ 8098710 w 12206178"/>
              <a:gd name="connsiteY589" fmla="*/ 2138220 h 5118984"/>
              <a:gd name="connsiteX590" fmla="*/ 8125408 w 12206178"/>
              <a:gd name="connsiteY590" fmla="*/ 2096458 h 5118984"/>
              <a:gd name="connsiteX591" fmla="*/ 8188876 w 12206178"/>
              <a:gd name="connsiteY591" fmla="*/ 2105623 h 5118984"/>
              <a:gd name="connsiteX592" fmla="*/ 8237752 w 12206178"/>
              <a:gd name="connsiteY592" fmla="*/ 2150063 h 5118984"/>
              <a:gd name="connsiteX593" fmla="*/ 8259455 w 12206178"/>
              <a:gd name="connsiteY593" fmla="*/ 2179429 h 5118984"/>
              <a:gd name="connsiteX594" fmla="*/ 8261262 w 12206178"/>
              <a:gd name="connsiteY594" fmla="*/ 2201048 h 5118984"/>
              <a:gd name="connsiteX595" fmla="*/ 8279649 w 12206178"/>
              <a:gd name="connsiteY595" fmla="*/ 2192771 h 5118984"/>
              <a:gd name="connsiteX596" fmla="*/ 8253382 w 12206178"/>
              <a:gd name="connsiteY596" fmla="*/ 2146700 h 5118984"/>
              <a:gd name="connsiteX597" fmla="*/ 8267850 w 12206178"/>
              <a:gd name="connsiteY597" fmla="*/ 2124261 h 5118984"/>
              <a:gd name="connsiteX598" fmla="*/ 8253382 w 12206178"/>
              <a:gd name="connsiteY598" fmla="*/ 2082631 h 5118984"/>
              <a:gd name="connsiteX599" fmla="*/ 8278100 w 12206178"/>
              <a:gd name="connsiteY599" fmla="*/ 2082665 h 5118984"/>
              <a:gd name="connsiteX600" fmla="*/ 8312504 w 12206178"/>
              <a:gd name="connsiteY600" fmla="*/ 2084899 h 5118984"/>
              <a:gd name="connsiteX601" fmla="*/ 8279649 w 12206178"/>
              <a:gd name="connsiteY601" fmla="*/ 2036560 h 5118984"/>
              <a:gd name="connsiteX602" fmla="*/ 8344027 w 12206178"/>
              <a:gd name="connsiteY602" fmla="*/ 1993784 h 5118984"/>
              <a:gd name="connsiteX603" fmla="*/ 8325639 w 12206178"/>
              <a:gd name="connsiteY603" fmla="*/ 1955636 h 5118984"/>
              <a:gd name="connsiteX604" fmla="*/ 8347943 w 12206178"/>
              <a:gd name="connsiteY604" fmla="*/ 1946634 h 5118984"/>
              <a:gd name="connsiteX605" fmla="*/ 8344027 w 12206178"/>
              <a:gd name="connsiteY605" fmla="*/ 1917401 h 5118984"/>
              <a:gd name="connsiteX606" fmla="*/ 8380842 w 12206178"/>
              <a:gd name="connsiteY606" fmla="*/ 1898274 h 5118984"/>
              <a:gd name="connsiteX607" fmla="*/ 8396601 w 12206178"/>
              <a:gd name="connsiteY607" fmla="*/ 1856729 h 5118984"/>
              <a:gd name="connsiteX608" fmla="*/ 8358494 w 12206178"/>
              <a:gd name="connsiteY608" fmla="*/ 1820735 h 5118984"/>
              <a:gd name="connsiteX609" fmla="*/ 8374210 w 12206178"/>
              <a:gd name="connsiteY609" fmla="*/ 1818361 h 5118984"/>
              <a:gd name="connsiteX610" fmla="*/ 8422868 w 12206178"/>
              <a:gd name="connsiteY610" fmla="*/ 1806135 h 5118984"/>
              <a:gd name="connsiteX611" fmla="*/ 8429456 w 12206178"/>
              <a:gd name="connsiteY611" fmla="*/ 1771245 h 5118984"/>
              <a:gd name="connsiteX612" fmla="*/ 8451590 w 12206178"/>
              <a:gd name="connsiteY612" fmla="*/ 1732843 h 5118984"/>
              <a:gd name="connsiteX613" fmla="*/ 8501584 w 12206178"/>
              <a:gd name="connsiteY613" fmla="*/ 1674630 h 5118984"/>
              <a:gd name="connsiteX614" fmla="*/ 8566433 w 12206178"/>
              <a:gd name="connsiteY614" fmla="*/ 1662621 h 5118984"/>
              <a:gd name="connsiteX615" fmla="*/ 8593690 w 12206178"/>
              <a:gd name="connsiteY615" fmla="*/ 1717304 h 5118984"/>
              <a:gd name="connsiteX616" fmla="*/ 8605533 w 12206178"/>
              <a:gd name="connsiteY616" fmla="*/ 1735251 h 5118984"/>
              <a:gd name="connsiteX617" fmla="*/ 8608459 w 12206178"/>
              <a:gd name="connsiteY617" fmla="*/ 1762250 h 5118984"/>
              <a:gd name="connsiteX618" fmla="*/ 8622584 w 12206178"/>
              <a:gd name="connsiteY618" fmla="*/ 1783658 h 5118984"/>
              <a:gd name="connsiteX619" fmla="*/ 8617329 w 12206178"/>
              <a:gd name="connsiteY619" fmla="*/ 1819572 h 5118984"/>
              <a:gd name="connsiteX620" fmla="*/ 8644674 w 12206178"/>
              <a:gd name="connsiteY620" fmla="*/ 1826366 h 5118984"/>
              <a:gd name="connsiteX621" fmla="*/ 8627535 w 12206178"/>
              <a:gd name="connsiteY621" fmla="*/ 1802046 h 5118984"/>
              <a:gd name="connsiteX622" fmla="*/ 8657335 w 12206178"/>
              <a:gd name="connsiteY622" fmla="*/ 1792660 h 5118984"/>
              <a:gd name="connsiteX623" fmla="*/ 8652079 w 12206178"/>
              <a:gd name="connsiteY623" fmla="*/ 1762216 h 5118984"/>
              <a:gd name="connsiteX624" fmla="*/ 8701168 w 12206178"/>
              <a:gd name="connsiteY624" fmla="*/ 1742364 h 5118984"/>
              <a:gd name="connsiteX625" fmla="*/ 8722227 w 12206178"/>
              <a:gd name="connsiteY625" fmla="*/ 1699036 h 5118984"/>
              <a:gd name="connsiteX626" fmla="*/ 8650316 w 12206178"/>
              <a:gd name="connsiteY626" fmla="*/ 1675654 h 5118984"/>
              <a:gd name="connsiteX627" fmla="*/ 8678736 w 12206178"/>
              <a:gd name="connsiteY627" fmla="*/ 1673165 h 5118984"/>
              <a:gd name="connsiteX628" fmla="*/ 8757276 w 12206178"/>
              <a:gd name="connsiteY628" fmla="*/ 1660417 h 5118984"/>
              <a:gd name="connsiteX629" fmla="*/ 8745005 w 12206178"/>
              <a:gd name="connsiteY629" fmla="*/ 1624151 h 5118984"/>
              <a:gd name="connsiteX630" fmla="*/ 8785309 w 12206178"/>
              <a:gd name="connsiteY630" fmla="*/ 1603058 h 5118984"/>
              <a:gd name="connsiteX631" fmla="*/ 8783587 w 12206178"/>
              <a:gd name="connsiteY631" fmla="*/ 1568003 h 5118984"/>
              <a:gd name="connsiteX632" fmla="*/ 8829187 w 12206178"/>
              <a:gd name="connsiteY632" fmla="*/ 1517628 h 5118984"/>
              <a:gd name="connsiteX633" fmla="*/ 8837972 w 12206178"/>
              <a:gd name="connsiteY633" fmla="*/ 1539898 h 5118984"/>
              <a:gd name="connsiteX634" fmla="*/ 8853735 w 12206178"/>
              <a:gd name="connsiteY634" fmla="*/ 1558587 h 5118984"/>
              <a:gd name="connsiteX635" fmla="*/ 8857695 w 12206178"/>
              <a:gd name="connsiteY635" fmla="*/ 1586692 h 5118984"/>
              <a:gd name="connsiteX636" fmla="*/ 8876554 w 12206178"/>
              <a:gd name="connsiteY636" fmla="*/ 1608964 h 5118984"/>
              <a:gd name="connsiteX637" fmla="*/ 8869495 w 12206178"/>
              <a:gd name="connsiteY637" fmla="*/ 1646370 h 5118984"/>
              <a:gd name="connsiteX638" fmla="*/ 8916861 w 12206178"/>
              <a:gd name="connsiteY638" fmla="*/ 1665160 h 5118984"/>
              <a:gd name="connsiteX639" fmla="*/ 8873455 w 12206178"/>
              <a:gd name="connsiteY639" fmla="*/ 1693187 h 5118984"/>
              <a:gd name="connsiteX640" fmla="*/ 8917763 w 12206178"/>
              <a:gd name="connsiteY640" fmla="*/ 1709635 h 5118984"/>
              <a:gd name="connsiteX641" fmla="*/ 8888828 w 12206178"/>
              <a:gd name="connsiteY641" fmla="*/ 1758714 h 5118984"/>
              <a:gd name="connsiteX642" fmla="*/ 8919445 w 12206178"/>
              <a:gd name="connsiteY642" fmla="*/ 1771384 h 5118984"/>
              <a:gd name="connsiteX643" fmla="*/ 8951954 w 12206178"/>
              <a:gd name="connsiteY643" fmla="*/ 1773971 h 5118984"/>
              <a:gd name="connsiteX644" fmla="*/ 8939639 w 12206178"/>
              <a:gd name="connsiteY644" fmla="*/ 1800883 h 5118984"/>
              <a:gd name="connsiteX645" fmla="*/ 8946702 w 12206178"/>
              <a:gd name="connsiteY645" fmla="*/ 1831279 h 5118984"/>
              <a:gd name="connsiteX646" fmla="*/ 9000484 w 12206178"/>
              <a:gd name="connsiteY646" fmla="*/ 1840414 h 5118984"/>
              <a:gd name="connsiteX647" fmla="*/ 9000785 w 12206178"/>
              <a:gd name="connsiteY647" fmla="*/ 1839169 h 5118984"/>
              <a:gd name="connsiteX648" fmla="*/ 8965218 w 12206178"/>
              <a:gd name="connsiteY648" fmla="*/ 1809617 h 5118984"/>
              <a:gd name="connsiteX649" fmla="*/ 9004057 w 12206178"/>
              <a:gd name="connsiteY649" fmla="*/ 1789985 h 5118984"/>
              <a:gd name="connsiteX650" fmla="*/ 8998286 w 12206178"/>
              <a:gd name="connsiteY650" fmla="*/ 1750593 h 5118984"/>
              <a:gd name="connsiteX651" fmla="*/ 9013704 w 12206178"/>
              <a:gd name="connsiteY651" fmla="*/ 1727293 h 5118984"/>
              <a:gd name="connsiteX652" fmla="*/ 9016931 w 12206178"/>
              <a:gd name="connsiteY652" fmla="*/ 1697707 h 5118984"/>
              <a:gd name="connsiteX653" fmla="*/ 9029894 w 12206178"/>
              <a:gd name="connsiteY653" fmla="*/ 1678028 h 5118984"/>
              <a:gd name="connsiteX654" fmla="*/ 9037041 w 12206178"/>
              <a:gd name="connsiteY654" fmla="*/ 1654680 h 5118984"/>
              <a:gd name="connsiteX655" fmla="*/ 9074463 w 12206178"/>
              <a:gd name="connsiteY655" fmla="*/ 1707563 h 5118984"/>
              <a:gd name="connsiteX656" fmla="*/ 9072998 w 12206178"/>
              <a:gd name="connsiteY656" fmla="*/ 1744436 h 5118984"/>
              <a:gd name="connsiteX657" fmla="*/ 9106111 w 12206178"/>
              <a:gd name="connsiteY657" fmla="*/ 1766604 h 5118984"/>
              <a:gd name="connsiteX658" fmla="*/ 9095993 w 12206178"/>
              <a:gd name="connsiteY658" fmla="*/ 1804755 h 5118984"/>
              <a:gd name="connsiteX659" fmla="*/ 9160367 w 12206178"/>
              <a:gd name="connsiteY659" fmla="*/ 1818107 h 5118984"/>
              <a:gd name="connsiteX660" fmla="*/ 9183705 w 12206178"/>
              <a:gd name="connsiteY660" fmla="*/ 1820735 h 5118984"/>
              <a:gd name="connsiteX661" fmla="*/ 9124800 w 12206178"/>
              <a:gd name="connsiteY661" fmla="*/ 1845276 h 5118984"/>
              <a:gd name="connsiteX662" fmla="*/ 9142068 w 12206178"/>
              <a:gd name="connsiteY662" fmla="*/ 1890876 h 5118984"/>
              <a:gd name="connsiteX663" fmla="*/ 9182284 w 12206178"/>
              <a:gd name="connsiteY663" fmla="*/ 1911718 h 5118984"/>
              <a:gd name="connsiteX664" fmla="*/ 9177978 w 12206178"/>
              <a:gd name="connsiteY664" fmla="*/ 1943674 h 5118984"/>
              <a:gd name="connsiteX665" fmla="*/ 9202438 w 12206178"/>
              <a:gd name="connsiteY665" fmla="*/ 1953531 h 5118984"/>
              <a:gd name="connsiteX666" fmla="*/ 9182284 w 12206178"/>
              <a:gd name="connsiteY666" fmla="*/ 1995299 h 5118984"/>
              <a:gd name="connsiteX667" fmla="*/ 9192449 w 12206178"/>
              <a:gd name="connsiteY667" fmla="*/ 2005729 h 5118984"/>
              <a:gd name="connsiteX668" fmla="*/ 9218241 w 12206178"/>
              <a:gd name="connsiteY668" fmla="*/ 2012571 h 5118984"/>
              <a:gd name="connsiteX669" fmla="*/ 9182284 w 12206178"/>
              <a:gd name="connsiteY669" fmla="*/ 2065441 h 5118984"/>
              <a:gd name="connsiteX670" fmla="*/ 9219876 w 12206178"/>
              <a:gd name="connsiteY670" fmla="*/ 2063034 h 5118984"/>
              <a:gd name="connsiteX671" fmla="*/ 9247004 w 12206178"/>
              <a:gd name="connsiteY671" fmla="*/ 2063034 h 5118984"/>
              <a:gd name="connsiteX672" fmla="*/ 9231160 w 12206178"/>
              <a:gd name="connsiteY672" fmla="*/ 2108501 h 5118984"/>
              <a:gd name="connsiteX673" fmla="*/ 9247004 w 12206178"/>
              <a:gd name="connsiteY673" fmla="*/ 2133093 h 5118984"/>
              <a:gd name="connsiteX674" fmla="*/ 9200973 w 12206178"/>
              <a:gd name="connsiteY674" fmla="*/ 2183552 h 5118984"/>
              <a:gd name="connsiteX675" fmla="*/ 9259966 w 12206178"/>
              <a:gd name="connsiteY675" fmla="*/ 2211813 h 5118984"/>
              <a:gd name="connsiteX676" fmla="*/ 9225389 w 12206178"/>
              <a:gd name="connsiteY676" fmla="*/ 2256064 h 5118984"/>
              <a:gd name="connsiteX677" fmla="*/ 9225260 w 12206178"/>
              <a:gd name="connsiteY677" fmla="*/ 2256806 h 5118984"/>
              <a:gd name="connsiteX678" fmla="*/ 9252863 w 12206178"/>
              <a:gd name="connsiteY678" fmla="*/ 2259346 h 5118984"/>
              <a:gd name="connsiteX679" fmla="*/ 9303457 w 12206178"/>
              <a:gd name="connsiteY679" fmla="*/ 2261587 h 5118984"/>
              <a:gd name="connsiteX680" fmla="*/ 9425146 w 12206178"/>
              <a:gd name="connsiteY680" fmla="*/ 2232099 h 5118984"/>
              <a:gd name="connsiteX681" fmla="*/ 9409431 w 12206178"/>
              <a:gd name="connsiteY681" fmla="*/ 2199363 h 5118984"/>
              <a:gd name="connsiteX682" fmla="*/ 9379332 w 12206178"/>
              <a:gd name="connsiteY682" fmla="*/ 2188042 h 5118984"/>
              <a:gd name="connsiteX683" fmla="*/ 9383119 w 12206178"/>
              <a:gd name="connsiteY683" fmla="*/ 2148768 h 5118984"/>
              <a:gd name="connsiteX684" fmla="*/ 9379976 w 12206178"/>
              <a:gd name="connsiteY684" fmla="*/ 2142475 h 5118984"/>
              <a:gd name="connsiteX685" fmla="*/ 9362623 w 12206178"/>
              <a:gd name="connsiteY685" fmla="*/ 2094807 h 5118984"/>
              <a:gd name="connsiteX686" fmla="*/ 9359395 w 12206178"/>
              <a:gd name="connsiteY686" fmla="*/ 2094034 h 5118984"/>
              <a:gd name="connsiteX687" fmla="*/ 9358490 w 12206178"/>
              <a:gd name="connsiteY687" fmla="*/ 2074273 h 5118984"/>
              <a:gd name="connsiteX688" fmla="*/ 9410634 w 12206178"/>
              <a:gd name="connsiteY688" fmla="*/ 2052743 h 5118984"/>
              <a:gd name="connsiteX689" fmla="*/ 9412445 w 12206178"/>
              <a:gd name="connsiteY689" fmla="*/ 2054340 h 5118984"/>
              <a:gd name="connsiteX690" fmla="*/ 9478714 w 12206178"/>
              <a:gd name="connsiteY690" fmla="*/ 2034908 h 5118984"/>
              <a:gd name="connsiteX691" fmla="*/ 9413648 w 12206178"/>
              <a:gd name="connsiteY691" fmla="*/ 1991549 h 5118984"/>
              <a:gd name="connsiteX692" fmla="*/ 9489910 w 12206178"/>
              <a:gd name="connsiteY692" fmla="*/ 1971616 h 5118984"/>
              <a:gd name="connsiteX693" fmla="*/ 9472858 w 12206178"/>
              <a:gd name="connsiteY693" fmla="*/ 1913871 h 5118984"/>
              <a:gd name="connsiteX694" fmla="*/ 9470319 w 12206178"/>
              <a:gd name="connsiteY694" fmla="*/ 1890791 h 5118984"/>
              <a:gd name="connsiteX695" fmla="*/ 9474194 w 12206178"/>
              <a:gd name="connsiteY695" fmla="*/ 1849497 h 5118984"/>
              <a:gd name="connsiteX696" fmla="*/ 9473289 w 12206178"/>
              <a:gd name="connsiteY696" fmla="*/ 1845577 h 5118984"/>
              <a:gd name="connsiteX697" fmla="*/ 9477209 w 12206178"/>
              <a:gd name="connsiteY697" fmla="*/ 1839556 h 5118984"/>
              <a:gd name="connsiteX698" fmla="*/ 9489350 w 12206178"/>
              <a:gd name="connsiteY698" fmla="*/ 1817032 h 5118984"/>
              <a:gd name="connsiteX699" fmla="*/ 9505069 w 12206178"/>
              <a:gd name="connsiteY699" fmla="*/ 1804236 h 5118984"/>
              <a:gd name="connsiteX700" fmla="*/ 9509416 w 12206178"/>
              <a:gd name="connsiteY700" fmla="*/ 1796143 h 5118984"/>
              <a:gd name="connsiteX701" fmla="*/ 9597992 w 12206178"/>
              <a:gd name="connsiteY701" fmla="*/ 1750322 h 5118984"/>
              <a:gd name="connsiteX702" fmla="*/ 9572630 w 12206178"/>
              <a:gd name="connsiteY702" fmla="*/ 1709333 h 5118984"/>
              <a:gd name="connsiteX703" fmla="*/ 9603376 w 12206178"/>
              <a:gd name="connsiteY703" fmla="*/ 1699690 h 5118984"/>
              <a:gd name="connsiteX704" fmla="*/ 9597992 w 12206178"/>
              <a:gd name="connsiteY704" fmla="*/ 1668341 h 5118984"/>
              <a:gd name="connsiteX705" fmla="*/ 9648502 w 12206178"/>
              <a:gd name="connsiteY705" fmla="*/ 1647834 h 5118984"/>
              <a:gd name="connsiteX706" fmla="*/ 9660989 w 12206178"/>
              <a:gd name="connsiteY706" fmla="*/ 1637171 h 5118984"/>
              <a:gd name="connsiteX707" fmla="*/ 9589939 w 12206178"/>
              <a:gd name="connsiteY707" fmla="*/ 1555139 h 5118984"/>
              <a:gd name="connsiteX708" fmla="*/ 9629297 w 12206178"/>
              <a:gd name="connsiteY708" fmla="*/ 1532645 h 5118984"/>
              <a:gd name="connsiteX709" fmla="*/ 9661464 w 12206178"/>
              <a:gd name="connsiteY709" fmla="*/ 1562788 h 5118984"/>
              <a:gd name="connsiteX710" fmla="*/ 9706335 w 12206178"/>
              <a:gd name="connsiteY710" fmla="*/ 1548978 h 5118984"/>
              <a:gd name="connsiteX711" fmla="*/ 9715374 w 12206178"/>
              <a:gd name="connsiteY711" fmla="*/ 1511607 h 5118984"/>
              <a:gd name="connsiteX712" fmla="*/ 9717873 w 12206178"/>
              <a:gd name="connsiteY712" fmla="*/ 1492399 h 5118984"/>
              <a:gd name="connsiteX713" fmla="*/ 9708054 w 12206178"/>
              <a:gd name="connsiteY713" fmla="*/ 1427889 h 5118984"/>
              <a:gd name="connsiteX714" fmla="*/ 9761192 w 12206178"/>
              <a:gd name="connsiteY714" fmla="*/ 1445551 h 5118984"/>
              <a:gd name="connsiteX715" fmla="*/ 9772604 w 12206178"/>
              <a:gd name="connsiteY715" fmla="*/ 1436451 h 5118984"/>
              <a:gd name="connsiteX716" fmla="*/ 9751806 w 12206178"/>
              <a:gd name="connsiteY716" fmla="*/ 1353089 h 5118984"/>
              <a:gd name="connsiteX717" fmla="*/ 9795511 w 12206178"/>
              <a:gd name="connsiteY717" fmla="*/ 1349356 h 5118984"/>
              <a:gd name="connsiteX718" fmla="*/ 9860017 w 12206178"/>
              <a:gd name="connsiteY718" fmla="*/ 1214689 h 5118984"/>
              <a:gd name="connsiteX719" fmla="*/ 9913626 w 12206178"/>
              <a:gd name="connsiteY719" fmla="*/ 1139821 h 5118984"/>
              <a:gd name="connsiteX720" fmla="*/ 9944243 w 12206178"/>
              <a:gd name="connsiteY720" fmla="*/ 1218408 h 5118984"/>
              <a:gd name="connsiteX721" fmla="*/ 9944243 w 12206178"/>
              <a:gd name="connsiteY721" fmla="*/ 1356789 h 5118984"/>
              <a:gd name="connsiteX722" fmla="*/ 10014218 w 12206178"/>
              <a:gd name="connsiteY722" fmla="*/ 1390512 h 5118984"/>
              <a:gd name="connsiteX723" fmla="*/ 10049223 w 12206178"/>
              <a:gd name="connsiteY723" fmla="*/ 1409370 h 5118984"/>
              <a:gd name="connsiteX724" fmla="*/ 10027350 w 12206178"/>
              <a:gd name="connsiteY724" fmla="*/ 1543902 h 5118984"/>
              <a:gd name="connsiteX725" fmla="*/ 10119198 w 12206178"/>
              <a:gd name="connsiteY725" fmla="*/ 1514011 h 5118984"/>
              <a:gd name="connsiteX726" fmla="*/ 10098312 w 12206178"/>
              <a:gd name="connsiteY726" fmla="*/ 1647499 h 5118984"/>
              <a:gd name="connsiteX727" fmla="*/ 10097193 w 12206178"/>
              <a:gd name="connsiteY727" fmla="*/ 1650170 h 5118984"/>
              <a:gd name="connsiteX728" fmla="*/ 10075449 w 12206178"/>
              <a:gd name="connsiteY728" fmla="*/ 1689817 h 5118984"/>
              <a:gd name="connsiteX729" fmla="*/ 10066664 w 12206178"/>
              <a:gd name="connsiteY729" fmla="*/ 1705966 h 5118984"/>
              <a:gd name="connsiteX730" fmla="*/ 10090348 w 12206178"/>
              <a:gd name="connsiteY730" fmla="*/ 1706705 h 5118984"/>
              <a:gd name="connsiteX731" fmla="*/ 10123677 w 12206178"/>
              <a:gd name="connsiteY731" fmla="*/ 1709333 h 5118984"/>
              <a:gd name="connsiteX732" fmla="*/ 10111061 w 12206178"/>
              <a:gd name="connsiteY732" fmla="*/ 1737068 h 5118984"/>
              <a:gd name="connsiteX733" fmla="*/ 10106626 w 12206178"/>
              <a:gd name="connsiteY733" fmla="*/ 1746704 h 5118984"/>
              <a:gd name="connsiteX734" fmla="*/ 10128370 w 12206178"/>
              <a:gd name="connsiteY734" fmla="*/ 1749634 h 5118984"/>
              <a:gd name="connsiteX735" fmla="*/ 10206655 w 12206178"/>
              <a:gd name="connsiteY735" fmla="*/ 1723496 h 5118984"/>
              <a:gd name="connsiteX736" fmla="*/ 10201444 w 12206178"/>
              <a:gd name="connsiteY736" fmla="*/ 1781119 h 5118984"/>
              <a:gd name="connsiteX737" fmla="*/ 10221252 w 12206178"/>
              <a:gd name="connsiteY737" fmla="*/ 1781709 h 5118984"/>
              <a:gd name="connsiteX738" fmla="*/ 10192832 w 12206178"/>
              <a:gd name="connsiteY738" fmla="*/ 1805579 h 5118984"/>
              <a:gd name="connsiteX739" fmla="*/ 10159289 w 12206178"/>
              <a:gd name="connsiteY739" fmla="*/ 1876964 h 5118984"/>
              <a:gd name="connsiteX740" fmla="*/ 10168847 w 12206178"/>
              <a:gd name="connsiteY740" fmla="*/ 1875720 h 5118984"/>
              <a:gd name="connsiteX741" fmla="*/ 10235031 w 12206178"/>
              <a:gd name="connsiteY741" fmla="*/ 1873316 h 5118984"/>
              <a:gd name="connsiteX742" fmla="*/ 10168847 w 12206178"/>
              <a:gd name="connsiteY742" fmla="*/ 1915549 h 5118984"/>
              <a:gd name="connsiteX743" fmla="*/ 10126647 w 12206178"/>
              <a:gd name="connsiteY743" fmla="*/ 1922836 h 5118984"/>
              <a:gd name="connsiteX744" fmla="*/ 10115926 w 12206178"/>
              <a:gd name="connsiteY744" fmla="*/ 1935367 h 5118984"/>
              <a:gd name="connsiteX745" fmla="*/ 10116140 w 12206178"/>
              <a:gd name="connsiteY745" fmla="*/ 1938460 h 5118984"/>
              <a:gd name="connsiteX746" fmla="*/ 10168114 w 12206178"/>
              <a:gd name="connsiteY746" fmla="*/ 1953704 h 5118984"/>
              <a:gd name="connsiteX747" fmla="*/ 10256646 w 12206178"/>
              <a:gd name="connsiteY747" fmla="*/ 1901387 h 5118984"/>
              <a:gd name="connsiteX748" fmla="*/ 10252944 w 12206178"/>
              <a:gd name="connsiteY748" fmla="*/ 1885461 h 5118984"/>
              <a:gd name="connsiteX749" fmla="*/ 10268747 w 12206178"/>
              <a:gd name="connsiteY749" fmla="*/ 1822918 h 5118984"/>
              <a:gd name="connsiteX750" fmla="*/ 10299666 w 12206178"/>
              <a:gd name="connsiteY750" fmla="*/ 1854664 h 5118984"/>
              <a:gd name="connsiteX751" fmla="*/ 10323305 w 12206178"/>
              <a:gd name="connsiteY751" fmla="*/ 1866972 h 5118984"/>
              <a:gd name="connsiteX752" fmla="*/ 10462564 w 12206178"/>
              <a:gd name="connsiteY752" fmla="*/ 1897169 h 5118984"/>
              <a:gd name="connsiteX753" fmla="*/ 10433283 w 12206178"/>
              <a:gd name="connsiteY753" fmla="*/ 1801439 h 5118984"/>
              <a:gd name="connsiteX754" fmla="*/ 10408481 w 12206178"/>
              <a:gd name="connsiteY754" fmla="*/ 1750593 h 5118984"/>
              <a:gd name="connsiteX755" fmla="*/ 10503126 w 12206178"/>
              <a:gd name="connsiteY755" fmla="*/ 1701799 h 5118984"/>
              <a:gd name="connsiteX756" fmla="*/ 10413000 w 12206178"/>
              <a:gd name="connsiteY756" fmla="*/ 1559174 h 5118984"/>
              <a:gd name="connsiteX757" fmla="*/ 10394959 w 12206178"/>
              <a:gd name="connsiteY757" fmla="*/ 1482960 h 5118984"/>
              <a:gd name="connsiteX758" fmla="*/ 10576715 w 12206178"/>
              <a:gd name="connsiteY758" fmla="*/ 1541566 h 5118984"/>
              <a:gd name="connsiteX759" fmla="*/ 10485085 w 12206178"/>
              <a:gd name="connsiteY759" fmla="*/ 1447741 h 5118984"/>
              <a:gd name="connsiteX760" fmla="*/ 10491845 w 12206178"/>
              <a:gd name="connsiteY760" fmla="*/ 1369588 h 5118984"/>
              <a:gd name="connsiteX761" fmla="*/ 10543691 w 12206178"/>
              <a:gd name="connsiteY761" fmla="*/ 1316874 h 5118984"/>
              <a:gd name="connsiteX762" fmla="*/ 10476086 w 12206178"/>
              <a:gd name="connsiteY762" fmla="*/ 1121471 h 5118984"/>
              <a:gd name="connsiteX763" fmla="*/ 10606773 w 12206178"/>
              <a:gd name="connsiteY763" fmla="*/ 1223101 h 5118984"/>
              <a:gd name="connsiteX764" fmla="*/ 10563970 w 12206178"/>
              <a:gd name="connsiteY764" fmla="*/ 1082381 h 5118984"/>
              <a:gd name="connsiteX765" fmla="*/ 10550493 w 12206178"/>
              <a:gd name="connsiteY765" fmla="*/ 1017871 h 5118984"/>
              <a:gd name="connsiteX766" fmla="*/ 10650780 w 12206178"/>
              <a:gd name="connsiteY766" fmla="*/ 1035482 h 5118984"/>
              <a:gd name="connsiteX767" fmla="*/ 10604535 w 12206178"/>
              <a:gd name="connsiteY767" fmla="*/ 951466 h 5118984"/>
              <a:gd name="connsiteX768" fmla="*/ 10667617 w 12206178"/>
              <a:gd name="connsiteY768" fmla="*/ 953446 h 5118984"/>
              <a:gd name="connsiteX769" fmla="*/ 10681183 w 12206178"/>
              <a:gd name="connsiteY769" fmla="*/ 824437 h 5118984"/>
              <a:gd name="connsiteX770" fmla="*/ 10696983 w 12206178"/>
              <a:gd name="connsiteY770" fmla="*/ 963221 h 5118984"/>
              <a:gd name="connsiteX771" fmla="*/ 10745428 w 12206178"/>
              <a:gd name="connsiteY771" fmla="*/ 981741 h 5118984"/>
              <a:gd name="connsiteX772" fmla="*/ 10733629 w 12206178"/>
              <a:gd name="connsiteY772" fmla="*/ 1043270 h 5118984"/>
              <a:gd name="connsiteX773" fmla="*/ 10718385 w 12206178"/>
              <a:gd name="connsiteY773" fmla="*/ 1138559 h 5118984"/>
              <a:gd name="connsiteX774" fmla="*/ 10794473 w 12206178"/>
              <a:gd name="connsiteY774" fmla="*/ 1081384 h 5118984"/>
              <a:gd name="connsiteX775" fmla="*/ 10785949 w 12206178"/>
              <a:gd name="connsiteY775" fmla="*/ 1163453 h 5118984"/>
              <a:gd name="connsiteX776" fmla="*/ 10753867 w 12206178"/>
              <a:gd name="connsiteY776" fmla="*/ 1246984 h 5118984"/>
              <a:gd name="connsiteX777" fmla="*/ 10865439 w 12206178"/>
              <a:gd name="connsiteY777" fmla="*/ 1222107 h 5118984"/>
              <a:gd name="connsiteX778" fmla="*/ 10865439 w 12206178"/>
              <a:gd name="connsiteY778" fmla="*/ 1289539 h 5118984"/>
              <a:gd name="connsiteX779" fmla="*/ 10844339 w 12206178"/>
              <a:gd name="connsiteY779" fmla="*/ 1314420 h 5118984"/>
              <a:gd name="connsiteX780" fmla="*/ 10947254 w 12206178"/>
              <a:gd name="connsiteY780" fmla="*/ 1363465 h 5118984"/>
              <a:gd name="connsiteX781" fmla="*/ 10973565 w 12206178"/>
              <a:gd name="connsiteY781" fmla="*/ 1293242 h 5118984"/>
              <a:gd name="connsiteX782" fmla="*/ 10920943 w 12206178"/>
              <a:gd name="connsiteY782" fmla="*/ 1201987 h 5118984"/>
              <a:gd name="connsiteX783" fmla="*/ 10994576 w 12206178"/>
              <a:gd name="connsiteY783" fmla="*/ 1223050 h 5118984"/>
              <a:gd name="connsiteX784" fmla="*/ 10973565 w 12206178"/>
              <a:gd name="connsiteY784" fmla="*/ 1131765 h 5118984"/>
              <a:gd name="connsiteX785" fmla="*/ 11026183 w 12206178"/>
              <a:gd name="connsiteY785" fmla="*/ 1128283 h 5118984"/>
              <a:gd name="connsiteX786" fmla="*/ 11103693 w 12206178"/>
              <a:gd name="connsiteY786" fmla="*/ 1001844 h 5118984"/>
              <a:gd name="connsiteX787" fmla="*/ 11168155 w 12206178"/>
              <a:gd name="connsiteY787" fmla="*/ 931614 h 5118984"/>
              <a:gd name="connsiteX788" fmla="*/ 11205014 w 12206178"/>
              <a:gd name="connsiteY788" fmla="*/ 1005339 h 5118984"/>
              <a:gd name="connsiteX789" fmla="*/ 11205014 w 12206178"/>
              <a:gd name="connsiteY789" fmla="*/ 1135298 h 5118984"/>
              <a:gd name="connsiteX790" fmla="*/ 11289199 w 12206178"/>
              <a:gd name="connsiteY790" fmla="*/ 1166901 h 5118984"/>
              <a:gd name="connsiteX791" fmla="*/ 11331270 w 12206178"/>
              <a:gd name="connsiteY791" fmla="*/ 1184546 h 5118984"/>
              <a:gd name="connsiteX792" fmla="*/ 11304959 w 12206178"/>
              <a:gd name="connsiteY792" fmla="*/ 1310802 h 5118984"/>
              <a:gd name="connsiteX793" fmla="*/ 11415495 w 12206178"/>
              <a:gd name="connsiteY793" fmla="*/ 1282728 h 5118984"/>
              <a:gd name="connsiteX794" fmla="*/ 11362833 w 12206178"/>
              <a:gd name="connsiteY794" fmla="*/ 1447741 h 5118984"/>
              <a:gd name="connsiteX795" fmla="*/ 11426433 w 12206178"/>
              <a:gd name="connsiteY795" fmla="*/ 1503886 h 5118984"/>
              <a:gd name="connsiteX796" fmla="*/ 11494510 w 12206178"/>
              <a:gd name="connsiteY796" fmla="*/ 1493474 h 5118984"/>
              <a:gd name="connsiteX797" fmla="*/ 11426562 w 12206178"/>
              <a:gd name="connsiteY797" fmla="*/ 1423885 h 5118984"/>
              <a:gd name="connsiteX798" fmla="*/ 11478106 w 12206178"/>
              <a:gd name="connsiteY798" fmla="*/ 1417562 h 5118984"/>
              <a:gd name="connsiteX799" fmla="*/ 11546874 w 12206178"/>
              <a:gd name="connsiteY799" fmla="*/ 1421732 h 5118984"/>
              <a:gd name="connsiteX800" fmla="*/ 11713817 w 12206178"/>
              <a:gd name="connsiteY800" fmla="*/ 1369236 h 5118984"/>
              <a:gd name="connsiteX801" fmla="*/ 11726091 w 12206178"/>
              <a:gd name="connsiteY801" fmla="*/ 1308344 h 5118984"/>
              <a:gd name="connsiteX802" fmla="*/ 11650047 w 12206178"/>
              <a:gd name="connsiteY802" fmla="*/ 1293659 h 5118984"/>
              <a:gd name="connsiteX803" fmla="*/ 11667183 w 12206178"/>
              <a:gd name="connsiteY803" fmla="*/ 1224345 h 5118984"/>
              <a:gd name="connsiteX804" fmla="*/ 11780131 w 12206178"/>
              <a:gd name="connsiteY804" fmla="*/ 1199197 h 5118984"/>
              <a:gd name="connsiteX805" fmla="*/ 11799769 w 12206178"/>
              <a:gd name="connsiteY805" fmla="*/ 1131982 h 5118984"/>
              <a:gd name="connsiteX806" fmla="*/ 11736080 w 12206178"/>
              <a:gd name="connsiteY806" fmla="*/ 1133613 h 5118984"/>
              <a:gd name="connsiteX807" fmla="*/ 11652414 w 12206178"/>
              <a:gd name="connsiteY807" fmla="*/ 1129863 h 5118984"/>
              <a:gd name="connsiteX808" fmla="*/ 11684367 w 12206178"/>
              <a:gd name="connsiteY808" fmla="*/ 1075230 h 5118984"/>
              <a:gd name="connsiteX809" fmla="*/ 11814494 w 12206178"/>
              <a:gd name="connsiteY809" fmla="*/ 1026954 h 5118984"/>
              <a:gd name="connsiteX810" fmla="*/ 11755586 w 12206178"/>
              <a:gd name="connsiteY810" fmla="*/ 951337 h 5118984"/>
              <a:gd name="connsiteX811" fmla="*/ 11856219 w 12206178"/>
              <a:gd name="connsiteY811" fmla="*/ 903065 h 5118984"/>
              <a:gd name="connsiteX812" fmla="*/ 11777676 w 12206178"/>
              <a:gd name="connsiteY812" fmla="*/ 816944 h 5118984"/>
              <a:gd name="connsiteX813" fmla="*/ 11804675 w 12206178"/>
              <a:gd name="connsiteY813" fmla="*/ 774962 h 5118984"/>
              <a:gd name="connsiteX814" fmla="*/ 11777676 w 12206178"/>
              <a:gd name="connsiteY814" fmla="*/ 697236 h 5118984"/>
              <a:gd name="connsiteX815" fmla="*/ 11823883 w 12206178"/>
              <a:gd name="connsiteY815" fmla="*/ 697324 h 5118984"/>
              <a:gd name="connsiteX816" fmla="*/ 11888128 w 12206178"/>
              <a:gd name="connsiteY816" fmla="*/ 701457 h 5118984"/>
              <a:gd name="connsiteX817" fmla="*/ 11826768 w 12206178"/>
              <a:gd name="connsiteY817" fmla="*/ 611158 h 5118984"/>
              <a:gd name="connsiteX818" fmla="*/ 11870860 w 12206178"/>
              <a:gd name="connsiteY818" fmla="*/ 599447 h 5118984"/>
              <a:gd name="connsiteX819" fmla="*/ 11888128 w 12206178"/>
              <a:gd name="connsiteY819" fmla="*/ 581704 h 5118984"/>
              <a:gd name="connsiteX820" fmla="*/ 11853764 w 12206178"/>
              <a:gd name="connsiteY820" fmla="*/ 510308 h 5118984"/>
              <a:gd name="connsiteX821" fmla="*/ 11895492 w 12206178"/>
              <a:gd name="connsiteY821" fmla="*/ 493559 h 5118984"/>
              <a:gd name="connsiteX822" fmla="*/ 11888128 w 12206178"/>
              <a:gd name="connsiteY822" fmla="*/ 438916 h 5118984"/>
              <a:gd name="connsiteX823" fmla="*/ 11956896 w 12206178"/>
              <a:gd name="connsiteY823" fmla="*/ 403260 h 5118984"/>
              <a:gd name="connsiteX824" fmla="*/ 11986306 w 12206178"/>
              <a:gd name="connsiteY824" fmla="*/ 325538 h 5118984"/>
              <a:gd name="connsiteX825" fmla="*/ 11885673 w 12206178"/>
              <a:gd name="connsiteY825" fmla="*/ 283596 h 5118984"/>
              <a:gd name="connsiteX826" fmla="*/ 11925547 w 12206178"/>
              <a:gd name="connsiteY826" fmla="*/ 279117 h 5118984"/>
              <a:gd name="connsiteX827" fmla="*/ 12035439 w 12206178"/>
              <a:gd name="connsiteY827" fmla="*/ 256251 h 5118984"/>
              <a:gd name="connsiteX828" fmla="*/ 12018300 w 12206178"/>
              <a:gd name="connsiteY828" fmla="*/ 191145 h 5118984"/>
              <a:gd name="connsiteX829" fmla="*/ 12074709 w 12206178"/>
              <a:gd name="connsiteY829" fmla="*/ 153295 h 5118984"/>
              <a:gd name="connsiteX830" fmla="*/ 12072254 w 12206178"/>
              <a:gd name="connsiteY830" fmla="*/ 90298 h 5118984"/>
              <a:gd name="connsiteX831" fmla="*/ 12136113 w 12206178"/>
              <a:gd name="connsiteY831" fmla="*/ 0 h 511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Lst>
            <a:rect l="l" t="t" r="r" b="b"/>
            <a:pathLst>
              <a:path w="12206178" h="5118984">
                <a:moveTo>
                  <a:pt x="7460015" y="2199542"/>
                </a:moveTo>
                <a:lnTo>
                  <a:pt x="7463780" y="2204372"/>
                </a:lnTo>
                <a:lnTo>
                  <a:pt x="7463135" y="2204110"/>
                </a:lnTo>
                <a:cubicBezTo>
                  <a:pt x="7459625" y="2198652"/>
                  <a:pt x="7458750" y="2197677"/>
                  <a:pt x="7460015" y="2199542"/>
                </a:cubicBezTo>
                <a:close/>
                <a:moveTo>
                  <a:pt x="12136113" y="0"/>
                </a:moveTo>
                <a:cubicBezTo>
                  <a:pt x="12136113" y="0"/>
                  <a:pt x="12136072" y="25232"/>
                  <a:pt x="12148387" y="39873"/>
                </a:cubicBezTo>
                <a:cubicBezTo>
                  <a:pt x="12160658" y="54642"/>
                  <a:pt x="12187616" y="52490"/>
                  <a:pt x="12170477" y="73504"/>
                </a:cubicBezTo>
                <a:cubicBezTo>
                  <a:pt x="12153252" y="94516"/>
                  <a:pt x="12166859" y="105023"/>
                  <a:pt x="12176031" y="123970"/>
                </a:cubicBezTo>
                <a:cubicBezTo>
                  <a:pt x="12181025" y="134220"/>
                  <a:pt x="12192566" y="136502"/>
                  <a:pt x="12199887" y="141110"/>
                </a:cubicBezTo>
                <a:cubicBezTo>
                  <a:pt x="12206003" y="144985"/>
                  <a:pt x="12209102" y="150454"/>
                  <a:pt x="12202426" y="163803"/>
                </a:cubicBezTo>
                <a:lnTo>
                  <a:pt x="12199887" y="168797"/>
                </a:lnTo>
                <a:cubicBezTo>
                  <a:pt x="12185592" y="196871"/>
                  <a:pt x="12169358" y="227058"/>
                  <a:pt x="12192522" y="231018"/>
                </a:cubicBezTo>
                <a:lnTo>
                  <a:pt x="12206173" y="232310"/>
                </a:lnTo>
                <a:lnTo>
                  <a:pt x="12206173" y="4079044"/>
                </a:lnTo>
                <a:lnTo>
                  <a:pt x="12199708" y="4079044"/>
                </a:lnTo>
                <a:lnTo>
                  <a:pt x="12199708" y="5118984"/>
                </a:lnTo>
                <a:lnTo>
                  <a:pt x="4163" y="5118984"/>
                </a:lnTo>
                <a:lnTo>
                  <a:pt x="4163" y="4079044"/>
                </a:lnTo>
                <a:lnTo>
                  <a:pt x="0" y="4079044"/>
                </a:lnTo>
                <a:lnTo>
                  <a:pt x="50" y="810014"/>
                </a:lnTo>
                <a:lnTo>
                  <a:pt x="13321" y="808980"/>
                </a:lnTo>
                <a:cubicBezTo>
                  <a:pt x="36045" y="805921"/>
                  <a:pt x="20150" y="782926"/>
                  <a:pt x="6170" y="761484"/>
                </a:cubicBezTo>
                <a:lnTo>
                  <a:pt x="3699" y="757649"/>
                </a:lnTo>
                <a:cubicBezTo>
                  <a:pt x="-2862" y="747488"/>
                  <a:pt x="217" y="743270"/>
                  <a:pt x="6170" y="740340"/>
                </a:cubicBezTo>
                <a:cubicBezTo>
                  <a:pt x="13287" y="736811"/>
                  <a:pt x="24591" y="735129"/>
                  <a:pt x="29518" y="727205"/>
                </a:cubicBezTo>
                <a:cubicBezTo>
                  <a:pt x="38517" y="712826"/>
                  <a:pt x="51754" y="704773"/>
                  <a:pt x="34936" y="688796"/>
                </a:cubicBezTo>
                <a:cubicBezTo>
                  <a:pt x="18163" y="672735"/>
                  <a:pt x="44572" y="674329"/>
                  <a:pt x="56599" y="663089"/>
                </a:cubicBezTo>
                <a:cubicBezTo>
                  <a:pt x="68591" y="651849"/>
                  <a:pt x="68591" y="632689"/>
                  <a:pt x="68591" y="632689"/>
                </a:cubicBezTo>
                <a:cubicBezTo>
                  <a:pt x="126204" y="635876"/>
                  <a:pt x="116616" y="671142"/>
                  <a:pt x="131029" y="701586"/>
                </a:cubicBezTo>
                <a:cubicBezTo>
                  <a:pt x="145412" y="732030"/>
                  <a:pt x="114208" y="727205"/>
                  <a:pt x="128642" y="749685"/>
                </a:cubicBezTo>
                <a:cubicBezTo>
                  <a:pt x="143056" y="772120"/>
                  <a:pt x="200703" y="746498"/>
                  <a:pt x="183848" y="778535"/>
                </a:cubicBezTo>
                <a:cubicBezTo>
                  <a:pt x="167027" y="810573"/>
                  <a:pt x="135824" y="793003"/>
                  <a:pt x="167061" y="828228"/>
                </a:cubicBezTo>
                <a:cubicBezTo>
                  <a:pt x="185679" y="849284"/>
                  <a:pt x="237691" y="847476"/>
                  <a:pt x="274560" y="845666"/>
                </a:cubicBezTo>
                <a:cubicBezTo>
                  <a:pt x="299454" y="844462"/>
                  <a:pt x="317451" y="843255"/>
                  <a:pt x="313566" y="849067"/>
                </a:cubicBezTo>
                <a:cubicBezTo>
                  <a:pt x="303946" y="863494"/>
                  <a:pt x="224688" y="860262"/>
                  <a:pt x="215133" y="881149"/>
                </a:cubicBezTo>
                <a:cubicBezTo>
                  <a:pt x="205494" y="901991"/>
                  <a:pt x="212695" y="916414"/>
                  <a:pt x="243946" y="940399"/>
                </a:cubicBezTo>
                <a:cubicBezTo>
                  <a:pt x="275150" y="964466"/>
                  <a:pt x="301590" y="946902"/>
                  <a:pt x="311179" y="967660"/>
                </a:cubicBezTo>
                <a:cubicBezTo>
                  <a:pt x="320767" y="988536"/>
                  <a:pt x="287176" y="1009378"/>
                  <a:pt x="303980" y="1009378"/>
                </a:cubicBezTo>
                <a:cubicBezTo>
                  <a:pt x="320767" y="1009378"/>
                  <a:pt x="347173" y="1001420"/>
                  <a:pt x="344820" y="1022211"/>
                </a:cubicBezTo>
                <a:cubicBezTo>
                  <a:pt x="342413" y="1043016"/>
                  <a:pt x="315973" y="1049431"/>
                  <a:pt x="311179" y="1076725"/>
                </a:cubicBezTo>
                <a:cubicBezTo>
                  <a:pt x="308605" y="1091193"/>
                  <a:pt x="315569" y="1090721"/>
                  <a:pt x="328067" y="1090250"/>
                </a:cubicBezTo>
                <a:cubicBezTo>
                  <a:pt x="339066" y="1089813"/>
                  <a:pt x="354358" y="1089392"/>
                  <a:pt x="371226" y="1099164"/>
                </a:cubicBezTo>
                <a:cubicBezTo>
                  <a:pt x="407224" y="1119955"/>
                  <a:pt x="282382" y="1145622"/>
                  <a:pt x="311179" y="1168095"/>
                </a:cubicBezTo>
                <a:cubicBezTo>
                  <a:pt x="325005" y="1178826"/>
                  <a:pt x="350994" y="1171899"/>
                  <a:pt x="374037" y="1164969"/>
                </a:cubicBezTo>
                <a:cubicBezTo>
                  <a:pt x="398998" y="1157435"/>
                  <a:pt x="420495" y="1149898"/>
                  <a:pt x="419251" y="1164867"/>
                </a:cubicBezTo>
                <a:cubicBezTo>
                  <a:pt x="416864" y="1193728"/>
                  <a:pt x="344820" y="1224179"/>
                  <a:pt x="392841" y="1224179"/>
                </a:cubicBezTo>
                <a:cubicBezTo>
                  <a:pt x="440866" y="1224179"/>
                  <a:pt x="448101" y="1224179"/>
                  <a:pt x="419251" y="1256203"/>
                </a:cubicBezTo>
                <a:cubicBezTo>
                  <a:pt x="398612" y="1279195"/>
                  <a:pt x="360800" y="1293157"/>
                  <a:pt x="346285" y="1306296"/>
                </a:cubicBezTo>
                <a:cubicBezTo>
                  <a:pt x="355955" y="1316268"/>
                  <a:pt x="366771" y="1326094"/>
                  <a:pt x="378377" y="1335360"/>
                </a:cubicBezTo>
                <a:cubicBezTo>
                  <a:pt x="407475" y="1340473"/>
                  <a:pt x="442412" y="1343450"/>
                  <a:pt x="440866" y="1358823"/>
                </a:cubicBezTo>
                <a:cubicBezTo>
                  <a:pt x="440360" y="1364126"/>
                  <a:pt x="437638" y="1368462"/>
                  <a:pt x="433922" y="1372467"/>
                </a:cubicBezTo>
                <a:cubicBezTo>
                  <a:pt x="466855" y="1390464"/>
                  <a:pt x="500462" y="1402138"/>
                  <a:pt x="527607" y="1402138"/>
                </a:cubicBezTo>
                <a:cubicBezTo>
                  <a:pt x="590767" y="1402138"/>
                  <a:pt x="586919" y="1426594"/>
                  <a:pt x="516981" y="1339229"/>
                </a:cubicBezTo>
                <a:cubicBezTo>
                  <a:pt x="447087" y="1251816"/>
                  <a:pt x="404078" y="1081638"/>
                  <a:pt x="430941" y="1109190"/>
                </a:cubicBezTo>
                <a:cubicBezTo>
                  <a:pt x="457852" y="1136796"/>
                  <a:pt x="500862" y="1141401"/>
                  <a:pt x="527238" y="1141401"/>
                </a:cubicBezTo>
                <a:cubicBezTo>
                  <a:pt x="553600" y="1141401"/>
                  <a:pt x="635259" y="1123017"/>
                  <a:pt x="592249" y="1067811"/>
                </a:cubicBezTo>
                <a:cubicBezTo>
                  <a:pt x="549277" y="1012656"/>
                  <a:pt x="506243" y="837871"/>
                  <a:pt x="538511" y="851650"/>
                </a:cubicBezTo>
                <a:cubicBezTo>
                  <a:pt x="570770" y="865474"/>
                  <a:pt x="576154" y="902248"/>
                  <a:pt x="651405" y="888425"/>
                </a:cubicBezTo>
                <a:cubicBezTo>
                  <a:pt x="726696" y="874645"/>
                  <a:pt x="646024" y="782624"/>
                  <a:pt x="624545" y="723116"/>
                </a:cubicBezTo>
                <a:cubicBezTo>
                  <a:pt x="603014" y="663564"/>
                  <a:pt x="619164" y="644661"/>
                  <a:pt x="667554" y="699907"/>
                </a:cubicBezTo>
                <a:cubicBezTo>
                  <a:pt x="715931" y="755066"/>
                  <a:pt x="737462" y="699907"/>
                  <a:pt x="753594" y="658481"/>
                </a:cubicBezTo>
                <a:cubicBezTo>
                  <a:pt x="769706" y="617058"/>
                  <a:pt x="737462" y="557245"/>
                  <a:pt x="753594" y="488307"/>
                </a:cubicBezTo>
                <a:cubicBezTo>
                  <a:pt x="769706" y="419322"/>
                  <a:pt x="791237" y="391678"/>
                  <a:pt x="791237" y="391678"/>
                </a:cubicBezTo>
                <a:cubicBezTo>
                  <a:pt x="844978" y="387114"/>
                  <a:pt x="855743" y="423845"/>
                  <a:pt x="857123" y="483655"/>
                </a:cubicBezTo>
                <a:cubicBezTo>
                  <a:pt x="858520" y="543469"/>
                  <a:pt x="914919" y="686084"/>
                  <a:pt x="936398" y="649265"/>
                </a:cubicBezTo>
                <a:cubicBezTo>
                  <a:pt x="957878" y="612494"/>
                  <a:pt x="979408" y="566504"/>
                  <a:pt x="990173" y="653873"/>
                </a:cubicBezTo>
                <a:cubicBezTo>
                  <a:pt x="1000904" y="741246"/>
                  <a:pt x="920252" y="796448"/>
                  <a:pt x="968643" y="773497"/>
                </a:cubicBezTo>
                <a:cubicBezTo>
                  <a:pt x="1017050" y="750417"/>
                  <a:pt x="1000904" y="690648"/>
                  <a:pt x="1043935" y="745894"/>
                </a:cubicBezTo>
                <a:cubicBezTo>
                  <a:pt x="1086944" y="801056"/>
                  <a:pt x="1038581" y="810227"/>
                  <a:pt x="990173" y="865474"/>
                </a:cubicBezTo>
                <a:cubicBezTo>
                  <a:pt x="941782" y="920635"/>
                  <a:pt x="984789" y="962011"/>
                  <a:pt x="1017050" y="957400"/>
                </a:cubicBezTo>
                <a:cubicBezTo>
                  <a:pt x="1049315" y="952887"/>
                  <a:pt x="1097709" y="920635"/>
                  <a:pt x="1140716" y="874645"/>
                </a:cubicBezTo>
                <a:cubicBezTo>
                  <a:pt x="1183743" y="828659"/>
                  <a:pt x="1189127" y="842438"/>
                  <a:pt x="1189127" y="902248"/>
                </a:cubicBezTo>
                <a:cubicBezTo>
                  <a:pt x="1189127" y="962011"/>
                  <a:pt x="1081560" y="1003390"/>
                  <a:pt x="1038581" y="1058643"/>
                </a:cubicBezTo>
                <a:cubicBezTo>
                  <a:pt x="995554" y="1113849"/>
                  <a:pt x="1097709" y="1123017"/>
                  <a:pt x="1129951" y="1109190"/>
                </a:cubicBezTo>
                <a:cubicBezTo>
                  <a:pt x="1162212" y="1095414"/>
                  <a:pt x="1178362" y="1132287"/>
                  <a:pt x="1151481" y="1196607"/>
                </a:cubicBezTo>
                <a:cubicBezTo>
                  <a:pt x="1124570" y="1261028"/>
                  <a:pt x="1189127" y="1274804"/>
                  <a:pt x="1232140" y="1274804"/>
                </a:cubicBezTo>
                <a:cubicBezTo>
                  <a:pt x="1275167" y="1274804"/>
                  <a:pt x="1269782" y="1169004"/>
                  <a:pt x="1312792" y="1224179"/>
                </a:cubicBezTo>
                <a:cubicBezTo>
                  <a:pt x="1355819" y="1279463"/>
                  <a:pt x="1339554" y="1377681"/>
                  <a:pt x="1280429" y="1478820"/>
                </a:cubicBezTo>
                <a:cubicBezTo>
                  <a:pt x="1221253" y="1580012"/>
                  <a:pt x="1192443" y="1609432"/>
                  <a:pt x="1230085" y="1618601"/>
                </a:cubicBezTo>
                <a:cubicBezTo>
                  <a:pt x="1249011" y="1623259"/>
                  <a:pt x="1272525" y="1616532"/>
                  <a:pt x="1302129" y="1598806"/>
                </a:cubicBezTo>
                <a:cubicBezTo>
                  <a:pt x="1291869" y="1577913"/>
                  <a:pt x="1283372" y="1552931"/>
                  <a:pt x="1311748" y="1565463"/>
                </a:cubicBezTo>
                <a:cubicBezTo>
                  <a:pt x="1319570" y="1568911"/>
                  <a:pt x="1328067" y="1572092"/>
                  <a:pt x="1336679" y="1575035"/>
                </a:cubicBezTo>
                <a:cubicBezTo>
                  <a:pt x="1354473" y="1561679"/>
                  <a:pt x="1374070" y="1545448"/>
                  <a:pt x="1395682" y="1526291"/>
                </a:cubicBezTo>
                <a:lnTo>
                  <a:pt x="1389511" y="1520724"/>
                </a:lnTo>
                <a:cubicBezTo>
                  <a:pt x="1363051" y="1498383"/>
                  <a:pt x="1346481" y="1446965"/>
                  <a:pt x="1381218" y="1458117"/>
                </a:cubicBezTo>
                <a:cubicBezTo>
                  <a:pt x="1403674" y="1465318"/>
                  <a:pt x="1418528" y="1485587"/>
                  <a:pt x="1432487" y="1496352"/>
                </a:cubicBezTo>
                <a:cubicBezTo>
                  <a:pt x="1447409" y="1486930"/>
                  <a:pt x="1458052" y="1485418"/>
                  <a:pt x="1464898" y="1490026"/>
                </a:cubicBezTo>
                <a:cubicBezTo>
                  <a:pt x="1467203" y="1474480"/>
                  <a:pt x="1450688" y="1449250"/>
                  <a:pt x="1440763" y="1429019"/>
                </a:cubicBezTo>
                <a:cubicBezTo>
                  <a:pt x="1427557" y="1402138"/>
                  <a:pt x="1399415" y="1374230"/>
                  <a:pt x="1429205" y="1382038"/>
                </a:cubicBezTo>
                <a:cubicBezTo>
                  <a:pt x="1458930" y="1389857"/>
                  <a:pt x="1455648" y="1369758"/>
                  <a:pt x="1476588" y="1367906"/>
                </a:cubicBezTo>
                <a:cubicBezTo>
                  <a:pt x="1476588" y="1367906"/>
                  <a:pt x="1474402" y="1270939"/>
                  <a:pt x="1492067" y="1261970"/>
                </a:cubicBezTo>
                <a:cubicBezTo>
                  <a:pt x="1509694" y="1253023"/>
                  <a:pt x="1496471" y="1344054"/>
                  <a:pt x="1505270" y="1360403"/>
                </a:cubicBezTo>
                <a:cubicBezTo>
                  <a:pt x="1514099" y="1376824"/>
                  <a:pt x="1551558" y="1358911"/>
                  <a:pt x="1566999" y="1358911"/>
                </a:cubicBezTo>
                <a:cubicBezTo>
                  <a:pt x="1582423" y="1358911"/>
                  <a:pt x="1518388" y="1409641"/>
                  <a:pt x="1521785" y="1423061"/>
                </a:cubicBezTo>
                <a:cubicBezTo>
                  <a:pt x="1525152" y="1436451"/>
                  <a:pt x="1611104" y="1434989"/>
                  <a:pt x="1619933" y="1409641"/>
                </a:cubicBezTo>
                <a:cubicBezTo>
                  <a:pt x="1628732" y="1384273"/>
                  <a:pt x="1639802" y="1430480"/>
                  <a:pt x="1606733" y="1458859"/>
                </a:cubicBezTo>
                <a:cubicBezTo>
                  <a:pt x="1573644" y="1487184"/>
                  <a:pt x="1551558" y="1563229"/>
                  <a:pt x="1564812" y="1566240"/>
                </a:cubicBezTo>
                <a:cubicBezTo>
                  <a:pt x="1578052" y="1569247"/>
                  <a:pt x="1675023" y="1518537"/>
                  <a:pt x="1692685" y="1488693"/>
                </a:cubicBezTo>
                <a:cubicBezTo>
                  <a:pt x="1710343" y="1458859"/>
                  <a:pt x="1675023" y="1615424"/>
                  <a:pt x="1626545" y="1637863"/>
                </a:cubicBezTo>
                <a:cubicBezTo>
                  <a:pt x="1578052" y="1660166"/>
                  <a:pt x="1626545" y="1660166"/>
                  <a:pt x="1677261" y="1678078"/>
                </a:cubicBezTo>
                <a:cubicBezTo>
                  <a:pt x="1727974" y="1695994"/>
                  <a:pt x="1716955" y="1722804"/>
                  <a:pt x="1683903" y="1737756"/>
                </a:cubicBezTo>
                <a:cubicBezTo>
                  <a:pt x="1668313" y="1744772"/>
                  <a:pt x="1645250" y="1758131"/>
                  <a:pt x="1626294" y="1771632"/>
                </a:cubicBezTo>
                <a:lnTo>
                  <a:pt x="1630044" y="1771517"/>
                </a:lnTo>
                <a:cubicBezTo>
                  <a:pt x="1655226" y="1773704"/>
                  <a:pt x="1659006" y="1785072"/>
                  <a:pt x="1650011" y="1806301"/>
                </a:cubicBezTo>
                <a:cubicBezTo>
                  <a:pt x="1694919" y="1796916"/>
                  <a:pt x="1753204" y="1778277"/>
                  <a:pt x="1772076" y="1764620"/>
                </a:cubicBezTo>
                <a:cubicBezTo>
                  <a:pt x="1791019" y="1750929"/>
                  <a:pt x="1785869" y="1764705"/>
                  <a:pt x="1775490" y="1784214"/>
                </a:cubicBezTo>
                <a:cubicBezTo>
                  <a:pt x="1793826" y="1781373"/>
                  <a:pt x="1818720" y="1780851"/>
                  <a:pt x="1810814" y="1770696"/>
                </a:cubicBezTo>
                <a:cubicBezTo>
                  <a:pt x="1799713" y="1756479"/>
                  <a:pt x="1779444" y="1737539"/>
                  <a:pt x="1797895" y="1732843"/>
                </a:cubicBezTo>
                <a:cubicBezTo>
                  <a:pt x="1816333" y="1728069"/>
                  <a:pt x="1862537" y="1732843"/>
                  <a:pt x="1866541" y="1710659"/>
                </a:cubicBezTo>
                <a:cubicBezTo>
                  <a:pt x="1870529" y="1688572"/>
                  <a:pt x="1849585" y="1686975"/>
                  <a:pt x="1812665" y="1680703"/>
                </a:cubicBezTo>
                <a:cubicBezTo>
                  <a:pt x="1775745" y="1674359"/>
                  <a:pt x="1744341" y="1638063"/>
                  <a:pt x="1744961" y="1625365"/>
                </a:cubicBezTo>
                <a:cubicBezTo>
                  <a:pt x="1745636" y="1612714"/>
                  <a:pt x="1777562" y="1620584"/>
                  <a:pt x="1812665" y="1628508"/>
                </a:cubicBezTo>
                <a:cubicBezTo>
                  <a:pt x="1847768" y="1636483"/>
                  <a:pt x="1908659" y="1633285"/>
                  <a:pt x="1934530" y="1619038"/>
                </a:cubicBezTo>
                <a:cubicBezTo>
                  <a:pt x="1960383" y="1604825"/>
                  <a:pt x="1921628" y="1598498"/>
                  <a:pt x="1882806" y="1596955"/>
                </a:cubicBezTo>
                <a:cubicBezTo>
                  <a:pt x="1844034" y="1595304"/>
                  <a:pt x="1844034" y="1568443"/>
                  <a:pt x="1818215" y="1552684"/>
                </a:cubicBezTo>
                <a:cubicBezTo>
                  <a:pt x="1792345" y="1536870"/>
                  <a:pt x="1712971" y="1503720"/>
                  <a:pt x="1759093" y="1505348"/>
                </a:cubicBezTo>
                <a:cubicBezTo>
                  <a:pt x="1782136" y="1506087"/>
                  <a:pt x="1804256" y="1501347"/>
                  <a:pt x="1822708" y="1496617"/>
                </a:cubicBezTo>
                <a:cubicBezTo>
                  <a:pt x="1841227" y="1491877"/>
                  <a:pt x="1856044" y="1487150"/>
                  <a:pt x="1864388" y="1487923"/>
                </a:cubicBezTo>
                <a:cubicBezTo>
                  <a:pt x="1880989" y="1489503"/>
                  <a:pt x="1879141" y="1457896"/>
                  <a:pt x="1871756" y="1446880"/>
                </a:cubicBezTo>
                <a:cubicBezTo>
                  <a:pt x="1864354" y="1435759"/>
                  <a:pt x="1836667" y="1421563"/>
                  <a:pt x="1858838" y="1410530"/>
                </a:cubicBezTo>
                <a:cubicBezTo>
                  <a:pt x="1867365" y="1406278"/>
                  <a:pt x="1880538" y="1406695"/>
                  <a:pt x="1892998" y="1407132"/>
                </a:cubicBezTo>
                <a:cubicBezTo>
                  <a:pt x="1912914" y="1407824"/>
                  <a:pt x="1930983" y="1408461"/>
                  <a:pt x="1925311" y="1389993"/>
                </a:cubicBezTo>
                <a:cubicBezTo>
                  <a:pt x="1916078" y="1359986"/>
                  <a:pt x="1862673" y="1323334"/>
                  <a:pt x="1894833" y="1323686"/>
                </a:cubicBezTo>
                <a:cubicBezTo>
                  <a:pt x="1936245" y="1324110"/>
                  <a:pt x="2004725" y="1299952"/>
                  <a:pt x="2007953" y="1282612"/>
                </a:cubicBezTo>
                <a:cubicBezTo>
                  <a:pt x="2011184" y="1265202"/>
                  <a:pt x="1969599" y="1260472"/>
                  <a:pt x="1962248" y="1244712"/>
                </a:cubicBezTo>
                <a:cubicBezTo>
                  <a:pt x="1954880" y="1228902"/>
                  <a:pt x="1993604" y="1222575"/>
                  <a:pt x="2012103" y="1219381"/>
                </a:cubicBezTo>
                <a:cubicBezTo>
                  <a:pt x="2030578" y="1216289"/>
                  <a:pt x="2015772" y="1190975"/>
                  <a:pt x="2004725" y="1168837"/>
                </a:cubicBezTo>
                <a:cubicBezTo>
                  <a:pt x="1993604" y="1146700"/>
                  <a:pt x="2017626" y="1153024"/>
                  <a:pt x="2024519" y="1138827"/>
                </a:cubicBezTo>
                <a:cubicBezTo>
                  <a:pt x="2031470" y="1124614"/>
                  <a:pt x="2041625" y="1116693"/>
                  <a:pt x="2028727" y="1100931"/>
                </a:cubicBezTo>
                <a:cubicBezTo>
                  <a:pt x="2015826" y="1085171"/>
                  <a:pt x="2033098" y="1084313"/>
                  <a:pt x="2045324" y="1075650"/>
                </a:cubicBezTo>
                <a:cubicBezTo>
                  <a:pt x="2113669" y="1027290"/>
                  <a:pt x="2081539" y="1020665"/>
                  <a:pt x="2083611" y="998799"/>
                </a:cubicBezTo>
                <a:cubicBezTo>
                  <a:pt x="2085713" y="976828"/>
                  <a:pt x="2131886" y="899190"/>
                  <a:pt x="2174760" y="1015637"/>
                </a:cubicBezTo>
                <a:cubicBezTo>
                  <a:pt x="2190842" y="1059250"/>
                  <a:pt x="2222782" y="1028368"/>
                  <a:pt x="2244956" y="1097452"/>
                </a:cubicBezTo>
                <a:cubicBezTo>
                  <a:pt x="2252388" y="1120647"/>
                  <a:pt x="2289075" y="1119870"/>
                  <a:pt x="2276156" y="1151525"/>
                </a:cubicBezTo>
                <a:cubicBezTo>
                  <a:pt x="2263204" y="1183051"/>
                  <a:pt x="2261404" y="1165738"/>
                  <a:pt x="2285355" y="1200496"/>
                </a:cubicBezTo>
                <a:cubicBezTo>
                  <a:pt x="2299707" y="1221199"/>
                  <a:pt x="2331799" y="1219432"/>
                  <a:pt x="2353781" y="1217666"/>
                </a:cubicBezTo>
                <a:cubicBezTo>
                  <a:pt x="2368615" y="1216458"/>
                  <a:pt x="2378844" y="1215258"/>
                  <a:pt x="2375850" y="1220978"/>
                </a:cubicBezTo>
                <a:cubicBezTo>
                  <a:pt x="2368465" y="1235192"/>
                  <a:pt x="2329677" y="1250988"/>
                  <a:pt x="2322326" y="1271546"/>
                </a:cubicBezTo>
                <a:cubicBezTo>
                  <a:pt x="2314928" y="1292079"/>
                  <a:pt x="2320478" y="1306296"/>
                  <a:pt x="2344497" y="1329979"/>
                </a:cubicBezTo>
                <a:cubicBezTo>
                  <a:pt x="2368499" y="1353696"/>
                  <a:pt x="2388819" y="1336303"/>
                  <a:pt x="2396170" y="1356789"/>
                </a:cubicBezTo>
                <a:cubicBezTo>
                  <a:pt x="2403572" y="1377380"/>
                  <a:pt x="2377701" y="1397913"/>
                  <a:pt x="2390620" y="1397913"/>
                </a:cubicBezTo>
                <a:cubicBezTo>
                  <a:pt x="2403572" y="1397913"/>
                  <a:pt x="2423871" y="1389993"/>
                  <a:pt x="2422040" y="1410530"/>
                </a:cubicBezTo>
                <a:cubicBezTo>
                  <a:pt x="2420189" y="1431066"/>
                  <a:pt x="2399869" y="1437359"/>
                  <a:pt x="2396170" y="1464240"/>
                </a:cubicBezTo>
                <a:cubicBezTo>
                  <a:pt x="2392467" y="1491100"/>
                  <a:pt x="2458960" y="1503720"/>
                  <a:pt x="2486662" y="1524254"/>
                </a:cubicBezTo>
                <a:cubicBezTo>
                  <a:pt x="2514332" y="1544794"/>
                  <a:pt x="2418321" y="1570122"/>
                  <a:pt x="2440492" y="1592161"/>
                </a:cubicBezTo>
                <a:cubicBezTo>
                  <a:pt x="2451125" y="1602804"/>
                  <a:pt x="2471123" y="1595958"/>
                  <a:pt x="2488849" y="1589065"/>
                </a:cubicBezTo>
                <a:cubicBezTo>
                  <a:pt x="2508026" y="1581663"/>
                  <a:pt x="2524541" y="1574245"/>
                  <a:pt x="2523589" y="1589014"/>
                </a:cubicBezTo>
                <a:cubicBezTo>
                  <a:pt x="2521734" y="1617441"/>
                  <a:pt x="2466362" y="1647499"/>
                  <a:pt x="2503282" y="1647499"/>
                </a:cubicBezTo>
                <a:cubicBezTo>
                  <a:pt x="2540186" y="1647499"/>
                  <a:pt x="2545736" y="1647499"/>
                  <a:pt x="2523589" y="1679106"/>
                </a:cubicBezTo>
                <a:cubicBezTo>
                  <a:pt x="2501431" y="1710710"/>
                  <a:pt x="2475561" y="1724926"/>
                  <a:pt x="2486662" y="1743914"/>
                </a:cubicBezTo>
                <a:cubicBezTo>
                  <a:pt x="2497732" y="1762854"/>
                  <a:pt x="2586379" y="1756527"/>
                  <a:pt x="2584508" y="1780210"/>
                </a:cubicBezTo>
                <a:cubicBezTo>
                  <a:pt x="2583721" y="1790728"/>
                  <a:pt x="2572366" y="1797824"/>
                  <a:pt x="2559193" y="1804755"/>
                </a:cubicBezTo>
                <a:cubicBezTo>
                  <a:pt x="2559499" y="1809108"/>
                  <a:pt x="2559668" y="1813923"/>
                  <a:pt x="2559668" y="1819690"/>
                </a:cubicBezTo>
                <a:cubicBezTo>
                  <a:pt x="2559668" y="1832307"/>
                  <a:pt x="2549655" y="1843645"/>
                  <a:pt x="2535242" y="1854410"/>
                </a:cubicBezTo>
                <a:cubicBezTo>
                  <a:pt x="2555847" y="1858580"/>
                  <a:pt x="2589993" y="1858933"/>
                  <a:pt x="2615932" y="1873397"/>
                </a:cubicBezTo>
                <a:cubicBezTo>
                  <a:pt x="2658402" y="1897081"/>
                  <a:pt x="2662071" y="1905005"/>
                  <a:pt x="2639934" y="1914525"/>
                </a:cubicBezTo>
                <a:cubicBezTo>
                  <a:pt x="2625937" y="1920462"/>
                  <a:pt x="2611927" y="1918865"/>
                  <a:pt x="2592333" y="1917316"/>
                </a:cubicBezTo>
                <a:cubicBezTo>
                  <a:pt x="2580927" y="1916407"/>
                  <a:pt x="2567602" y="1915468"/>
                  <a:pt x="2551287" y="1916071"/>
                </a:cubicBezTo>
                <a:cubicBezTo>
                  <a:pt x="2515428" y="1917350"/>
                  <a:pt x="2506463" y="1925104"/>
                  <a:pt x="2513996" y="1947933"/>
                </a:cubicBezTo>
                <a:cubicBezTo>
                  <a:pt x="2534856" y="1941826"/>
                  <a:pt x="2546462" y="1957101"/>
                  <a:pt x="2536958" y="1985609"/>
                </a:cubicBezTo>
                <a:cubicBezTo>
                  <a:pt x="2553477" y="1996154"/>
                  <a:pt x="2574888" y="1985575"/>
                  <a:pt x="2606682" y="1985575"/>
                </a:cubicBezTo>
                <a:cubicBezTo>
                  <a:pt x="2636031" y="1985575"/>
                  <a:pt x="2636285" y="2000646"/>
                  <a:pt x="2629976" y="2016742"/>
                </a:cubicBezTo>
                <a:cubicBezTo>
                  <a:pt x="2636418" y="2008431"/>
                  <a:pt x="2643938" y="2005420"/>
                  <a:pt x="2658118" y="2019620"/>
                </a:cubicBezTo>
                <a:cubicBezTo>
                  <a:pt x="2683266" y="2044785"/>
                  <a:pt x="2682743" y="2084482"/>
                  <a:pt x="2662135" y="2128618"/>
                </a:cubicBezTo>
                <a:cubicBezTo>
                  <a:pt x="2673002" y="2130466"/>
                  <a:pt x="2684561" y="2132232"/>
                  <a:pt x="2697174" y="2134002"/>
                </a:cubicBezTo>
                <a:cubicBezTo>
                  <a:pt x="2720084" y="2137261"/>
                  <a:pt x="2736383" y="2134033"/>
                  <a:pt x="2748897" y="2130852"/>
                </a:cubicBezTo>
                <a:cubicBezTo>
                  <a:pt x="2766627" y="2126299"/>
                  <a:pt x="2776819" y="2121721"/>
                  <a:pt x="2787669" y="2135599"/>
                </a:cubicBezTo>
                <a:cubicBezTo>
                  <a:pt x="2806137" y="2159316"/>
                  <a:pt x="2767315" y="2170332"/>
                  <a:pt x="2734094" y="2189320"/>
                </a:cubicBezTo>
                <a:cubicBezTo>
                  <a:pt x="2716063" y="2199617"/>
                  <a:pt x="2689908" y="2195057"/>
                  <a:pt x="2665600" y="2190500"/>
                </a:cubicBezTo>
                <a:cubicBezTo>
                  <a:pt x="2651201" y="2187774"/>
                  <a:pt x="2637445" y="2185068"/>
                  <a:pt x="2626443" y="2185505"/>
                </a:cubicBezTo>
                <a:cubicBezTo>
                  <a:pt x="2621648" y="2191781"/>
                  <a:pt x="2617142" y="2197596"/>
                  <a:pt x="2612955" y="2202981"/>
                </a:cubicBezTo>
                <a:cubicBezTo>
                  <a:pt x="2624896" y="2212722"/>
                  <a:pt x="2652815" y="2224260"/>
                  <a:pt x="2671320" y="2235140"/>
                </a:cubicBezTo>
                <a:lnTo>
                  <a:pt x="2676315" y="2237904"/>
                </a:lnTo>
                <a:cubicBezTo>
                  <a:pt x="2693722" y="2227793"/>
                  <a:pt x="2713072" y="2215156"/>
                  <a:pt x="2735155" y="2199532"/>
                </a:cubicBezTo>
                <a:cubicBezTo>
                  <a:pt x="2803615" y="2151006"/>
                  <a:pt x="2795037" y="2219567"/>
                  <a:pt x="2765081" y="2268090"/>
                </a:cubicBezTo>
                <a:cubicBezTo>
                  <a:pt x="2749657" y="2293106"/>
                  <a:pt x="2733172" y="2314335"/>
                  <a:pt x="2721311" y="2335692"/>
                </a:cubicBezTo>
                <a:cubicBezTo>
                  <a:pt x="2735220" y="2337462"/>
                  <a:pt x="2738637" y="2342494"/>
                  <a:pt x="2748847" y="2356754"/>
                </a:cubicBezTo>
                <a:cubicBezTo>
                  <a:pt x="2763667" y="2377325"/>
                  <a:pt x="2748847" y="2386761"/>
                  <a:pt x="2715625" y="2410445"/>
                </a:cubicBezTo>
                <a:lnTo>
                  <a:pt x="2708441" y="2416181"/>
                </a:lnTo>
                <a:cubicBezTo>
                  <a:pt x="2717575" y="2441665"/>
                  <a:pt x="2743177" y="2424743"/>
                  <a:pt x="2790778" y="2422288"/>
                </a:cubicBezTo>
                <a:cubicBezTo>
                  <a:pt x="2809921" y="2421294"/>
                  <a:pt x="2824976" y="2413154"/>
                  <a:pt x="2838301" y="2403043"/>
                </a:cubicBezTo>
                <a:cubicBezTo>
                  <a:pt x="2832581" y="2402778"/>
                  <a:pt x="2827502" y="2402134"/>
                  <a:pt x="2823494" y="2400758"/>
                </a:cubicBezTo>
                <a:cubicBezTo>
                  <a:pt x="2806588" y="2395119"/>
                  <a:pt x="2809402" y="2390426"/>
                  <a:pt x="2841779" y="2376298"/>
                </a:cubicBezTo>
                <a:cubicBezTo>
                  <a:pt x="2850541" y="2372514"/>
                  <a:pt x="2860502" y="2370395"/>
                  <a:pt x="2870261" y="2368984"/>
                </a:cubicBezTo>
                <a:cubicBezTo>
                  <a:pt x="2869026" y="2352835"/>
                  <a:pt x="2878415" y="2325568"/>
                  <a:pt x="2886152" y="2312399"/>
                </a:cubicBezTo>
                <a:cubicBezTo>
                  <a:pt x="2893927" y="2299090"/>
                  <a:pt x="2895402" y="2285925"/>
                  <a:pt x="2914328" y="2275441"/>
                </a:cubicBezTo>
                <a:cubicBezTo>
                  <a:pt x="2907347" y="2271274"/>
                  <a:pt x="2900369" y="2266581"/>
                  <a:pt x="2895236" y="2260861"/>
                </a:cubicBezTo>
                <a:cubicBezTo>
                  <a:pt x="2878334" y="2242071"/>
                  <a:pt x="2882589" y="2242071"/>
                  <a:pt x="2910710" y="2242071"/>
                </a:cubicBezTo>
                <a:cubicBezTo>
                  <a:pt x="2938798" y="2242071"/>
                  <a:pt x="2896633" y="2224260"/>
                  <a:pt x="2895236" y="2207337"/>
                </a:cubicBezTo>
                <a:cubicBezTo>
                  <a:pt x="2894510" y="2198593"/>
                  <a:pt x="2907076" y="2202981"/>
                  <a:pt x="2921679" y="2207419"/>
                </a:cubicBezTo>
                <a:cubicBezTo>
                  <a:pt x="2935170" y="2211457"/>
                  <a:pt x="2950407" y="2215546"/>
                  <a:pt x="2958481" y="2209219"/>
                </a:cubicBezTo>
                <a:cubicBezTo>
                  <a:pt x="2975386" y="2196135"/>
                  <a:pt x="2902251" y="2181098"/>
                  <a:pt x="2923361" y="2168919"/>
                </a:cubicBezTo>
                <a:cubicBezTo>
                  <a:pt x="2933217" y="2163202"/>
                  <a:pt x="2942148" y="2163450"/>
                  <a:pt x="2948590" y="2163670"/>
                </a:cubicBezTo>
                <a:cubicBezTo>
                  <a:pt x="2955924" y="2163975"/>
                  <a:pt x="2959993" y="2164226"/>
                  <a:pt x="2958481" y="2155699"/>
                </a:cubicBezTo>
                <a:cubicBezTo>
                  <a:pt x="2955704" y="2139800"/>
                  <a:pt x="2940232" y="2136016"/>
                  <a:pt x="2938798" y="2123837"/>
                </a:cubicBezTo>
                <a:cubicBezTo>
                  <a:pt x="2937405" y="2111611"/>
                  <a:pt x="2952896" y="2116303"/>
                  <a:pt x="2962770" y="2116303"/>
                </a:cubicBezTo>
                <a:cubicBezTo>
                  <a:pt x="2972609" y="2116303"/>
                  <a:pt x="2952896" y="2104107"/>
                  <a:pt x="2958481" y="2091932"/>
                </a:cubicBezTo>
                <a:cubicBezTo>
                  <a:pt x="2964149" y="2079702"/>
                  <a:pt x="2979590" y="2090033"/>
                  <a:pt x="2997872" y="2076003"/>
                </a:cubicBezTo>
                <a:lnTo>
                  <a:pt x="3002331" y="2072368"/>
                </a:lnTo>
                <a:cubicBezTo>
                  <a:pt x="2993922" y="2071259"/>
                  <a:pt x="2985026" y="2072032"/>
                  <a:pt x="2977570" y="2076206"/>
                </a:cubicBezTo>
                <a:cubicBezTo>
                  <a:pt x="2956039" y="2088517"/>
                  <a:pt x="2922015" y="2093125"/>
                  <a:pt x="2886152" y="2090080"/>
                </a:cubicBezTo>
                <a:cubicBezTo>
                  <a:pt x="2850276" y="2086971"/>
                  <a:pt x="2857474" y="2067038"/>
                  <a:pt x="2886152" y="2060931"/>
                </a:cubicBezTo>
                <a:cubicBezTo>
                  <a:pt x="2914830" y="2054757"/>
                  <a:pt x="2918397" y="2013378"/>
                  <a:pt x="2932746" y="1993499"/>
                </a:cubicBezTo>
                <a:cubicBezTo>
                  <a:pt x="2947075" y="1973549"/>
                  <a:pt x="2956039" y="1964330"/>
                  <a:pt x="2981153" y="1955162"/>
                </a:cubicBezTo>
                <a:cubicBezTo>
                  <a:pt x="2994194" y="1950388"/>
                  <a:pt x="3030775" y="1945610"/>
                  <a:pt x="3062799" y="1939534"/>
                </a:cubicBezTo>
                <a:lnTo>
                  <a:pt x="3063999" y="1936056"/>
                </a:lnTo>
                <a:cubicBezTo>
                  <a:pt x="3068153" y="1927257"/>
                  <a:pt x="3068939" y="1917790"/>
                  <a:pt x="3072693" y="1910219"/>
                </a:cubicBezTo>
                <a:cubicBezTo>
                  <a:pt x="3054560" y="1911192"/>
                  <a:pt x="3033955" y="1912488"/>
                  <a:pt x="3017019" y="1909178"/>
                </a:cubicBezTo>
                <a:cubicBezTo>
                  <a:pt x="2977570" y="1901505"/>
                  <a:pt x="2950658" y="1872356"/>
                  <a:pt x="2959657" y="1863137"/>
                </a:cubicBezTo>
                <a:cubicBezTo>
                  <a:pt x="2968605" y="1853939"/>
                  <a:pt x="3020549" y="1858580"/>
                  <a:pt x="3009835" y="1844754"/>
                </a:cubicBezTo>
                <a:cubicBezTo>
                  <a:pt x="2999052" y="1830944"/>
                  <a:pt x="2979370" y="1812539"/>
                  <a:pt x="2997289" y="1807952"/>
                </a:cubicBezTo>
                <a:cubicBezTo>
                  <a:pt x="3015202" y="1803375"/>
                  <a:pt x="3059992" y="1807952"/>
                  <a:pt x="3063911" y="1786503"/>
                </a:cubicBezTo>
                <a:cubicBezTo>
                  <a:pt x="3067766" y="1765007"/>
                  <a:pt x="3047463" y="1763511"/>
                  <a:pt x="3011635" y="1757354"/>
                </a:cubicBezTo>
                <a:cubicBezTo>
                  <a:pt x="2975806" y="1751281"/>
                  <a:pt x="2945311" y="1715924"/>
                  <a:pt x="2945952" y="1703698"/>
                </a:cubicBezTo>
                <a:cubicBezTo>
                  <a:pt x="2946535" y="1691468"/>
                  <a:pt x="2977570" y="1699121"/>
                  <a:pt x="3011635" y="1706760"/>
                </a:cubicBezTo>
                <a:cubicBezTo>
                  <a:pt x="3045697" y="1714409"/>
                  <a:pt x="3104819" y="1711401"/>
                  <a:pt x="3129916" y="1697537"/>
                </a:cubicBezTo>
                <a:cubicBezTo>
                  <a:pt x="3155027" y="1683748"/>
                  <a:pt x="3117350" y="1677692"/>
                  <a:pt x="3079705" y="1676044"/>
                </a:cubicBezTo>
                <a:cubicBezTo>
                  <a:pt x="3042079" y="1674545"/>
                  <a:pt x="3042079" y="1648492"/>
                  <a:pt x="3017019" y="1633150"/>
                </a:cubicBezTo>
                <a:cubicBezTo>
                  <a:pt x="2991905" y="1617875"/>
                  <a:pt x="2914830" y="1585668"/>
                  <a:pt x="2959657" y="1587163"/>
                </a:cubicBezTo>
                <a:cubicBezTo>
                  <a:pt x="2982062" y="1587936"/>
                  <a:pt x="3003592" y="1583345"/>
                  <a:pt x="3021522" y="1578734"/>
                </a:cubicBezTo>
                <a:cubicBezTo>
                  <a:pt x="3039424" y="1574126"/>
                  <a:pt x="3053736" y="1569556"/>
                  <a:pt x="3061809" y="1570291"/>
                </a:cubicBezTo>
                <a:cubicBezTo>
                  <a:pt x="3077958" y="1571841"/>
                  <a:pt x="3076141" y="1541176"/>
                  <a:pt x="3068939" y="1530492"/>
                </a:cubicBezTo>
                <a:cubicBezTo>
                  <a:pt x="3061758" y="1519727"/>
                  <a:pt x="3034932" y="1505917"/>
                  <a:pt x="3056428" y="1495152"/>
                </a:cubicBezTo>
                <a:cubicBezTo>
                  <a:pt x="3064688" y="1491050"/>
                  <a:pt x="3077436" y="1491490"/>
                  <a:pt x="3089510" y="1491877"/>
                </a:cubicBezTo>
                <a:cubicBezTo>
                  <a:pt x="3108874" y="1492565"/>
                  <a:pt x="3126471" y="1493203"/>
                  <a:pt x="3120914" y="1475205"/>
                </a:cubicBezTo>
                <a:cubicBezTo>
                  <a:pt x="3111966" y="1446138"/>
                  <a:pt x="3067193" y="1393997"/>
                  <a:pt x="3091361" y="1410886"/>
                </a:cubicBezTo>
                <a:cubicBezTo>
                  <a:pt x="3115584" y="1427720"/>
                  <a:pt x="3133496" y="1406278"/>
                  <a:pt x="3136663" y="1389389"/>
                </a:cubicBezTo>
                <a:cubicBezTo>
                  <a:pt x="3139806" y="1372552"/>
                  <a:pt x="3099438" y="1367906"/>
                  <a:pt x="3092287" y="1352618"/>
                </a:cubicBezTo>
                <a:cubicBezTo>
                  <a:pt x="3085089" y="1337293"/>
                  <a:pt x="3122731" y="1331169"/>
                  <a:pt x="3140644" y="1328026"/>
                </a:cubicBezTo>
                <a:cubicBezTo>
                  <a:pt x="3158593" y="1325019"/>
                  <a:pt x="3144214" y="1300474"/>
                  <a:pt x="3133496" y="1279029"/>
                </a:cubicBezTo>
                <a:cubicBezTo>
                  <a:pt x="3122731" y="1257580"/>
                  <a:pt x="3146028" y="1263703"/>
                  <a:pt x="3152758" y="1249876"/>
                </a:cubicBezTo>
                <a:cubicBezTo>
                  <a:pt x="3159455" y="1236049"/>
                  <a:pt x="3169328" y="1228380"/>
                  <a:pt x="3156793" y="1213061"/>
                </a:cubicBezTo>
                <a:cubicBezTo>
                  <a:pt x="3144262" y="1197769"/>
                  <a:pt x="3163944" y="1199282"/>
                  <a:pt x="3172939" y="1188517"/>
                </a:cubicBezTo>
                <a:cubicBezTo>
                  <a:pt x="3181911" y="1177836"/>
                  <a:pt x="3181860" y="1159401"/>
                  <a:pt x="3181860" y="1159401"/>
                </a:cubicBezTo>
                <a:cubicBezTo>
                  <a:pt x="3224886" y="1162463"/>
                  <a:pt x="3217736" y="1196271"/>
                  <a:pt x="3228501" y="1225369"/>
                </a:cubicBezTo>
                <a:cubicBezTo>
                  <a:pt x="3239266" y="1254437"/>
                  <a:pt x="3215956" y="1249876"/>
                  <a:pt x="3226684" y="1271359"/>
                </a:cubicBezTo>
                <a:cubicBezTo>
                  <a:pt x="3237449" y="1292805"/>
                  <a:pt x="3280459" y="1268263"/>
                  <a:pt x="3267893" y="1298962"/>
                </a:cubicBezTo>
                <a:cubicBezTo>
                  <a:pt x="3255365" y="1329572"/>
                  <a:pt x="3232068" y="1312755"/>
                  <a:pt x="3255365" y="1346461"/>
                </a:cubicBezTo>
                <a:cubicBezTo>
                  <a:pt x="3269276" y="1366615"/>
                  <a:pt x="3308112" y="1364896"/>
                  <a:pt x="3335617" y="1363163"/>
                </a:cubicBezTo>
                <a:cubicBezTo>
                  <a:pt x="3354184" y="1362003"/>
                  <a:pt x="3367594" y="1360844"/>
                  <a:pt x="3364698" y="1366394"/>
                </a:cubicBezTo>
                <a:cubicBezTo>
                  <a:pt x="3357516" y="1380170"/>
                  <a:pt x="3298371" y="1377159"/>
                  <a:pt x="3291223" y="1397110"/>
                </a:cubicBezTo>
                <a:cubicBezTo>
                  <a:pt x="3284042" y="1417043"/>
                  <a:pt x="3289423" y="1430816"/>
                  <a:pt x="3312720" y="1453777"/>
                </a:cubicBezTo>
                <a:cubicBezTo>
                  <a:pt x="3336051" y="1476806"/>
                  <a:pt x="3355750" y="1459934"/>
                  <a:pt x="3362932" y="1479864"/>
                </a:cubicBezTo>
                <a:cubicBezTo>
                  <a:pt x="3370082" y="1499797"/>
                  <a:pt x="3344968" y="1519727"/>
                  <a:pt x="3357550" y="1519727"/>
                </a:cubicBezTo>
                <a:cubicBezTo>
                  <a:pt x="3370082" y="1519727"/>
                  <a:pt x="3389812" y="1512078"/>
                  <a:pt x="3387995" y="1532008"/>
                </a:cubicBezTo>
                <a:cubicBezTo>
                  <a:pt x="3386228" y="1551941"/>
                  <a:pt x="3366498" y="1558065"/>
                  <a:pt x="3362932" y="1584152"/>
                </a:cubicBezTo>
                <a:cubicBezTo>
                  <a:pt x="3360995" y="1597979"/>
                  <a:pt x="3366193" y="1597545"/>
                  <a:pt x="3375528" y="1597070"/>
                </a:cubicBezTo>
                <a:cubicBezTo>
                  <a:pt x="3383740" y="1596684"/>
                  <a:pt x="3395142" y="1596263"/>
                  <a:pt x="3407725" y="1605601"/>
                </a:cubicBezTo>
                <a:cubicBezTo>
                  <a:pt x="3434585" y="1625534"/>
                  <a:pt x="3341401" y="1650038"/>
                  <a:pt x="3362932" y="1671518"/>
                </a:cubicBezTo>
                <a:cubicBezTo>
                  <a:pt x="3373242" y="1681811"/>
                  <a:pt x="3392637" y="1675135"/>
                  <a:pt x="3409827" y="1668507"/>
                </a:cubicBezTo>
                <a:cubicBezTo>
                  <a:pt x="3428462" y="1661275"/>
                  <a:pt x="3444512" y="1654090"/>
                  <a:pt x="3443587" y="1668425"/>
                </a:cubicBezTo>
                <a:cubicBezTo>
                  <a:pt x="3441770" y="1696028"/>
                  <a:pt x="3387995" y="1725174"/>
                  <a:pt x="3423854" y="1725174"/>
                </a:cubicBezTo>
                <a:cubicBezTo>
                  <a:pt x="3459682" y="1725174"/>
                  <a:pt x="3465063" y="1725174"/>
                  <a:pt x="3443587" y="1755791"/>
                </a:cubicBezTo>
                <a:cubicBezTo>
                  <a:pt x="3422057" y="1786503"/>
                  <a:pt x="3375463" y="1800282"/>
                  <a:pt x="3386194" y="1818717"/>
                </a:cubicBezTo>
                <a:cubicBezTo>
                  <a:pt x="3396960" y="1837098"/>
                  <a:pt x="3461500" y="1830981"/>
                  <a:pt x="3459682" y="1853939"/>
                </a:cubicBezTo>
                <a:cubicBezTo>
                  <a:pt x="3457915" y="1876964"/>
                  <a:pt x="3425671" y="1883088"/>
                  <a:pt x="3416672" y="1909178"/>
                </a:cubicBezTo>
                <a:cubicBezTo>
                  <a:pt x="3407725" y="1935181"/>
                  <a:pt x="3470447" y="1921408"/>
                  <a:pt x="3511677" y="1944447"/>
                </a:cubicBezTo>
                <a:lnTo>
                  <a:pt x="3520961" y="1949832"/>
                </a:lnTo>
                <a:cubicBezTo>
                  <a:pt x="3523531" y="1947543"/>
                  <a:pt x="3529454" y="1946214"/>
                  <a:pt x="3534384" y="1943488"/>
                </a:cubicBezTo>
                <a:cubicBezTo>
                  <a:pt x="3581988" y="1917268"/>
                  <a:pt x="3559596" y="1913651"/>
                  <a:pt x="3561041" y="1901722"/>
                </a:cubicBezTo>
                <a:cubicBezTo>
                  <a:pt x="3562506" y="1889849"/>
                  <a:pt x="3594635" y="1847649"/>
                  <a:pt x="3624526" y="1910941"/>
                </a:cubicBezTo>
                <a:cubicBezTo>
                  <a:pt x="3635709" y="1934574"/>
                  <a:pt x="3657964" y="1917790"/>
                  <a:pt x="3673388" y="1955382"/>
                </a:cubicBezTo>
                <a:cubicBezTo>
                  <a:pt x="3678566" y="1967914"/>
                  <a:pt x="3704087" y="1967558"/>
                  <a:pt x="3695051" y="1984667"/>
                </a:cubicBezTo>
                <a:cubicBezTo>
                  <a:pt x="3686056" y="2001891"/>
                  <a:pt x="3684825" y="1992370"/>
                  <a:pt x="3701527" y="2011310"/>
                </a:cubicBezTo>
                <a:cubicBezTo>
                  <a:pt x="3711505" y="2022563"/>
                  <a:pt x="3733792" y="2021604"/>
                  <a:pt x="3749050" y="2020661"/>
                </a:cubicBezTo>
                <a:cubicBezTo>
                  <a:pt x="3755102" y="2020275"/>
                  <a:pt x="3760028" y="2019922"/>
                  <a:pt x="3762673" y="2020309"/>
                </a:cubicBezTo>
                <a:cubicBezTo>
                  <a:pt x="3760364" y="2003959"/>
                  <a:pt x="3781647" y="2002698"/>
                  <a:pt x="3786387" y="1987932"/>
                </a:cubicBezTo>
                <a:cubicBezTo>
                  <a:pt x="3802150" y="1938714"/>
                  <a:pt x="3824907" y="1960712"/>
                  <a:pt x="3836347" y="1929678"/>
                </a:cubicBezTo>
                <a:cubicBezTo>
                  <a:pt x="3866876" y="1846822"/>
                  <a:pt x="3899728" y="1966622"/>
                  <a:pt x="3901237" y="1982293"/>
                </a:cubicBezTo>
                <a:cubicBezTo>
                  <a:pt x="3902701" y="1997839"/>
                  <a:pt x="3879828" y="2002613"/>
                  <a:pt x="3928487" y="2036977"/>
                </a:cubicBezTo>
                <a:cubicBezTo>
                  <a:pt x="3937184" y="2043134"/>
                  <a:pt x="3949464" y="2043741"/>
                  <a:pt x="3940300" y="2054940"/>
                </a:cubicBezTo>
                <a:cubicBezTo>
                  <a:pt x="3931098" y="2066210"/>
                  <a:pt x="3938360" y="2071812"/>
                  <a:pt x="3943239" y="2081939"/>
                </a:cubicBezTo>
                <a:cubicBezTo>
                  <a:pt x="3948203" y="2092047"/>
                  <a:pt x="3965275" y="2087575"/>
                  <a:pt x="3957368" y="2103304"/>
                </a:cubicBezTo>
                <a:cubicBezTo>
                  <a:pt x="3949495" y="2119063"/>
                  <a:pt x="3938950" y="2137064"/>
                  <a:pt x="3952123" y="2139298"/>
                </a:cubicBezTo>
                <a:cubicBezTo>
                  <a:pt x="3965275" y="2141485"/>
                  <a:pt x="3992827" y="2146012"/>
                  <a:pt x="3987612" y="2157296"/>
                </a:cubicBezTo>
                <a:cubicBezTo>
                  <a:pt x="3982299" y="2168481"/>
                  <a:pt x="3952743" y="2171848"/>
                  <a:pt x="3955045" y="2184244"/>
                </a:cubicBezTo>
                <a:cubicBezTo>
                  <a:pt x="3957368" y="2196572"/>
                  <a:pt x="4006064" y="2213746"/>
                  <a:pt x="4035535" y="2213495"/>
                </a:cubicBezTo>
                <a:cubicBezTo>
                  <a:pt x="4058408" y="2213224"/>
                  <a:pt x="4020447" y="2239331"/>
                  <a:pt x="4013886" y="2260678"/>
                </a:cubicBezTo>
                <a:cubicBezTo>
                  <a:pt x="4009814" y="2273810"/>
                  <a:pt x="4022698" y="2273342"/>
                  <a:pt x="4036877" y="2272820"/>
                </a:cubicBezTo>
                <a:cubicBezTo>
                  <a:pt x="4045744" y="2272518"/>
                  <a:pt x="4055099" y="2272213"/>
                  <a:pt x="4061151" y="2275241"/>
                </a:cubicBezTo>
                <a:lnTo>
                  <a:pt x="4065325" y="2278167"/>
                </a:lnTo>
                <a:cubicBezTo>
                  <a:pt x="4074188" y="2275882"/>
                  <a:pt x="4082179" y="2273254"/>
                  <a:pt x="4088655" y="2270498"/>
                </a:cubicBezTo>
                <a:cubicBezTo>
                  <a:pt x="4089161" y="2268399"/>
                  <a:pt x="4092185" y="2266714"/>
                  <a:pt x="4098241" y="2265469"/>
                </a:cubicBezTo>
                <a:lnTo>
                  <a:pt x="4103004" y="2260424"/>
                </a:lnTo>
                <a:cubicBezTo>
                  <a:pt x="4105561" y="2249825"/>
                  <a:pt x="4073045" y="2246868"/>
                  <a:pt x="4067257" y="2237293"/>
                </a:cubicBezTo>
                <a:cubicBezTo>
                  <a:pt x="4061541" y="2227657"/>
                  <a:pt x="4091764" y="2223768"/>
                  <a:pt x="4106232" y="2221836"/>
                </a:cubicBezTo>
                <a:cubicBezTo>
                  <a:pt x="4120645" y="2219954"/>
                  <a:pt x="4109145" y="2204577"/>
                  <a:pt x="4100427" y="2191056"/>
                </a:cubicBezTo>
                <a:cubicBezTo>
                  <a:pt x="4091764" y="2177582"/>
                  <a:pt x="4110521" y="2181450"/>
                  <a:pt x="4115987" y="2172787"/>
                </a:cubicBezTo>
                <a:cubicBezTo>
                  <a:pt x="4121337" y="2164090"/>
                  <a:pt x="4129309" y="2159316"/>
                  <a:pt x="4119215" y="2149629"/>
                </a:cubicBezTo>
                <a:cubicBezTo>
                  <a:pt x="4109172" y="2139987"/>
                  <a:pt x="4122629" y="2139519"/>
                  <a:pt x="4132221" y="2134216"/>
                </a:cubicBezTo>
                <a:cubicBezTo>
                  <a:pt x="4185623" y="2104768"/>
                  <a:pt x="4160475" y="2100710"/>
                  <a:pt x="4162109" y="2087324"/>
                </a:cubicBezTo>
                <a:cubicBezTo>
                  <a:pt x="4163757" y="2073965"/>
                  <a:pt x="4199836" y="2026598"/>
                  <a:pt x="4233359" y="2097614"/>
                </a:cubicBezTo>
                <a:cubicBezTo>
                  <a:pt x="4238354" y="2108196"/>
                  <a:pt x="4245304" y="2111611"/>
                  <a:pt x="4252957" y="2114486"/>
                </a:cubicBezTo>
                <a:cubicBezTo>
                  <a:pt x="4253750" y="2108854"/>
                  <a:pt x="4257952" y="2106816"/>
                  <a:pt x="4268469" y="2112302"/>
                </a:cubicBezTo>
                <a:cubicBezTo>
                  <a:pt x="4299364" y="2128347"/>
                  <a:pt x="4342401" y="2140156"/>
                  <a:pt x="4357214" y="2130466"/>
                </a:cubicBezTo>
                <a:cubicBezTo>
                  <a:pt x="4371943" y="2120864"/>
                  <a:pt x="4353166" y="2090853"/>
                  <a:pt x="4331636" y="2069411"/>
                </a:cubicBezTo>
                <a:cubicBezTo>
                  <a:pt x="4310149" y="2047962"/>
                  <a:pt x="4296672" y="1998697"/>
                  <a:pt x="4324878" y="2009374"/>
                </a:cubicBezTo>
                <a:cubicBezTo>
                  <a:pt x="4353166" y="2020105"/>
                  <a:pt x="4366559" y="2060830"/>
                  <a:pt x="4385421" y="2051139"/>
                </a:cubicBezTo>
                <a:cubicBezTo>
                  <a:pt x="4404239" y="2041554"/>
                  <a:pt x="4384085" y="2007275"/>
                  <a:pt x="4373276" y="1981520"/>
                </a:cubicBezTo>
                <a:cubicBezTo>
                  <a:pt x="4362555" y="1955819"/>
                  <a:pt x="4339688" y="1929024"/>
                  <a:pt x="4363931" y="1936524"/>
                </a:cubicBezTo>
                <a:cubicBezTo>
                  <a:pt x="4388089" y="1944013"/>
                  <a:pt x="4385421" y="1924768"/>
                  <a:pt x="4402428" y="1922951"/>
                </a:cubicBezTo>
                <a:cubicBezTo>
                  <a:pt x="4402428" y="1922951"/>
                  <a:pt x="4400665" y="1830072"/>
                  <a:pt x="4415004" y="1821460"/>
                </a:cubicBezTo>
                <a:cubicBezTo>
                  <a:pt x="4429299" y="1812895"/>
                  <a:pt x="4418577" y="1900092"/>
                  <a:pt x="4425725" y="1915804"/>
                </a:cubicBezTo>
                <a:cubicBezTo>
                  <a:pt x="4432916" y="1931478"/>
                  <a:pt x="4463405" y="1914393"/>
                  <a:pt x="4475933" y="1914393"/>
                </a:cubicBezTo>
                <a:cubicBezTo>
                  <a:pt x="4488464" y="1914393"/>
                  <a:pt x="4436405" y="1962970"/>
                  <a:pt x="4439158" y="1975783"/>
                </a:cubicBezTo>
                <a:cubicBezTo>
                  <a:pt x="4441875" y="1988671"/>
                  <a:pt x="4511761" y="1987243"/>
                  <a:pt x="4518949" y="1962970"/>
                </a:cubicBezTo>
                <a:cubicBezTo>
                  <a:pt x="4526100" y="1938632"/>
                  <a:pt x="4535055" y="1982937"/>
                  <a:pt x="4508184" y="2010066"/>
                </a:cubicBezTo>
                <a:cubicBezTo>
                  <a:pt x="4481317" y="2037248"/>
                  <a:pt x="4463405" y="2110098"/>
                  <a:pt x="4474126" y="2112991"/>
                </a:cubicBezTo>
                <a:cubicBezTo>
                  <a:pt x="4484891" y="2115835"/>
                  <a:pt x="4563732" y="2067204"/>
                  <a:pt x="4578075" y="2038713"/>
                </a:cubicBezTo>
                <a:cubicBezTo>
                  <a:pt x="4592413" y="2010066"/>
                  <a:pt x="4563732" y="2160174"/>
                  <a:pt x="4524334" y="2181616"/>
                </a:cubicBezTo>
                <a:cubicBezTo>
                  <a:pt x="4484891" y="2202981"/>
                  <a:pt x="4524334" y="2202981"/>
                  <a:pt x="4565543" y="2220154"/>
                </a:cubicBezTo>
                <a:cubicBezTo>
                  <a:pt x="4606752" y="2237293"/>
                  <a:pt x="4597794" y="2263014"/>
                  <a:pt x="4570924" y="2277313"/>
                </a:cubicBezTo>
                <a:cubicBezTo>
                  <a:pt x="4544057" y="2291590"/>
                  <a:pt x="4489800" y="2333071"/>
                  <a:pt x="4498111" y="2345908"/>
                </a:cubicBezTo>
                <a:cubicBezTo>
                  <a:pt x="4506421" y="2358772"/>
                  <a:pt x="4617518" y="2346023"/>
                  <a:pt x="4642621" y="2324574"/>
                </a:cubicBezTo>
                <a:cubicBezTo>
                  <a:pt x="4667725" y="2303149"/>
                  <a:pt x="4640811" y="2330230"/>
                  <a:pt x="4628283" y="2358772"/>
                </a:cubicBezTo>
                <a:cubicBezTo>
                  <a:pt x="4615707" y="2387317"/>
                  <a:pt x="4563732" y="2427370"/>
                  <a:pt x="4556585" y="2463111"/>
                </a:cubicBezTo>
                <a:cubicBezTo>
                  <a:pt x="4549394" y="2498773"/>
                  <a:pt x="4615707" y="2488778"/>
                  <a:pt x="4631857" y="2498773"/>
                </a:cubicBezTo>
                <a:cubicBezTo>
                  <a:pt x="4648002" y="2508762"/>
                  <a:pt x="4631812" y="2524555"/>
                  <a:pt x="4612133" y="2535958"/>
                </a:cubicBezTo>
                <a:cubicBezTo>
                  <a:pt x="4593444" y="2546862"/>
                  <a:pt x="4560291" y="2593622"/>
                  <a:pt x="4584574" y="2604468"/>
                </a:cubicBezTo>
                <a:cubicBezTo>
                  <a:pt x="4618592" y="2593588"/>
                  <a:pt x="4663118" y="2600081"/>
                  <a:pt x="4656184" y="2584369"/>
                </a:cubicBezTo>
                <a:cubicBezTo>
                  <a:pt x="4648650" y="2567317"/>
                  <a:pt x="4621651" y="2563364"/>
                  <a:pt x="4620186" y="2548293"/>
                </a:cubicBezTo>
                <a:cubicBezTo>
                  <a:pt x="4618680" y="2533303"/>
                  <a:pt x="4672720" y="2537256"/>
                  <a:pt x="4681718" y="2525247"/>
                </a:cubicBezTo>
                <a:cubicBezTo>
                  <a:pt x="4690720" y="2513271"/>
                  <a:pt x="4651664" y="2504235"/>
                  <a:pt x="4633663" y="2484204"/>
                </a:cubicBezTo>
                <a:cubicBezTo>
                  <a:pt x="4615666" y="2464186"/>
                  <a:pt x="4620186" y="2464186"/>
                  <a:pt x="4650199" y="2464186"/>
                </a:cubicBezTo>
                <a:cubicBezTo>
                  <a:pt x="4680214" y="2464186"/>
                  <a:pt x="4635172" y="2445144"/>
                  <a:pt x="4633663" y="2427150"/>
                </a:cubicBezTo>
                <a:cubicBezTo>
                  <a:pt x="4632890" y="2417761"/>
                  <a:pt x="4646280" y="2422454"/>
                  <a:pt x="4661870" y="2427197"/>
                </a:cubicBezTo>
                <a:cubicBezTo>
                  <a:pt x="4676293" y="2431504"/>
                  <a:pt x="4692528" y="2435844"/>
                  <a:pt x="4701184" y="2429134"/>
                </a:cubicBezTo>
                <a:cubicBezTo>
                  <a:pt x="4719225" y="2415141"/>
                  <a:pt x="4641157" y="2420603"/>
                  <a:pt x="4663722" y="2407603"/>
                </a:cubicBezTo>
                <a:cubicBezTo>
                  <a:pt x="4674229" y="2401534"/>
                  <a:pt x="4683743" y="2401782"/>
                  <a:pt x="4690632" y="2402053"/>
                </a:cubicBezTo>
                <a:cubicBezTo>
                  <a:pt x="4698427" y="2402355"/>
                  <a:pt x="4702777" y="2402656"/>
                  <a:pt x="4701184" y="2393610"/>
                </a:cubicBezTo>
                <a:cubicBezTo>
                  <a:pt x="4698170" y="2376552"/>
                  <a:pt x="4681678" y="2372548"/>
                  <a:pt x="4680214" y="2359596"/>
                </a:cubicBezTo>
                <a:cubicBezTo>
                  <a:pt x="4678708" y="2346491"/>
                  <a:pt x="4695199" y="2351489"/>
                  <a:pt x="4705704" y="2351489"/>
                </a:cubicBezTo>
                <a:cubicBezTo>
                  <a:pt x="4716167" y="2351489"/>
                  <a:pt x="4695199" y="2338486"/>
                  <a:pt x="4701184" y="2325534"/>
                </a:cubicBezTo>
                <a:cubicBezTo>
                  <a:pt x="4707169" y="2312483"/>
                  <a:pt x="4723660" y="2323499"/>
                  <a:pt x="4743167" y="2308479"/>
                </a:cubicBezTo>
                <a:cubicBezTo>
                  <a:pt x="4762716" y="2293408"/>
                  <a:pt x="4767196" y="2284362"/>
                  <a:pt x="4761211" y="2271443"/>
                </a:cubicBezTo>
                <a:cubicBezTo>
                  <a:pt x="4755267" y="2258403"/>
                  <a:pt x="4705704" y="2260424"/>
                  <a:pt x="4699763" y="2251422"/>
                </a:cubicBezTo>
                <a:cubicBezTo>
                  <a:pt x="4697308" y="2247760"/>
                  <a:pt x="4708548" y="2248530"/>
                  <a:pt x="4724091" y="2249269"/>
                </a:cubicBezTo>
                <a:cubicBezTo>
                  <a:pt x="4747130" y="2250398"/>
                  <a:pt x="4779599" y="2251510"/>
                  <a:pt x="4791265" y="2238372"/>
                </a:cubicBezTo>
                <a:cubicBezTo>
                  <a:pt x="4810731" y="2216336"/>
                  <a:pt x="4791265" y="2227352"/>
                  <a:pt x="4780717" y="2207337"/>
                </a:cubicBezTo>
                <a:cubicBezTo>
                  <a:pt x="4770210" y="2187272"/>
                  <a:pt x="4806252" y="2203316"/>
                  <a:pt x="4815250" y="2189238"/>
                </a:cubicBezTo>
                <a:cubicBezTo>
                  <a:pt x="4824249" y="2175245"/>
                  <a:pt x="4804702" y="2178273"/>
                  <a:pt x="4813745" y="2159232"/>
                </a:cubicBezTo>
                <a:cubicBezTo>
                  <a:pt x="4822744" y="2140241"/>
                  <a:pt x="4816715" y="2118188"/>
                  <a:pt x="4852757" y="2116171"/>
                </a:cubicBezTo>
                <a:cubicBezTo>
                  <a:pt x="4852757" y="2116171"/>
                  <a:pt x="4852757" y="2128180"/>
                  <a:pt x="4860251" y="2135213"/>
                </a:cubicBezTo>
                <a:cubicBezTo>
                  <a:pt x="4867784" y="2142224"/>
                  <a:pt x="4884276" y="2141183"/>
                  <a:pt x="4873769" y="2151226"/>
                </a:cubicBezTo>
                <a:cubicBezTo>
                  <a:pt x="4863221" y="2161249"/>
                  <a:pt x="4871575" y="2166209"/>
                  <a:pt x="4877173" y="2175245"/>
                </a:cubicBezTo>
                <a:cubicBezTo>
                  <a:pt x="4882811" y="2184292"/>
                  <a:pt x="4902321" y="2180240"/>
                  <a:pt x="4893279" y="2194318"/>
                </a:cubicBezTo>
                <a:cubicBezTo>
                  <a:pt x="4884276" y="2208311"/>
                  <a:pt x="4872263" y="2224341"/>
                  <a:pt x="4887250" y="2226362"/>
                </a:cubicBezTo>
                <a:cubicBezTo>
                  <a:pt x="4902321" y="2228346"/>
                  <a:pt x="4933796" y="2232346"/>
                  <a:pt x="4927767" y="2242376"/>
                </a:cubicBezTo>
                <a:cubicBezTo>
                  <a:pt x="4921783" y="2252365"/>
                  <a:pt x="4888023" y="2255375"/>
                  <a:pt x="4890651" y="2266361"/>
                </a:cubicBezTo>
                <a:lnTo>
                  <a:pt x="4892848" y="2271657"/>
                </a:lnTo>
                <a:cubicBezTo>
                  <a:pt x="4910889" y="2272735"/>
                  <a:pt x="4928371" y="2270413"/>
                  <a:pt x="4942883" y="2268127"/>
                </a:cubicBezTo>
                <a:cubicBezTo>
                  <a:pt x="4957266" y="2265856"/>
                  <a:pt x="4968763" y="2263601"/>
                  <a:pt x="4975134" y="2264561"/>
                </a:cubicBezTo>
                <a:cubicBezTo>
                  <a:pt x="4988700" y="2266714"/>
                  <a:pt x="4989473" y="2243285"/>
                  <a:pt x="4984092" y="2234720"/>
                </a:cubicBezTo>
                <a:cubicBezTo>
                  <a:pt x="4978796" y="2226108"/>
                  <a:pt x="4957008" y="2214047"/>
                  <a:pt x="4976083" y="2207117"/>
                </a:cubicBezTo>
                <a:cubicBezTo>
                  <a:pt x="4983316" y="2204530"/>
                  <a:pt x="4993952" y="2205571"/>
                  <a:pt x="5004073" y="2206544"/>
                </a:cubicBezTo>
                <a:cubicBezTo>
                  <a:pt x="5020605" y="2208229"/>
                  <a:pt x="5035721" y="2209914"/>
                  <a:pt x="5032320" y="2195833"/>
                </a:cubicBezTo>
                <a:cubicBezTo>
                  <a:pt x="5026807" y="2173174"/>
                  <a:pt x="4992531" y="2130852"/>
                  <a:pt x="5011909" y="2145184"/>
                </a:cubicBezTo>
                <a:cubicBezTo>
                  <a:pt x="5031242" y="2159364"/>
                  <a:pt x="5047995" y="2144160"/>
                  <a:pt x="5051911" y="2131496"/>
                </a:cubicBezTo>
                <a:cubicBezTo>
                  <a:pt x="5055830" y="2118877"/>
                  <a:pt x="5021857" y="2112889"/>
                  <a:pt x="5016903" y="2100879"/>
                </a:cubicBezTo>
                <a:cubicBezTo>
                  <a:pt x="5011909" y="2088734"/>
                  <a:pt x="5044333" y="2086330"/>
                  <a:pt x="5059794" y="2085120"/>
                </a:cubicBezTo>
                <a:cubicBezTo>
                  <a:pt x="5075252" y="2083787"/>
                  <a:pt x="5064829" y="2064278"/>
                  <a:pt x="5057296" y="2047325"/>
                </a:cubicBezTo>
                <a:cubicBezTo>
                  <a:pt x="5049673" y="2030385"/>
                  <a:pt x="5069050" y="2036455"/>
                  <a:pt x="5075768" y="2026351"/>
                </a:cubicBezTo>
                <a:cubicBezTo>
                  <a:pt x="5082399" y="2016274"/>
                  <a:pt x="5091398" y="2011059"/>
                  <a:pt x="5081840" y="1998609"/>
                </a:cubicBezTo>
                <a:cubicBezTo>
                  <a:pt x="5072322" y="1986213"/>
                  <a:pt x="5088943" y="1988535"/>
                  <a:pt x="5097341" y="1980917"/>
                </a:cubicBezTo>
                <a:cubicBezTo>
                  <a:pt x="5105737" y="1973295"/>
                  <a:pt x="5107072" y="1959302"/>
                  <a:pt x="5107072" y="1959302"/>
                </a:cubicBezTo>
                <a:cubicBezTo>
                  <a:pt x="5143372" y="1964215"/>
                  <a:pt x="5134889" y="2054035"/>
                  <a:pt x="5141867" y="2076779"/>
                </a:cubicBezTo>
                <a:cubicBezTo>
                  <a:pt x="5148885" y="2099584"/>
                  <a:pt x="5129420" y="2094725"/>
                  <a:pt x="5137002" y="2111645"/>
                </a:cubicBezTo>
                <a:cubicBezTo>
                  <a:pt x="5144579" y="2128618"/>
                  <a:pt x="5182903" y="2112502"/>
                  <a:pt x="5169985" y="2135107"/>
                </a:cubicBezTo>
                <a:cubicBezTo>
                  <a:pt x="5157108" y="2157631"/>
                  <a:pt x="5138551" y="2143523"/>
                  <a:pt x="5155860" y="2170516"/>
                </a:cubicBezTo>
                <a:cubicBezTo>
                  <a:pt x="5173257" y="2197545"/>
                  <a:pt x="5254425" y="2182091"/>
                  <a:pt x="5247322" y="2192215"/>
                </a:cubicBezTo>
                <a:cubicBezTo>
                  <a:pt x="5240215" y="2202238"/>
                  <a:pt x="5190224" y="2196386"/>
                  <a:pt x="5182646" y="2211121"/>
                </a:cubicBezTo>
                <a:cubicBezTo>
                  <a:pt x="5175153" y="2225840"/>
                  <a:pt x="5178726" y="2236605"/>
                  <a:pt x="5196811" y="2255511"/>
                </a:cubicBezTo>
                <a:cubicBezTo>
                  <a:pt x="5214941" y="2274468"/>
                  <a:pt x="5232894" y="2262743"/>
                  <a:pt x="5237590" y="2278337"/>
                </a:cubicBezTo>
                <a:cubicBezTo>
                  <a:pt x="5242154" y="2293882"/>
                  <a:pt x="5219417" y="2307570"/>
                  <a:pt x="5230053" y="2308343"/>
                </a:cubicBezTo>
                <a:cubicBezTo>
                  <a:pt x="5232335" y="2308479"/>
                  <a:pt x="5234919" y="2308398"/>
                  <a:pt x="5237546" y="2308309"/>
                </a:cubicBezTo>
                <a:cubicBezTo>
                  <a:pt x="5247236" y="2307957"/>
                  <a:pt x="5257398" y="2307621"/>
                  <a:pt x="5255072" y="2319498"/>
                </a:cubicBezTo>
                <a:cubicBezTo>
                  <a:pt x="5252143" y="2334482"/>
                  <a:pt x="5234878" y="2338018"/>
                  <a:pt x="5229968" y="2357646"/>
                </a:cubicBezTo>
                <a:cubicBezTo>
                  <a:pt x="5225014" y="2377240"/>
                  <a:pt x="5245083" y="2359799"/>
                  <a:pt x="5266485" y="2376633"/>
                </a:cubicBezTo>
                <a:cubicBezTo>
                  <a:pt x="5287843" y="2393390"/>
                  <a:pt x="5206888" y="2406494"/>
                  <a:pt x="5223638" y="2424105"/>
                </a:cubicBezTo>
                <a:cubicBezTo>
                  <a:pt x="5231776" y="2432667"/>
                  <a:pt x="5249261" y="2423278"/>
                  <a:pt x="5264545" y="2413927"/>
                </a:cubicBezTo>
                <a:cubicBezTo>
                  <a:pt x="5280522" y="2404121"/>
                  <a:pt x="5294173" y="2394349"/>
                  <a:pt x="5292362" y="2404979"/>
                </a:cubicBezTo>
                <a:cubicBezTo>
                  <a:pt x="5288917" y="2425516"/>
                  <a:pt x="5242930" y="2444120"/>
                  <a:pt x="5270099" y="2446829"/>
                </a:cubicBezTo>
                <a:cubicBezTo>
                  <a:pt x="5270401" y="2441580"/>
                  <a:pt x="5274365" y="2439380"/>
                  <a:pt x="5285343" y="2444069"/>
                </a:cubicBezTo>
                <a:cubicBezTo>
                  <a:pt x="5315615" y="2456903"/>
                  <a:pt x="5357729" y="2466291"/>
                  <a:pt x="5372197" y="2458588"/>
                </a:cubicBezTo>
                <a:cubicBezTo>
                  <a:pt x="5386665" y="2450915"/>
                  <a:pt x="5368237" y="2426980"/>
                  <a:pt x="5347178" y="2409838"/>
                </a:cubicBezTo>
                <a:cubicBezTo>
                  <a:pt x="5326122" y="2392783"/>
                  <a:pt x="5312987" y="2374972"/>
                  <a:pt x="5340590" y="2383533"/>
                </a:cubicBezTo>
                <a:cubicBezTo>
                  <a:pt x="5368237" y="2392013"/>
                  <a:pt x="5381369" y="2424573"/>
                  <a:pt x="5399756" y="2416904"/>
                </a:cubicBezTo>
                <a:cubicBezTo>
                  <a:pt x="5418187" y="2409200"/>
                  <a:pt x="5398464" y="2381814"/>
                  <a:pt x="5387957" y="2361315"/>
                </a:cubicBezTo>
                <a:cubicBezTo>
                  <a:pt x="5377449" y="2340825"/>
                  <a:pt x="5355058" y="2319376"/>
                  <a:pt x="5378741" y="2325402"/>
                </a:cubicBezTo>
                <a:cubicBezTo>
                  <a:pt x="5402424" y="2331386"/>
                  <a:pt x="5399756" y="2316013"/>
                  <a:pt x="5416465" y="2314585"/>
                </a:cubicBezTo>
                <a:cubicBezTo>
                  <a:pt x="5416465" y="2314585"/>
                  <a:pt x="5414742" y="2240491"/>
                  <a:pt x="5428779" y="2233598"/>
                </a:cubicBezTo>
                <a:cubicBezTo>
                  <a:pt x="5442772" y="2226796"/>
                  <a:pt x="5432268" y="2296334"/>
                  <a:pt x="5439243" y="2308866"/>
                </a:cubicBezTo>
                <a:cubicBezTo>
                  <a:pt x="5446261" y="2321397"/>
                  <a:pt x="5476102" y="2307736"/>
                  <a:pt x="5488332" y="2307736"/>
                </a:cubicBezTo>
                <a:cubicBezTo>
                  <a:pt x="5500646" y="2307736"/>
                  <a:pt x="5449750" y="2346457"/>
                  <a:pt x="5452419" y="2356704"/>
                </a:cubicBezTo>
                <a:cubicBezTo>
                  <a:pt x="5455087" y="2366997"/>
                  <a:pt x="5523469" y="2344304"/>
                  <a:pt x="5530487" y="2324927"/>
                </a:cubicBezTo>
                <a:cubicBezTo>
                  <a:pt x="5537465" y="2305583"/>
                  <a:pt x="5546247" y="2340907"/>
                  <a:pt x="5519895" y="2362559"/>
                </a:cubicBezTo>
                <a:cubicBezTo>
                  <a:pt x="5493628" y="2384222"/>
                  <a:pt x="5476102" y="2442353"/>
                  <a:pt x="5486609" y="2444639"/>
                </a:cubicBezTo>
                <a:cubicBezTo>
                  <a:pt x="5489881" y="2445364"/>
                  <a:pt x="5499612" y="2442052"/>
                  <a:pt x="5511887" y="2436637"/>
                </a:cubicBezTo>
                <a:lnTo>
                  <a:pt x="5517613" y="2432921"/>
                </a:lnTo>
                <a:lnTo>
                  <a:pt x="5518559" y="2433440"/>
                </a:lnTo>
                <a:cubicBezTo>
                  <a:pt x="5543192" y="2421647"/>
                  <a:pt x="5574195" y="2402961"/>
                  <a:pt x="5585778" y="2388748"/>
                </a:cubicBezTo>
                <a:cubicBezTo>
                  <a:pt x="5579403" y="2377156"/>
                  <a:pt x="5573032" y="2365587"/>
                  <a:pt x="5569415" y="2355544"/>
                </a:cubicBezTo>
                <a:cubicBezTo>
                  <a:pt x="5556496" y="2319719"/>
                  <a:pt x="5566183" y="2308343"/>
                  <a:pt x="5595295" y="2341602"/>
                </a:cubicBezTo>
                <a:cubicBezTo>
                  <a:pt x="5624404" y="2374789"/>
                  <a:pt x="5637406" y="2341602"/>
                  <a:pt x="5647097" y="2316657"/>
                </a:cubicBezTo>
                <a:cubicBezTo>
                  <a:pt x="5656784" y="2291729"/>
                  <a:pt x="5637406" y="2255782"/>
                  <a:pt x="5647097" y="2214220"/>
                </a:cubicBezTo>
                <a:cubicBezTo>
                  <a:pt x="5656784" y="2172702"/>
                  <a:pt x="5669746" y="2156133"/>
                  <a:pt x="5669746" y="2156133"/>
                </a:cubicBezTo>
                <a:cubicBezTo>
                  <a:pt x="5702085" y="2153325"/>
                  <a:pt x="5708544" y="2175466"/>
                  <a:pt x="5709406" y="2211457"/>
                </a:cubicBezTo>
                <a:cubicBezTo>
                  <a:pt x="5710223" y="2247452"/>
                  <a:pt x="5744156" y="2333291"/>
                  <a:pt x="5757115" y="2311151"/>
                </a:cubicBezTo>
                <a:cubicBezTo>
                  <a:pt x="5770033" y="2288966"/>
                  <a:pt x="5782995" y="2261333"/>
                  <a:pt x="5789454" y="2313914"/>
                </a:cubicBezTo>
                <a:cubicBezTo>
                  <a:pt x="5795998" y="2366475"/>
                  <a:pt x="5747428" y="2399679"/>
                  <a:pt x="5776536" y="2385907"/>
                </a:cubicBezTo>
                <a:cubicBezTo>
                  <a:pt x="5805644" y="2372080"/>
                  <a:pt x="5795998" y="2336082"/>
                  <a:pt x="5821835" y="2369283"/>
                </a:cubicBezTo>
                <a:cubicBezTo>
                  <a:pt x="5847715" y="2402470"/>
                  <a:pt x="5818607" y="2407993"/>
                  <a:pt x="5789454" y="2441224"/>
                </a:cubicBezTo>
                <a:cubicBezTo>
                  <a:pt x="5760346" y="2474429"/>
                  <a:pt x="5786223" y="2499356"/>
                  <a:pt x="5805644" y="2496620"/>
                </a:cubicBezTo>
                <a:cubicBezTo>
                  <a:pt x="5817661" y="2494884"/>
                  <a:pt x="5833461" y="2486828"/>
                  <a:pt x="5849824" y="2474313"/>
                </a:cubicBezTo>
                <a:cubicBezTo>
                  <a:pt x="5838113" y="2465298"/>
                  <a:pt x="5796646" y="2466037"/>
                  <a:pt x="5791133" y="2458367"/>
                </a:cubicBezTo>
                <a:cubicBezTo>
                  <a:pt x="5788722" y="2455017"/>
                  <a:pt x="5799918" y="2455712"/>
                  <a:pt x="5815419" y="2456401"/>
                </a:cubicBezTo>
                <a:cubicBezTo>
                  <a:pt x="5835055" y="2457259"/>
                  <a:pt x="5861579" y="2458113"/>
                  <a:pt x="5876220" y="2450745"/>
                </a:cubicBezTo>
                <a:lnTo>
                  <a:pt x="5880139" y="2446792"/>
                </a:lnTo>
                <a:cubicBezTo>
                  <a:pt x="5883886" y="2442740"/>
                  <a:pt x="5886985" y="2439733"/>
                  <a:pt x="5889830" y="2437227"/>
                </a:cubicBezTo>
                <a:cubicBezTo>
                  <a:pt x="5894220" y="2428998"/>
                  <a:pt x="5880486" y="2432226"/>
                  <a:pt x="5872131" y="2417426"/>
                </a:cubicBezTo>
                <a:cubicBezTo>
                  <a:pt x="5861623" y="2398771"/>
                  <a:pt x="5897665" y="2413625"/>
                  <a:pt x="5906664" y="2400625"/>
                </a:cubicBezTo>
                <a:cubicBezTo>
                  <a:pt x="5915666" y="2387585"/>
                  <a:pt x="5896160" y="2390379"/>
                  <a:pt x="5905158" y="2372683"/>
                </a:cubicBezTo>
                <a:cubicBezTo>
                  <a:pt x="5914157" y="2355022"/>
                  <a:pt x="5908129" y="2334482"/>
                  <a:pt x="5944215" y="2332681"/>
                </a:cubicBezTo>
                <a:cubicBezTo>
                  <a:pt x="5944215" y="2332681"/>
                  <a:pt x="5944171" y="2343785"/>
                  <a:pt x="5951664" y="2350380"/>
                </a:cubicBezTo>
                <a:cubicBezTo>
                  <a:pt x="5959198" y="2356870"/>
                  <a:pt x="5975649" y="2355978"/>
                  <a:pt x="5965186" y="2365231"/>
                </a:cubicBezTo>
                <a:cubicBezTo>
                  <a:pt x="5954678" y="2374535"/>
                  <a:pt x="5963033" y="2379227"/>
                  <a:pt x="5968542" y="2387585"/>
                </a:cubicBezTo>
                <a:cubicBezTo>
                  <a:pt x="5974184" y="2395977"/>
                  <a:pt x="5993690" y="2392278"/>
                  <a:pt x="5984648" y="2405315"/>
                </a:cubicBezTo>
                <a:cubicBezTo>
                  <a:pt x="5975649" y="2418368"/>
                  <a:pt x="5963677" y="2433219"/>
                  <a:pt x="5978663" y="2435074"/>
                </a:cubicBezTo>
                <a:cubicBezTo>
                  <a:pt x="5993690" y="2436918"/>
                  <a:pt x="6025209" y="2440672"/>
                  <a:pt x="6019181" y="2450023"/>
                </a:cubicBezTo>
                <a:cubicBezTo>
                  <a:pt x="6013152" y="2459323"/>
                  <a:pt x="5979396" y="2462066"/>
                  <a:pt x="5982064" y="2472364"/>
                </a:cubicBezTo>
                <a:cubicBezTo>
                  <a:pt x="5984648" y="2482624"/>
                  <a:pt x="5999675" y="2495623"/>
                  <a:pt x="6019957" y="2485363"/>
                </a:cubicBezTo>
                <a:cubicBezTo>
                  <a:pt x="6038429" y="2476029"/>
                  <a:pt x="6008806" y="2501614"/>
                  <a:pt x="5997824" y="2519608"/>
                </a:cubicBezTo>
                <a:cubicBezTo>
                  <a:pt x="6010999" y="2516380"/>
                  <a:pt x="6021724" y="2513492"/>
                  <a:pt x="6027881" y="2513960"/>
                </a:cubicBezTo>
                <a:cubicBezTo>
                  <a:pt x="6041745" y="2515221"/>
                  <a:pt x="6040196" y="2490849"/>
                  <a:pt x="6034039" y="2482271"/>
                </a:cubicBezTo>
                <a:cubicBezTo>
                  <a:pt x="6027881" y="2473791"/>
                  <a:pt x="6004930" y="2462755"/>
                  <a:pt x="6023318" y="2454248"/>
                </a:cubicBezTo>
                <a:cubicBezTo>
                  <a:pt x="6030377" y="2450915"/>
                  <a:pt x="6041315" y="2451267"/>
                  <a:pt x="6051649" y="2451603"/>
                </a:cubicBezTo>
                <a:cubicBezTo>
                  <a:pt x="6068229" y="2452129"/>
                  <a:pt x="6083256" y="2452651"/>
                  <a:pt x="6078520" y="2438383"/>
                </a:cubicBezTo>
                <a:cubicBezTo>
                  <a:pt x="6070813" y="2415188"/>
                  <a:pt x="6032530" y="2373711"/>
                  <a:pt x="6053199" y="2387151"/>
                </a:cubicBezTo>
                <a:cubicBezTo>
                  <a:pt x="6073956" y="2400537"/>
                  <a:pt x="6089241" y="2383482"/>
                  <a:pt x="6091953" y="2370093"/>
                </a:cubicBezTo>
                <a:cubicBezTo>
                  <a:pt x="6094625" y="2356619"/>
                  <a:pt x="6060089" y="2352950"/>
                  <a:pt x="6053975" y="2340825"/>
                </a:cubicBezTo>
                <a:cubicBezTo>
                  <a:pt x="6047818" y="2328629"/>
                  <a:pt x="6080029" y="2323771"/>
                  <a:pt x="6095402" y="2321316"/>
                </a:cubicBezTo>
                <a:cubicBezTo>
                  <a:pt x="6110731" y="2318858"/>
                  <a:pt x="6098457" y="2299311"/>
                  <a:pt x="6089241" y="2282256"/>
                </a:cubicBezTo>
                <a:cubicBezTo>
                  <a:pt x="6080029" y="2265167"/>
                  <a:pt x="6099965" y="2269979"/>
                  <a:pt x="6105733" y="2259044"/>
                </a:cubicBezTo>
                <a:cubicBezTo>
                  <a:pt x="6111463" y="2248059"/>
                  <a:pt x="6119943" y="2241955"/>
                  <a:pt x="6109178" y="2229810"/>
                </a:cubicBezTo>
                <a:cubicBezTo>
                  <a:pt x="6098457" y="2217580"/>
                  <a:pt x="6115338" y="2218774"/>
                  <a:pt x="6123001" y="2210267"/>
                </a:cubicBezTo>
                <a:cubicBezTo>
                  <a:pt x="6130708" y="2201685"/>
                  <a:pt x="6130667" y="2187085"/>
                  <a:pt x="6130667" y="2187085"/>
                </a:cubicBezTo>
                <a:cubicBezTo>
                  <a:pt x="6167526" y="2189506"/>
                  <a:pt x="6161369" y="2216373"/>
                  <a:pt x="6170585" y="2239531"/>
                </a:cubicBezTo>
                <a:cubicBezTo>
                  <a:pt x="6179756" y="2262709"/>
                  <a:pt x="6159820" y="2259044"/>
                  <a:pt x="6169032" y="2276133"/>
                </a:cubicBezTo>
                <a:cubicBezTo>
                  <a:pt x="6178207" y="2293187"/>
                  <a:pt x="6215022" y="2273678"/>
                  <a:pt x="6204301" y="2298100"/>
                </a:cubicBezTo>
                <a:cubicBezTo>
                  <a:pt x="6193536" y="2322472"/>
                  <a:pt x="6173640" y="2309120"/>
                  <a:pt x="6193536" y="2335946"/>
                </a:cubicBezTo>
                <a:cubicBezTo>
                  <a:pt x="6205464" y="2351926"/>
                  <a:pt x="6238661" y="2350597"/>
                  <a:pt x="6262216" y="2349217"/>
                </a:cubicBezTo>
                <a:cubicBezTo>
                  <a:pt x="6278107" y="2348308"/>
                  <a:pt x="6289602" y="2347400"/>
                  <a:pt x="6287106" y="2351841"/>
                </a:cubicBezTo>
                <a:cubicBezTo>
                  <a:pt x="6280949" y="2362779"/>
                  <a:pt x="6230351" y="2360318"/>
                  <a:pt x="6224238" y="2376132"/>
                </a:cubicBezTo>
                <a:cubicBezTo>
                  <a:pt x="6218080" y="2392013"/>
                  <a:pt x="6222688" y="2402961"/>
                  <a:pt x="6242665" y="2421294"/>
                </a:cubicBezTo>
                <a:cubicBezTo>
                  <a:pt x="6256791" y="2434263"/>
                  <a:pt x="6269278" y="2431368"/>
                  <a:pt x="6277589" y="2434263"/>
                </a:cubicBezTo>
                <a:lnTo>
                  <a:pt x="6277975" y="2429486"/>
                </a:lnTo>
                <a:cubicBezTo>
                  <a:pt x="6284305" y="2389352"/>
                  <a:pt x="6296966" y="2410445"/>
                  <a:pt x="6309626" y="2427370"/>
                </a:cubicBezTo>
                <a:cubicBezTo>
                  <a:pt x="6322287" y="2444252"/>
                  <a:pt x="6355528" y="2378753"/>
                  <a:pt x="6356305" y="2351289"/>
                </a:cubicBezTo>
                <a:cubicBezTo>
                  <a:pt x="6357166" y="2323805"/>
                  <a:pt x="6363452" y="2306933"/>
                  <a:pt x="6395188" y="2309035"/>
                </a:cubicBezTo>
                <a:cubicBezTo>
                  <a:pt x="6395188" y="2309035"/>
                  <a:pt x="6407805" y="2321733"/>
                  <a:pt x="6417278" y="2353391"/>
                </a:cubicBezTo>
                <a:cubicBezTo>
                  <a:pt x="6426795" y="2385079"/>
                  <a:pt x="6407805" y="2412547"/>
                  <a:pt x="6417278" y="2431537"/>
                </a:cubicBezTo>
                <a:cubicBezTo>
                  <a:pt x="6426795" y="2450579"/>
                  <a:pt x="6439452" y="2475981"/>
                  <a:pt x="6467961" y="2450579"/>
                </a:cubicBezTo>
                <a:cubicBezTo>
                  <a:pt x="6492461" y="2428798"/>
                  <a:pt x="6502796" y="2432226"/>
                  <a:pt x="6497242" y="2451016"/>
                </a:cubicBezTo>
                <a:lnTo>
                  <a:pt x="6506888" y="2445751"/>
                </a:lnTo>
                <a:cubicBezTo>
                  <a:pt x="6548097" y="2427838"/>
                  <a:pt x="6587540" y="2427838"/>
                  <a:pt x="6548138" y="2405498"/>
                </a:cubicBezTo>
                <a:cubicBezTo>
                  <a:pt x="6508695" y="2383011"/>
                  <a:pt x="6479974" y="2226277"/>
                  <a:pt x="6494356" y="2256118"/>
                </a:cubicBezTo>
                <a:cubicBezTo>
                  <a:pt x="6508695" y="2285959"/>
                  <a:pt x="6587540" y="2336770"/>
                  <a:pt x="6598305" y="2333793"/>
                </a:cubicBezTo>
                <a:cubicBezTo>
                  <a:pt x="6609027" y="2330782"/>
                  <a:pt x="6591158" y="2254602"/>
                  <a:pt x="6564243" y="2226277"/>
                </a:cubicBezTo>
                <a:cubicBezTo>
                  <a:pt x="6537373" y="2197898"/>
                  <a:pt x="6546331" y="2151562"/>
                  <a:pt x="6553522" y="2176924"/>
                </a:cubicBezTo>
                <a:cubicBezTo>
                  <a:pt x="6560670" y="2202343"/>
                  <a:pt x="6630557" y="2203889"/>
                  <a:pt x="6633313" y="2190449"/>
                </a:cubicBezTo>
                <a:cubicBezTo>
                  <a:pt x="6636026" y="2176924"/>
                  <a:pt x="6583967" y="2126194"/>
                  <a:pt x="6596539" y="2126194"/>
                </a:cubicBezTo>
                <a:cubicBezTo>
                  <a:pt x="6609027" y="2126194"/>
                  <a:pt x="6639555" y="2144106"/>
                  <a:pt x="6646662" y="2127675"/>
                </a:cubicBezTo>
                <a:cubicBezTo>
                  <a:pt x="6653854" y="2111258"/>
                  <a:pt x="6643088" y="2020139"/>
                  <a:pt x="6657427" y="2029141"/>
                </a:cubicBezTo>
                <a:cubicBezTo>
                  <a:pt x="6671766" y="2038055"/>
                  <a:pt x="6670000" y="2135158"/>
                  <a:pt x="6670000" y="2135158"/>
                </a:cubicBezTo>
                <a:cubicBezTo>
                  <a:pt x="6687051" y="2137064"/>
                  <a:pt x="6684338" y="2157211"/>
                  <a:pt x="6708581" y="2149321"/>
                </a:cubicBezTo>
                <a:cubicBezTo>
                  <a:pt x="6732739" y="2141485"/>
                  <a:pt x="6709917" y="2169475"/>
                  <a:pt x="6699152" y="2196386"/>
                </a:cubicBezTo>
                <a:cubicBezTo>
                  <a:pt x="6688387" y="2223216"/>
                  <a:pt x="6668233" y="2259092"/>
                  <a:pt x="6687051" y="2269202"/>
                </a:cubicBezTo>
                <a:cubicBezTo>
                  <a:pt x="6705869" y="2279245"/>
                  <a:pt x="6719346" y="2236686"/>
                  <a:pt x="6747553" y="2225504"/>
                </a:cubicBezTo>
                <a:cubicBezTo>
                  <a:pt x="6775759" y="2214302"/>
                  <a:pt x="6762366" y="2265805"/>
                  <a:pt x="6740836" y="2288193"/>
                </a:cubicBezTo>
                <a:cubicBezTo>
                  <a:pt x="6719346" y="2310632"/>
                  <a:pt x="6700488" y="2341985"/>
                  <a:pt x="6715301" y="2352096"/>
                </a:cubicBezTo>
                <a:cubicBezTo>
                  <a:pt x="6730071" y="2362169"/>
                  <a:pt x="6773087" y="2349824"/>
                  <a:pt x="6804047" y="2333020"/>
                </a:cubicBezTo>
                <a:cubicBezTo>
                  <a:pt x="6834966" y="2316267"/>
                  <a:pt x="6812059" y="2366662"/>
                  <a:pt x="6804047" y="2384557"/>
                </a:cubicBezTo>
                <a:cubicBezTo>
                  <a:pt x="6795954" y="2402470"/>
                  <a:pt x="6720682" y="2452864"/>
                  <a:pt x="6743504" y="2460741"/>
                </a:cubicBezTo>
                <a:cubicBezTo>
                  <a:pt x="6752591" y="2463833"/>
                  <a:pt x="6769168" y="2464660"/>
                  <a:pt x="6786524" y="2464491"/>
                </a:cubicBezTo>
                <a:lnTo>
                  <a:pt x="6789667" y="2460910"/>
                </a:lnTo>
                <a:cubicBezTo>
                  <a:pt x="6810594" y="2448124"/>
                  <a:pt x="6830185" y="2461395"/>
                  <a:pt x="6825404" y="2446358"/>
                </a:cubicBezTo>
                <a:cubicBezTo>
                  <a:pt x="6820583" y="2431422"/>
                  <a:pt x="6803749" y="2428798"/>
                  <a:pt x="6800819" y="2417260"/>
                </a:cubicBezTo>
                <a:cubicBezTo>
                  <a:pt x="6798537" y="2408241"/>
                  <a:pt x="6808441" y="2408512"/>
                  <a:pt x="6817870" y="2408763"/>
                </a:cubicBezTo>
                <a:cubicBezTo>
                  <a:pt x="6820454" y="2408814"/>
                  <a:pt x="6823038" y="2408895"/>
                  <a:pt x="6825320" y="2408763"/>
                </a:cubicBezTo>
                <a:cubicBezTo>
                  <a:pt x="6835698" y="2408207"/>
                  <a:pt x="6813436" y="2397747"/>
                  <a:pt x="6817955" y="2385907"/>
                </a:cubicBezTo>
                <a:cubicBezTo>
                  <a:pt x="6822478" y="2373979"/>
                  <a:pt x="6840089" y="2382893"/>
                  <a:pt x="6857832" y="2368513"/>
                </a:cubicBezTo>
                <a:cubicBezTo>
                  <a:pt x="6875572" y="2354079"/>
                  <a:pt x="6879061" y="2345803"/>
                  <a:pt x="6871652" y="2334570"/>
                </a:cubicBezTo>
                <a:cubicBezTo>
                  <a:pt x="6864247" y="2323330"/>
                  <a:pt x="6815331" y="2327775"/>
                  <a:pt x="6808397" y="2320102"/>
                </a:cubicBezTo>
                <a:cubicBezTo>
                  <a:pt x="6801423" y="2312483"/>
                  <a:pt x="6880912" y="2324239"/>
                  <a:pt x="6897878" y="2303569"/>
                </a:cubicBezTo>
                <a:cubicBezTo>
                  <a:pt x="6914842" y="2282944"/>
                  <a:pt x="6896671" y="2293794"/>
                  <a:pt x="6884055" y="2276570"/>
                </a:cubicBezTo>
                <a:cubicBezTo>
                  <a:pt x="6871394" y="2259295"/>
                  <a:pt x="6908901" y="2271627"/>
                  <a:pt x="6916350" y="2258658"/>
                </a:cubicBezTo>
                <a:cubicBezTo>
                  <a:pt x="6923755" y="2245689"/>
                  <a:pt x="6904724" y="2249439"/>
                  <a:pt x="6911570" y="2232045"/>
                </a:cubicBezTo>
                <a:cubicBezTo>
                  <a:pt x="6918419" y="2214654"/>
                  <a:pt x="6910064" y="2195392"/>
                  <a:pt x="6945632" y="2191612"/>
                </a:cubicBezTo>
                <a:cubicBezTo>
                  <a:pt x="6945632" y="2191612"/>
                  <a:pt x="6946923" y="2202343"/>
                  <a:pt x="6955149" y="2208195"/>
                </a:cubicBezTo>
                <a:cubicBezTo>
                  <a:pt x="6963371" y="2214000"/>
                  <a:pt x="6979650" y="2212233"/>
                  <a:pt x="6970305" y="2221615"/>
                </a:cubicBezTo>
                <a:cubicBezTo>
                  <a:pt x="6960961" y="2231136"/>
                  <a:pt x="6969701" y="2235140"/>
                  <a:pt x="6976289" y="2242864"/>
                </a:cubicBezTo>
                <a:cubicBezTo>
                  <a:pt x="6982837" y="2250568"/>
                  <a:pt x="7001827" y="2245906"/>
                  <a:pt x="6994375" y="2258908"/>
                </a:cubicBezTo>
                <a:cubicBezTo>
                  <a:pt x="6986970" y="2271796"/>
                  <a:pt x="6976720" y="2286728"/>
                  <a:pt x="6991879" y="2287671"/>
                </a:cubicBezTo>
                <a:cubicBezTo>
                  <a:pt x="7007124" y="2288668"/>
                  <a:pt x="7038771" y="2290512"/>
                  <a:pt x="7033862" y="2299731"/>
                </a:cubicBezTo>
                <a:cubicBezTo>
                  <a:pt x="7028996" y="2308954"/>
                  <a:pt x="6995755" y="2313426"/>
                  <a:pt x="6999586" y="2323079"/>
                </a:cubicBezTo>
                <a:cubicBezTo>
                  <a:pt x="7003418" y="2332718"/>
                  <a:pt x="7019781" y="2344392"/>
                  <a:pt x="7038771" y="2333539"/>
                </a:cubicBezTo>
                <a:cubicBezTo>
                  <a:pt x="7057674" y="2322608"/>
                  <a:pt x="7024175" y="2354903"/>
                  <a:pt x="7018791" y="2372161"/>
                </a:cubicBezTo>
                <a:cubicBezTo>
                  <a:pt x="7015475" y="2382926"/>
                  <a:pt x="7030244" y="2381682"/>
                  <a:pt x="7046393" y="2380387"/>
                </a:cubicBezTo>
                <a:cubicBezTo>
                  <a:pt x="7056297" y="2379614"/>
                  <a:pt x="7066717" y="2378841"/>
                  <a:pt x="7073779" y="2380858"/>
                </a:cubicBezTo>
                <a:cubicBezTo>
                  <a:pt x="7092468" y="2386120"/>
                  <a:pt x="7071152" y="2395322"/>
                  <a:pt x="7065944" y="2401887"/>
                </a:cubicBezTo>
                <a:cubicBezTo>
                  <a:pt x="7062370" y="2406308"/>
                  <a:pt x="7061678" y="2415910"/>
                  <a:pt x="7065727" y="2421125"/>
                </a:cubicBezTo>
                <a:cubicBezTo>
                  <a:pt x="7071714" y="2422034"/>
                  <a:pt x="7078645" y="2423417"/>
                  <a:pt x="7086094" y="2424997"/>
                </a:cubicBezTo>
                <a:cubicBezTo>
                  <a:pt x="7103278" y="2426675"/>
                  <a:pt x="7131525" y="2367553"/>
                  <a:pt x="7160850" y="2365231"/>
                </a:cubicBezTo>
                <a:lnTo>
                  <a:pt x="7168428" y="2365099"/>
                </a:lnTo>
                <a:cubicBezTo>
                  <a:pt x="7181777" y="2363247"/>
                  <a:pt x="7193790" y="2360152"/>
                  <a:pt x="7201713" y="2355795"/>
                </a:cubicBezTo>
                <a:cubicBezTo>
                  <a:pt x="7223200" y="2344002"/>
                  <a:pt x="7190992" y="2338706"/>
                  <a:pt x="7158738" y="2337462"/>
                </a:cubicBezTo>
                <a:cubicBezTo>
                  <a:pt x="7144572" y="2336855"/>
                  <a:pt x="7136648" y="2344728"/>
                  <a:pt x="7130362" y="2352614"/>
                </a:cubicBezTo>
                <a:cubicBezTo>
                  <a:pt x="7122397" y="2362607"/>
                  <a:pt x="7117098" y="2372636"/>
                  <a:pt x="7105085" y="2365285"/>
                </a:cubicBezTo>
                <a:cubicBezTo>
                  <a:pt x="7083643" y="2352180"/>
                  <a:pt x="7017672" y="2324625"/>
                  <a:pt x="7055996" y="2325924"/>
                </a:cubicBezTo>
                <a:cubicBezTo>
                  <a:pt x="7075200" y="2326561"/>
                  <a:pt x="7093587" y="2306458"/>
                  <a:pt x="7108916" y="2286393"/>
                </a:cubicBezTo>
                <a:cubicBezTo>
                  <a:pt x="7124248" y="2266327"/>
                  <a:pt x="7136519" y="2246262"/>
                  <a:pt x="7143453" y="2246868"/>
                </a:cubicBezTo>
                <a:cubicBezTo>
                  <a:pt x="7157232" y="2248245"/>
                  <a:pt x="7155723" y="2221971"/>
                  <a:pt x="7149566" y="2212756"/>
                </a:cubicBezTo>
                <a:cubicBezTo>
                  <a:pt x="7143453" y="2203587"/>
                  <a:pt x="7120414" y="2191781"/>
                  <a:pt x="7138801" y="2182613"/>
                </a:cubicBezTo>
                <a:cubicBezTo>
                  <a:pt x="7145863" y="2179077"/>
                  <a:pt x="7156802" y="2179429"/>
                  <a:pt x="7167136" y="2179772"/>
                </a:cubicBezTo>
                <a:cubicBezTo>
                  <a:pt x="7183713" y="2180321"/>
                  <a:pt x="7198743" y="2180894"/>
                  <a:pt x="7194007" y="2165555"/>
                </a:cubicBezTo>
                <a:cubicBezTo>
                  <a:pt x="7186384" y="2140675"/>
                  <a:pt x="7148061" y="2096017"/>
                  <a:pt x="7168730" y="2110451"/>
                </a:cubicBezTo>
                <a:cubicBezTo>
                  <a:pt x="7189439" y="2124868"/>
                  <a:pt x="7204772" y="2106532"/>
                  <a:pt x="7207484" y="2092098"/>
                </a:cubicBezTo>
                <a:cubicBezTo>
                  <a:pt x="7210153" y="2077671"/>
                  <a:pt x="7175660" y="2073717"/>
                  <a:pt x="7169503" y="2060579"/>
                </a:cubicBezTo>
                <a:cubicBezTo>
                  <a:pt x="7163345" y="2047440"/>
                  <a:pt x="7195556" y="2042191"/>
                  <a:pt x="7210929" y="2039652"/>
                </a:cubicBezTo>
                <a:cubicBezTo>
                  <a:pt x="7226258" y="2036977"/>
                  <a:pt x="7213984" y="2016002"/>
                  <a:pt x="7204772" y="1997619"/>
                </a:cubicBezTo>
                <a:cubicBezTo>
                  <a:pt x="7195556" y="1979232"/>
                  <a:pt x="7215493" y="1984500"/>
                  <a:pt x="7221264" y="1972691"/>
                </a:cubicBezTo>
                <a:cubicBezTo>
                  <a:pt x="7226990" y="1960851"/>
                  <a:pt x="7235430" y="1954304"/>
                  <a:pt x="7224708" y="1941219"/>
                </a:cubicBezTo>
                <a:cubicBezTo>
                  <a:pt x="7213984" y="1928081"/>
                  <a:pt x="7230866" y="1929376"/>
                  <a:pt x="7238529" y="1920157"/>
                </a:cubicBezTo>
                <a:cubicBezTo>
                  <a:pt x="7246195" y="1910996"/>
                  <a:pt x="7246151" y="1895229"/>
                  <a:pt x="7246151" y="1895229"/>
                </a:cubicBezTo>
                <a:cubicBezTo>
                  <a:pt x="7283010" y="1897938"/>
                  <a:pt x="7276852" y="1926789"/>
                  <a:pt x="7286068" y="1951683"/>
                </a:cubicBezTo>
                <a:cubicBezTo>
                  <a:pt x="7295284" y="1976661"/>
                  <a:pt x="7275347" y="1972691"/>
                  <a:pt x="7284519" y="1991041"/>
                </a:cubicBezTo>
                <a:cubicBezTo>
                  <a:pt x="7293734" y="2009462"/>
                  <a:pt x="7330549" y="1988400"/>
                  <a:pt x="7319784" y="2014724"/>
                </a:cubicBezTo>
                <a:cubicBezTo>
                  <a:pt x="7309063" y="2040900"/>
                  <a:pt x="7289126" y="2026517"/>
                  <a:pt x="7309063" y="2055364"/>
                </a:cubicBezTo>
                <a:cubicBezTo>
                  <a:pt x="7320947" y="2072588"/>
                  <a:pt x="7354148" y="2071123"/>
                  <a:pt x="7377658" y="2069625"/>
                </a:cubicBezTo>
                <a:cubicBezTo>
                  <a:pt x="7393591" y="2068635"/>
                  <a:pt x="7405088" y="2067641"/>
                  <a:pt x="7402589" y="2072473"/>
                </a:cubicBezTo>
                <a:cubicBezTo>
                  <a:pt x="7396520" y="2084211"/>
                  <a:pt x="7345878" y="2081587"/>
                  <a:pt x="7339721" y="2098692"/>
                </a:cubicBezTo>
                <a:cubicBezTo>
                  <a:pt x="7333652" y="2115649"/>
                  <a:pt x="7338216" y="2127543"/>
                  <a:pt x="7358152" y="2147222"/>
                </a:cubicBezTo>
                <a:cubicBezTo>
                  <a:pt x="7378133" y="2166898"/>
                  <a:pt x="7394967" y="2152437"/>
                  <a:pt x="7401084" y="2169475"/>
                </a:cubicBezTo>
                <a:cubicBezTo>
                  <a:pt x="7407241" y="2186584"/>
                  <a:pt x="7385796" y="2203587"/>
                  <a:pt x="7396520" y="2203587"/>
                </a:cubicBezTo>
                <a:cubicBezTo>
                  <a:pt x="7407241" y="2203587"/>
                  <a:pt x="7424079" y="2197040"/>
                  <a:pt x="7422570" y="2214132"/>
                </a:cubicBezTo>
                <a:cubicBezTo>
                  <a:pt x="7421065" y="2231136"/>
                  <a:pt x="7404142" y="2236405"/>
                  <a:pt x="7401084" y="2258739"/>
                </a:cubicBezTo>
                <a:cubicBezTo>
                  <a:pt x="7399446" y="2270582"/>
                  <a:pt x="7403881" y="2270199"/>
                  <a:pt x="7411893" y="2269809"/>
                </a:cubicBezTo>
                <a:cubicBezTo>
                  <a:pt x="7418912" y="2269474"/>
                  <a:pt x="7428687" y="2269087"/>
                  <a:pt x="7439452" y="2277041"/>
                </a:cubicBezTo>
                <a:cubicBezTo>
                  <a:pt x="7462444" y="2294130"/>
                  <a:pt x="7382697" y="2315104"/>
                  <a:pt x="7401084" y="2333491"/>
                </a:cubicBezTo>
                <a:cubicBezTo>
                  <a:pt x="7409910" y="2342290"/>
                  <a:pt x="7426534" y="2336601"/>
                  <a:pt x="7441215" y="2330918"/>
                </a:cubicBezTo>
                <a:cubicBezTo>
                  <a:pt x="7457192" y="2324761"/>
                  <a:pt x="7470927" y="2318607"/>
                  <a:pt x="7470154" y="2330918"/>
                </a:cubicBezTo>
                <a:cubicBezTo>
                  <a:pt x="7469764" y="2336519"/>
                  <a:pt x="7466838" y="2342151"/>
                  <a:pt x="7463047" y="2347569"/>
                </a:cubicBezTo>
                <a:cubicBezTo>
                  <a:pt x="7466536" y="2345854"/>
                  <a:pt x="7470585" y="2344172"/>
                  <a:pt x="7475406" y="2342626"/>
                </a:cubicBezTo>
                <a:cubicBezTo>
                  <a:pt x="7515754" y="2329538"/>
                  <a:pt x="7554336" y="2264947"/>
                  <a:pt x="7515798" y="2248581"/>
                </a:cubicBezTo>
                <a:cubicBezTo>
                  <a:pt x="7496506" y="2240381"/>
                  <a:pt x="7479830" y="2223805"/>
                  <a:pt x="7469732" y="2212008"/>
                </a:cubicBezTo>
                <a:lnTo>
                  <a:pt x="7463780" y="2204372"/>
                </a:lnTo>
                <a:lnTo>
                  <a:pt x="7483489" y="2212389"/>
                </a:lnTo>
                <a:cubicBezTo>
                  <a:pt x="7511614" y="2213757"/>
                  <a:pt x="7556974" y="2197885"/>
                  <a:pt x="7564887" y="2196271"/>
                </a:cubicBezTo>
                <a:cubicBezTo>
                  <a:pt x="7575435" y="2194067"/>
                  <a:pt x="7557869" y="2138440"/>
                  <a:pt x="7531558" y="2117687"/>
                </a:cubicBezTo>
                <a:cubicBezTo>
                  <a:pt x="7505247" y="2096960"/>
                  <a:pt x="7514032" y="2063166"/>
                  <a:pt x="7521006" y="2081668"/>
                </a:cubicBezTo>
                <a:cubicBezTo>
                  <a:pt x="7528028" y="2100191"/>
                  <a:pt x="7596450" y="2101317"/>
                  <a:pt x="7599119" y="2091542"/>
                </a:cubicBezTo>
                <a:cubicBezTo>
                  <a:pt x="7601791" y="2081668"/>
                  <a:pt x="7550850" y="2044599"/>
                  <a:pt x="7563121" y="2044599"/>
                </a:cubicBezTo>
                <a:cubicBezTo>
                  <a:pt x="7575435" y="2044599"/>
                  <a:pt x="7605191" y="2057703"/>
                  <a:pt x="7612210" y="2045674"/>
                </a:cubicBezTo>
                <a:cubicBezTo>
                  <a:pt x="7619228" y="2033718"/>
                  <a:pt x="7608721" y="1967141"/>
                  <a:pt x="7622717" y="1973735"/>
                </a:cubicBezTo>
                <a:cubicBezTo>
                  <a:pt x="7636798" y="1980228"/>
                  <a:pt x="7635076" y="2051139"/>
                  <a:pt x="7635076" y="2051139"/>
                </a:cubicBezTo>
                <a:cubicBezTo>
                  <a:pt x="7651697" y="2052523"/>
                  <a:pt x="7649069" y="2067258"/>
                  <a:pt x="7672752" y="2061521"/>
                </a:cubicBezTo>
                <a:cubicBezTo>
                  <a:pt x="7696392" y="2055798"/>
                  <a:pt x="7674044" y="2076206"/>
                  <a:pt x="7663537" y="2095848"/>
                </a:cubicBezTo>
                <a:cubicBezTo>
                  <a:pt x="7652989" y="2115534"/>
                  <a:pt x="7633310" y="2141672"/>
                  <a:pt x="7651697" y="2149073"/>
                </a:cubicBezTo>
                <a:cubicBezTo>
                  <a:pt x="7668145" y="2155614"/>
                  <a:pt x="7680463" y="2131629"/>
                  <a:pt x="7702552" y="2120609"/>
                </a:cubicBezTo>
                <a:cubicBezTo>
                  <a:pt x="7701301" y="2116337"/>
                  <a:pt x="7700786" y="2111777"/>
                  <a:pt x="7702424" y="2107169"/>
                </a:cubicBezTo>
                <a:cubicBezTo>
                  <a:pt x="7708320" y="2090670"/>
                  <a:pt x="7724554" y="2104663"/>
                  <a:pt x="7743758" y="2085727"/>
                </a:cubicBezTo>
                <a:cubicBezTo>
                  <a:pt x="7762922" y="2066736"/>
                  <a:pt x="7767313" y="2055445"/>
                  <a:pt x="7761413" y="2039048"/>
                </a:cubicBezTo>
                <a:cubicBezTo>
                  <a:pt x="7755473" y="2022563"/>
                  <a:pt x="7724554" y="2009981"/>
                  <a:pt x="7718654" y="1998663"/>
                </a:cubicBezTo>
                <a:cubicBezTo>
                  <a:pt x="7716288" y="1994055"/>
                  <a:pt x="7724425" y="1995045"/>
                  <a:pt x="7736309" y="1995988"/>
                </a:cubicBezTo>
                <a:cubicBezTo>
                  <a:pt x="7753835" y="1997419"/>
                  <a:pt x="7779458" y="1998829"/>
                  <a:pt x="7790911" y="1982242"/>
                </a:cubicBezTo>
                <a:cubicBezTo>
                  <a:pt x="7810075" y="1954439"/>
                  <a:pt x="7808651" y="1968432"/>
                  <a:pt x="7798316" y="1943152"/>
                </a:cubicBezTo>
                <a:cubicBezTo>
                  <a:pt x="7787941" y="1917872"/>
                  <a:pt x="7817263" y="1918530"/>
                  <a:pt x="7823207" y="1900010"/>
                </a:cubicBezTo>
                <a:cubicBezTo>
                  <a:pt x="7840906" y="1844754"/>
                  <a:pt x="7866481" y="1869481"/>
                  <a:pt x="7879230" y="1834592"/>
                </a:cubicBezTo>
                <a:cubicBezTo>
                  <a:pt x="7913505" y="1741595"/>
                  <a:pt x="7950409" y="1803646"/>
                  <a:pt x="7952087" y="1821152"/>
                </a:cubicBezTo>
                <a:cubicBezTo>
                  <a:pt x="7953725" y="1838647"/>
                  <a:pt x="7928061" y="1843943"/>
                  <a:pt x="7982660" y="1882515"/>
                </a:cubicBezTo>
                <a:cubicBezTo>
                  <a:pt x="7992435" y="1889496"/>
                  <a:pt x="8006258" y="1890103"/>
                  <a:pt x="7995924" y="1902767"/>
                </a:cubicBezTo>
                <a:cubicBezTo>
                  <a:pt x="7985589" y="1915383"/>
                  <a:pt x="7993771" y="1921707"/>
                  <a:pt x="7999281" y="1932994"/>
                </a:cubicBezTo>
                <a:cubicBezTo>
                  <a:pt x="8004794" y="1944366"/>
                  <a:pt x="8023998" y="1939368"/>
                  <a:pt x="8015128" y="1957013"/>
                </a:cubicBezTo>
                <a:cubicBezTo>
                  <a:pt x="8006299" y="1974678"/>
                  <a:pt x="7994459" y="1994859"/>
                  <a:pt x="8009229" y="1997364"/>
                </a:cubicBezTo>
                <a:cubicBezTo>
                  <a:pt x="8023998" y="1999907"/>
                  <a:pt x="8054917" y="2004953"/>
                  <a:pt x="8049061" y="2017569"/>
                </a:cubicBezTo>
                <a:cubicBezTo>
                  <a:pt x="8043118" y="2030135"/>
                  <a:pt x="8009917" y="2033966"/>
                  <a:pt x="8012501" y="2047827"/>
                </a:cubicBezTo>
                <a:cubicBezTo>
                  <a:pt x="8015128" y="2061708"/>
                  <a:pt x="8069771" y="2080980"/>
                  <a:pt x="8102887" y="2080644"/>
                </a:cubicBezTo>
                <a:cubicBezTo>
                  <a:pt x="8128551" y="2080424"/>
                  <a:pt x="8085921" y="2109658"/>
                  <a:pt x="8078512" y="2133650"/>
                </a:cubicBezTo>
                <a:cubicBezTo>
                  <a:pt x="8076230" y="2141150"/>
                  <a:pt x="8079116" y="2144415"/>
                  <a:pt x="8084283" y="2146059"/>
                </a:cubicBezTo>
                <a:cubicBezTo>
                  <a:pt x="8085402" y="2142747"/>
                  <a:pt x="8092810" y="2141485"/>
                  <a:pt x="8098710" y="2138220"/>
                </a:cubicBezTo>
                <a:cubicBezTo>
                  <a:pt x="8146375" y="2111997"/>
                  <a:pt x="8123987" y="2108332"/>
                  <a:pt x="8125408" y="2096458"/>
                </a:cubicBezTo>
                <a:cubicBezTo>
                  <a:pt x="8126869" y="2084564"/>
                  <a:pt x="8158995" y="2042361"/>
                  <a:pt x="8188876" y="2105623"/>
                </a:cubicBezTo>
                <a:cubicBezTo>
                  <a:pt x="8200072" y="2129306"/>
                  <a:pt x="8222335" y="2112502"/>
                  <a:pt x="8237752" y="2150063"/>
                </a:cubicBezTo>
                <a:cubicBezTo>
                  <a:pt x="8242919" y="2162629"/>
                  <a:pt x="8268454" y="2162205"/>
                  <a:pt x="8259455" y="2179429"/>
                </a:cubicBezTo>
                <a:cubicBezTo>
                  <a:pt x="8251358" y="2194704"/>
                  <a:pt x="8249636" y="2188933"/>
                  <a:pt x="8261262" y="2201048"/>
                </a:cubicBezTo>
                <a:cubicBezTo>
                  <a:pt x="8270176" y="2199193"/>
                  <a:pt x="8277323" y="2196742"/>
                  <a:pt x="8279649" y="2192771"/>
                </a:cubicBezTo>
                <a:cubicBezTo>
                  <a:pt x="8287529" y="2179348"/>
                  <a:pt x="8269098" y="2169173"/>
                  <a:pt x="8253382" y="2146700"/>
                </a:cubicBezTo>
                <a:cubicBezTo>
                  <a:pt x="8237623" y="2124261"/>
                  <a:pt x="8241583" y="2124261"/>
                  <a:pt x="8267850" y="2124261"/>
                </a:cubicBezTo>
                <a:cubicBezTo>
                  <a:pt x="8294076" y="2124261"/>
                  <a:pt x="8254674" y="2102812"/>
                  <a:pt x="8253382" y="2082631"/>
                </a:cubicBezTo>
                <a:cubicBezTo>
                  <a:pt x="8252694" y="2072120"/>
                  <a:pt x="8264449" y="2077362"/>
                  <a:pt x="8278100" y="2082665"/>
                </a:cubicBezTo>
                <a:cubicBezTo>
                  <a:pt x="8290672" y="2087575"/>
                  <a:pt x="8304926" y="2092433"/>
                  <a:pt x="8312504" y="2084899"/>
                </a:cubicBezTo>
                <a:cubicBezTo>
                  <a:pt x="8328264" y="2069059"/>
                  <a:pt x="8259926" y="2051139"/>
                  <a:pt x="8279649" y="2036560"/>
                </a:cubicBezTo>
                <a:cubicBezTo>
                  <a:pt x="8299328" y="2021906"/>
                  <a:pt x="8346651" y="2012958"/>
                  <a:pt x="8344027" y="1993784"/>
                </a:cubicBezTo>
                <a:cubicBezTo>
                  <a:pt x="8341399" y="1974708"/>
                  <a:pt x="8326972" y="1970202"/>
                  <a:pt x="8325639" y="1955636"/>
                </a:cubicBezTo>
                <a:cubicBezTo>
                  <a:pt x="8324303" y="1940999"/>
                  <a:pt x="8338727" y="1946634"/>
                  <a:pt x="8347943" y="1946634"/>
                </a:cubicBezTo>
                <a:cubicBezTo>
                  <a:pt x="8357158" y="1946634"/>
                  <a:pt x="8338727" y="1932000"/>
                  <a:pt x="8344027" y="1917401"/>
                </a:cubicBezTo>
                <a:cubicBezTo>
                  <a:pt x="8349279" y="1902767"/>
                  <a:pt x="8363702" y="1915163"/>
                  <a:pt x="8380842" y="1898274"/>
                </a:cubicBezTo>
                <a:cubicBezTo>
                  <a:pt x="8397893" y="1881436"/>
                  <a:pt x="8401812" y="1871278"/>
                  <a:pt x="8396601" y="1856729"/>
                </a:cubicBezTo>
                <a:cubicBezTo>
                  <a:pt x="8391305" y="1842099"/>
                  <a:pt x="8363746" y="1830842"/>
                  <a:pt x="8358494" y="1820735"/>
                </a:cubicBezTo>
                <a:cubicBezTo>
                  <a:pt x="8356382" y="1816645"/>
                  <a:pt x="8363662" y="1817507"/>
                  <a:pt x="8374210" y="1818361"/>
                </a:cubicBezTo>
                <a:cubicBezTo>
                  <a:pt x="8389840" y="1819605"/>
                  <a:pt x="8412662" y="1820904"/>
                  <a:pt x="8422868" y="1806135"/>
                </a:cubicBezTo>
                <a:cubicBezTo>
                  <a:pt x="8439919" y="1781373"/>
                  <a:pt x="8438671" y="1793769"/>
                  <a:pt x="8429456" y="1771245"/>
                </a:cubicBezTo>
                <a:cubicBezTo>
                  <a:pt x="8420240" y="1748823"/>
                  <a:pt x="8446294" y="1749332"/>
                  <a:pt x="8451590" y="1732843"/>
                </a:cubicBezTo>
                <a:cubicBezTo>
                  <a:pt x="8467393" y="1683629"/>
                  <a:pt x="8490131" y="1705630"/>
                  <a:pt x="8501584" y="1674630"/>
                </a:cubicBezTo>
                <a:cubicBezTo>
                  <a:pt x="8532113" y="1591740"/>
                  <a:pt x="8564927" y="1647027"/>
                  <a:pt x="8566433" y="1662621"/>
                </a:cubicBezTo>
                <a:cubicBezTo>
                  <a:pt x="8567941" y="1678197"/>
                  <a:pt x="8545031" y="1682971"/>
                  <a:pt x="8593690" y="1717304"/>
                </a:cubicBezTo>
                <a:cubicBezTo>
                  <a:pt x="8602390" y="1723462"/>
                  <a:pt x="8614705" y="1724065"/>
                  <a:pt x="8605533" y="1735251"/>
                </a:cubicBezTo>
                <a:cubicBezTo>
                  <a:pt x="8596317" y="1746538"/>
                  <a:pt x="8603594" y="1752173"/>
                  <a:pt x="8608459" y="1762250"/>
                </a:cubicBezTo>
                <a:cubicBezTo>
                  <a:pt x="8613413" y="1772374"/>
                  <a:pt x="8630508" y="1767899"/>
                  <a:pt x="8622584" y="1783658"/>
                </a:cubicBezTo>
                <a:cubicBezTo>
                  <a:pt x="8614745" y="1799374"/>
                  <a:pt x="8604153" y="1817368"/>
                  <a:pt x="8617329" y="1819572"/>
                </a:cubicBezTo>
                <a:cubicBezTo>
                  <a:pt x="8624737" y="1820904"/>
                  <a:pt x="8636577" y="1822918"/>
                  <a:pt x="8644674" y="1826366"/>
                </a:cubicBezTo>
                <a:cubicBezTo>
                  <a:pt x="8637784" y="1817842"/>
                  <a:pt x="8628698" y="1812339"/>
                  <a:pt x="8627535" y="1802046"/>
                </a:cubicBezTo>
                <a:cubicBezTo>
                  <a:pt x="8625772" y="1786842"/>
                  <a:pt x="8645105" y="1792660"/>
                  <a:pt x="8657335" y="1792660"/>
                </a:cubicBezTo>
                <a:cubicBezTo>
                  <a:pt x="8669605" y="1792660"/>
                  <a:pt x="8645105" y="1777454"/>
                  <a:pt x="8652079" y="1762216"/>
                </a:cubicBezTo>
                <a:cubicBezTo>
                  <a:pt x="8659098" y="1747057"/>
                  <a:pt x="8678346" y="1759931"/>
                  <a:pt x="8701168" y="1742364"/>
                </a:cubicBezTo>
                <a:cubicBezTo>
                  <a:pt x="8723990" y="1724787"/>
                  <a:pt x="8729246" y="1714243"/>
                  <a:pt x="8722227" y="1699036"/>
                </a:cubicBezTo>
                <a:cubicBezTo>
                  <a:pt x="8715205" y="1683849"/>
                  <a:pt x="8657375" y="1686172"/>
                  <a:pt x="8650316" y="1675654"/>
                </a:cubicBezTo>
                <a:cubicBezTo>
                  <a:pt x="8647471" y="1671402"/>
                  <a:pt x="8660562" y="1672311"/>
                  <a:pt x="8678736" y="1673165"/>
                </a:cubicBezTo>
                <a:cubicBezTo>
                  <a:pt x="8705647" y="1674498"/>
                  <a:pt x="8743669" y="1675790"/>
                  <a:pt x="8757276" y="1660417"/>
                </a:cubicBezTo>
                <a:cubicBezTo>
                  <a:pt x="8780057" y="1634713"/>
                  <a:pt x="8757320" y="1647549"/>
                  <a:pt x="8745005" y="1624151"/>
                </a:cubicBezTo>
                <a:cubicBezTo>
                  <a:pt x="8732731" y="1600739"/>
                  <a:pt x="8774802" y="1619458"/>
                  <a:pt x="8785309" y="1603058"/>
                </a:cubicBezTo>
                <a:cubicBezTo>
                  <a:pt x="8795902" y="1586692"/>
                  <a:pt x="8773080" y="1590194"/>
                  <a:pt x="8783587" y="1568003"/>
                </a:cubicBezTo>
                <a:cubicBezTo>
                  <a:pt x="8794139" y="1545750"/>
                  <a:pt x="8787076" y="1519948"/>
                  <a:pt x="8829187" y="1517628"/>
                </a:cubicBezTo>
                <a:cubicBezTo>
                  <a:pt x="8829187" y="1517628"/>
                  <a:pt x="8829187" y="1531710"/>
                  <a:pt x="8837972" y="1539898"/>
                </a:cubicBezTo>
                <a:cubicBezTo>
                  <a:pt x="8846713" y="1548073"/>
                  <a:pt x="8866006" y="1546862"/>
                  <a:pt x="8853735" y="1558587"/>
                </a:cubicBezTo>
                <a:cubicBezTo>
                  <a:pt x="8841461" y="1570291"/>
                  <a:pt x="8851148" y="1576147"/>
                  <a:pt x="8857695" y="1586692"/>
                </a:cubicBezTo>
                <a:cubicBezTo>
                  <a:pt x="8864283" y="1597236"/>
                  <a:pt x="8887105" y="1592544"/>
                  <a:pt x="8876554" y="1608964"/>
                </a:cubicBezTo>
                <a:cubicBezTo>
                  <a:pt x="8866006" y="1625331"/>
                  <a:pt x="8851969" y="1644020"/>
                  <a:pt x="8869495" y="1646370"/>
                </a:cubicBezTo>
                <a:cubicBezTo>
                  <a:pt x="8887105" y="1648743"/>
                  <a:pt x="8923880" y="1653402"/>
                  <a:pt x="8916861" y="1665160"/>
                </a:cubicBezTo>
                <a:cubicBezTo>
                  <a:pt x="8909839" y="1676817"/>
                  <a:pt x="8870396" y="1680350"/>
                  <a:pt x="8873455" y="1693187"/>
                </a:cubicBezTo>
                <a:cubicBezTo>
                  <a:pt x="8876554" y="1706105"/>
                  <a:pt x="8894080" y="1722468"/>
                  <a:pt x="8917763" y="1709635"/>
                </a:cubicBezTo>
                <a:cubicBezTo>
                  <a:pt x="8941406" y="1696666"/>
                  <a:pt x="8897613" y="1736461"/>
                  <a:pt x="8888828" y="1758714"/>
                </a:cubicBezTo>
                <a:cubicBezTo>
                  <a:pt x="8883403" y="1772374"/>
                  <a:pt x="8900539" y="1771903"/>
                  <a:pt x="8919445" y="1771384"/>
                </a:cubicBezTo>
                <a:cubicBezTo>
                  <a:pt x="8931285" y="1771079"/>
                  <a:pt x="8943817" y="1770777"/>
                  <a:pt x="8951954" y="1773971"/>
                </a:cubicBezTo>
                <a:cubicBezTo>
                  <a:pt x="8972969" y="1782116"/>
                  <a:pt x="8946702" y="1792660"/>
                  <a:pt x="8939639" y="1800883"/>
                </a:cubicBezTo>
                <a:cubicBezTo>
                  <a:pt x="8932621" y="1809027"/>
                  <a:pt x="8930898" y="1832439"/>
                  <a:pt x="8946702" y="1831279"/>
                </a:cubicBezTo>
                <a:cubicBezTo>
                  <a:pt x="8956606" y="1830557"/>
                  <a:pt x="8976326" y="1836277"/>
                  <a:pt x="9000484" y="1840414"/>
                </a:cubicBezTo>
                <a:lnTo>
                  <a:pt x="9000785" y="1839169"/>
                </a:lnTo>
                <a:cubicBezTo>
                  <a:pt x="9003325" y="1825597"/>
                  <a:pt x="8970945" y="1821945"/>
                  <a:pt x="8965218" y="1809617"/>
                </a:cubicBezTo>
                <a:cubicBezTo>
                  <a:pt x="8959447" y="1797353"/>
                  <a:pt x="8989634" y="1792440"/>
                  <a:pt x="9004057" y="1789985"/>
                </a:cubicBezTo>
                <a:cubicBezTo>
                  <a:pt x="9018440" y="1787496"/>
                  <a:pt x="9006899" y="1767817"/>
                  <a:pt x="8998286" y="1750593"/>
                </a:cubicBezTo>
                <a:cubicBezTo>
                  <a:pt x="8989634" y="1733369"/>
                  <a:pt x="9008319" y="1738312"/>
                  <a:pt x="9013704" y="1727293"/>
                </a:cubicBezTo>
                <a:cubicBezTo>
                  <a:pt x="9019084" y="1716175"/>
                  <a:pt x="9027052" y="1710021"/>
                  <a:pt x="9016931" y="1697707"/>
                </a:cubicBezTo>
                <a:cubicBezTo>
                  <a:pt x="9006899" y="1685395"/>
                  <a:pt x="9022702" y="1686691"/>
                  <a:pt x="9029894" y="1678028"/>
                </a:cubicBezTo>
                <a:cubicBezTo>
                  <a:pt x="9037085" y="1669415"/>
                  <a:pt x="9037041" y="1654680"/>
                  <a:pt x="9037041" y="1654680"/>
                </a:cubicBezTo>
                <a:cubicBezTo>
                  <a:pt x="9071578" y="1657135"/>
                  <a:pt x="9065851" y="1684232"/>
                  <a:pt x="9074463" y="1707563"/>
                </a:cubicBezTo>
                <a:cubicBezTo>
                  <a:pt x="9083116" y="1730945"/>
                  <a:pt x="9064386" y="1727293"/>
                  <a:pt x="9072998" y="1744436"/>
                </a:cubicBezTo>
                <a:cubicBezTo>
                  <a:pt x="9081655" y="1761694"/>
                  <a:pt x="9116188" y="1742012"/>
                  <a:pt x="9106111" y="1766604"/>
                </a:cubicBezTo>
                <a:cubicBezTo>
                  <a:pt x="9095993" y="1791196"/>
                  <a:pt x="9077348" y="1777674"/>
                  <a:pt x="9095993" y="1804755"/>
                </a:cubicBezTo>
                <a:cubicBezTo>
                  <a:pt x="9107189" y="1820904"/>
                  <a:pt x="9138322" y="1819521"/>
                  <a:pt x="9160367" y="1818107"/>
                </a:cubicBezTo>
                <a:cubicBezTo>
                  <a:pt x="9175310" y="1817202"/>
                  <a:pt x="9186075" y="1816262"/>
                  <a:pt x="9183705" y="1820735"/>
                </a:cubicBezTo>
                <a:cubicBezTo>
                  <a:pt x="9177978" y="1831835"/>
                  <a:pt x="9130571" y="1829296"/>
                  <a:pt x="9124800" y="1845276"/>
                </a:cubicBezTo>
                <a:cubicBezTo>
                  <a:pt x="9119029" y="1861289"/>
                  <a:pt x="9123335" y="1872356"/>
                  <a:pt x="9142068" y="1890876"/>
                </a:cubicBezTo>
                <a:cubicBezTo>
                  <a:pt x="9160754" y="1909260"/>
                  <a:pt x="9176517" y="1895738"/>
                  <a:pt x="9182284" y="1911718"/>
                </a:cubicBezTo>
                <a:cubicBezTo>
                  <a:pt x="9188055" y="1927694"/>
                  <a:pt x="9167905" y="1943674"/>
                  <a:pt x="9177978" y="1943674"/>
                </a:cubicBezTo>
                <a:cubicBezTo>
                  <a:pt x="9188055" y="1943674"/>
                  <a:pt x="9203859" y="1937554"/>
                  <a:pt x="9202438" y="1953531"/>
                </a:cubicBezTo>
                <a:cubicBezTo>
                  <a:pt x="9201017" y="1969511"/>
                  <a:pt x="9185170" y="1974458"/>
                  <a:pt x="9182284" y="1995299"/>
                </a:cubicBezTo>
                <a:cubicBezTo>
                  <a:pt x="9180779" y="2006451"/>
                  <a:pt x="9184956" y="2006112"/>
                  <a:pt x="9192449" y="2005729"/>
                </a:cubicBezTo>
                <a:cubicBezTo>
                  <a:pt x="9199037" y="2005420"/>
                  <a:pt x="9208165" y="2005068"/>
                  <a:pt x="9218241" y="2012571"/>
                </a:cubicBezTo>
                <a:cubicBezTo>
                  <a:pt x="9239772" y="2028534"/>
                  <a:pt x="9165060" y="2048217"/>
                  <a:pt x="9182284" y="2065441"/>
                </a:cubicBezTo>
                <a:cubicBezTo>
                  <a:pt x="9190554" y="2073717"/>
                  <a:pt x="9206096" y="2068364"/>
                  <a:pt x="9219876" y="2063034"/>
                </a:cubicBezTo>
                <a:cubicBezTo>
                  <a:pt x="9234862" y="2057263"/>
                  <a:pt x="9247740" y="2051444"/>
                  <a:pt x="9247004" y="2063034"/>
                </a:cubicBezTo>
                <a:cubicBezTo>
                  <a:pt x="9245587" y="2085120"/>
                  <a:pt x="9202438" y="2108501"/>
                  <a:pt x="9231160" y="2108501"/>
                </a:cubicBezTo>
                <a:cubicBezTo>
                  <a:pt x="9259922" y="2108501"/>
                  <a:pt x="9264228" y="2108501"/>
                  <a:pt x="9247004" y="2133093"/>
                </a:cubicBezTo>
                <a:cubicBezTo>
                  <a:pt x="9229780" y="2157685"/>
                  <a:pt x="9192361" y="2168752"/>
                  <a:pt x="9200973" y="2183552"/>
                </a:cubicBezTo>
                <a:cubicBezTo>
                  <a:pt x="9209629" y="2198240"/>
                  <a:pt x="9261346" y="2193378"/>
                  <a:pt x="9259966" y="2211813"/>
                </a:cubicBezTo>
                <a:cubicBezTo>
                  <a:pt x="9258505" y="2230282"/>
                  <a:pt x="9232624" y="2235195"/>
                  <a:pt x="9225389" y="2256064"/>
                </a:cubicBezTo>
                <a:lnTo>
                  <a:pt x="9225260" y="2256806"/>
                </a:lnTo>
                <a:cubicBezTo>
                  <a:pt x="9232753" y="2254785"/>
                  <a:pt x="9241108" y="2257061"/>
                  <a:pt x="9252863" y="2259346"/>
                </a:cubicBezTo>
                <a:cubicBezTo>
                  <a:pt x="9265089" y="2261719"/>
                  <a:pt x="9280981" y="2264093"/>
                  <a:pt x="9303457" y="2261587"/>
                </a:cubicBezTo>
                <a:cubicBezTo>
                  <a:pt x="9356981" y="2255596"/>
                  <a:pt x="9392895" y="2250822"/>
                  <a:pt x="9425146" y="2232099"/>
                </a:cubicBezTo>
                <a:cubicBezTo>
                  <a:pt x="9420453" y="2221280"/>
                  <a:pt x="9415157" y="2210433"/>
                  <a:pt x="9409431" y="2199363"/>
                </a:cubicBezTo>
                <a:cubicBezTo>
                  <a:pt x="9389579" y="2201384"/>
                  <a:pt x="9387514" y="2199885"/>
                  <a:pt x="9379332" y="2188042"/>
                </a:cubicBezTo>
                <a:cubicBezTo>
                  <a:pt x="9369384" y="2173611"/>
                  <a:pt x="9353496" y="2152166"/>
                  <a:pt x="9383119" y="2148768"/>
                </a:cubicBezTo>
                <a:lnTo>
                  <a:pt x="9379976" y="2142475"/>
                </a:lnTo>
                <a:cubicBezTo>
                  <a:pt x="9372656" y="2127272"/>
                  <a:pt x="9366628" y="2110566"/>
                  <a:pt x="9362623" y="2094807"/>
                </a:cubicBezTo>
                <a:lnTo>
                  <a:pt x="9359395" y="2094034"/>
                </a:lnTo>
                <a:cubicBezTo>
                  <a:pt x="9343246" y="2088568"/>
                  <a:pt x="9341222" y="2083876"/>
                  <a:pt x="9358490" y="2074273"/>
                </a:cubicBezTo>
                <a:cubicBezTo>
                  <a:pt x="9352936" y="2035095"/>
                  <a:pt x="9364949" y="2011279"/>
                  <a:pt x="9410634" y="2052743"/>
                </a:cubicBezTo>
                <a:lnTo>
                  <a:pt x="9412445" y="2054340"/>
                </a:lnTo>
                <a:cubicBezTo>
                  <a:pt x="9448789" y="2047881"/>
                  <a:pt x="9485777" y="2050943"/>
                  <a:pt x="9478714" y="2034908"/>
                </a:cubicBezTo>
                <a:cubicBezTo>
                  <a:pt x="9469671" y="2014422"/>
                  <a:pt x="9415459" y="2009645"/>
                  <a:pt x="9413648" y="1991549"/>
                </a:cubicBezTo>
                <a:cubicBezTo>
                  <a:pt x="9412316" y="1977906"/>
                  <a:pt x="9461059" y="1977248"/>
                  <a:pt x="9489910" y="1971616"/>
                </a:cubicBezTo>
                <a:cubicBezTo>
                  <a:pt x="9481728" y="1951595"/>
                  <a:pt x="9476002" y="1932217"/>
                  <a:pt x="9472858" y="1913871"/>
                </a:cubicBezTo>
                <a:cubicBezTo>
                  <a:pt x="9457702" y="1896898"/>
                  <a:pt x="9456495" y="1892120"/>
                  <a:pt x="9470319" y="1890791"/>
                </a:cubicBezTo>
                <a:cubicBezTo>
                  <a:pt x="9469542" y="1875886"/>
                  <a:pt x="9470750" y="1862025"/>
                  <a:pt x="9474194" y="1849497"/>
                </a:cubicBezTo>
                <a:lnTo>
                  <a:pt x="9473289" y="1845577"/>
                </a:lnTo>
                <a:lnTo>
                  <a:pt x="9477209" y="1839556"/>
                </a:lnTo>
                <a:cubicBezTo>
                  <a:pt x="9480308" y="1831415"/>
                  <a:pt x="9484098" y="1823695"/>
                  <a:pt x="9489350" y="1817032"/>
                </a:cubicBezTo>
                <a:cubicBezTo>
                  <a:pt x="9495725" y="1808756"/>
                  <a:pt x="9500848" y="1805056"/>
                  <a:pt x="9505069" y="1804236"/>
                </a:cubicBezTo>
                <a:cubicBezTo>
                  <a:pt x="9503991" y="1801493"/>
                  <a:pt x="9504896" y="1798767"/>
                  <a:pt x="9509416" y="1796143"/>
                </a:cubicBezTo>
                <a:cubicBezTo>
                  <a:pt x="9536544" y="1780464"/>
                  <a:pt x="9601566" y="1770862"/>
                  <a:pt x="9597992" y="1750322"/>
                </a:cubicBezTo>
                <a:cubicBezTo>
                  <a:pt x="9594333" y="1729788"/>
                  <a:pt x="9574437" y="1725008"/>
                  <a:pt x="9572630" y="1709333"/>
                </a:cubicBezTo>
                <a:cubicBezTo>
                  <a:pt x="9570820" y="1693655"/>
                  <a:pt x="9590760" y="1699690"/>
                  <a:pt x="9603376" y="1699690"/>
                </a:cubicBezTo>
                <a:cubicBezTo>
                  <a:pt x="9615993" y="1699690"/>
                  <a:pt x="9590760" y="1684049"/>
                  <a:pt x="9597992" y="1668341"/>
                </a:cubicBezTo>
                <a:cubicBezTo>
                  <a:pt x="9605143" y="1652663"/>
                  <a:pt x="9624991" y="1665933"/>
                  <a:pt x="9648502" y="1647834"/>
                </a:cubicBezTo>
                <a:cubicBezTo>
                  <a:pt x="9653540" y="1643966"/>
                  <a:pt x="9657588" y="1640483"/>
                  <a:pt x="9660989" y="1637171"/>
                </a:cubicBezTo>
                <a:cubicBezTo>
                  <a:pt x="9625937" y="1611372"/>
                  <a:pt x="9589939" y="1586305"/>
                  <a:pt x="9589939" y="1555139"/>
                </a:cubicBezTo>
                <a:cubicBezTo>
                  <a:pt x="9589939" y="1506528"/>
                  <a:pt x="9594333" y="1495240"/>
                  <a:pt x="9629297" y="1532645"/>
                </a:cubicBezTo>
                <a:cubicBezTo>
                  <a:pt x="9639805" y="1543851"/>
                  <a:pt x="9650655" y="1553928"/>
                  <a:pt x="9661464" y="1562788"/>
                </a:cubicBezTo>
                <a:cubicBezTo>
                  <a:pt x="9678732" y="1562622"/>
                  <a:pt x="9696689" y="1559913"/>
                  <a:pt x="9706335" y="1548978"/>
                </a:cubicBezTo>
                <a:cubicBezTo>
                  <a:pt x="9729801" y="1522453"/>
                  <a:pt x="9728035" y="1535707"/>
                  <a:pt x="9715374" y="1511607"/>
                </a:cubicBezTo>
                <a:cubicBezTo>
                  <a:pt x="9710553" y="1502388"/>
                  <a:pt x="9712835" y="1496736"/>
                  <a:pt x="9717873" y="1492399"/>
                </a:cubicBezTo>
                <a:cubicBezTo>
                  <a:pt x="9695353" y="1472245"/>
                  <a:pt x="9683771" y="1459056"/>
                  <a:pt x="9708054" y="1427889"/>
                </a:cubicBezTo>
                <a:cubicBezTo>
                  <a:pt x="9740309" y="1386511"/>
                  <a:pt x="9731737" y="1424712"/>
                  <a:pt x="9761192" y="1445551"/>
                </a:cubicBezTo>
                <a:cubicBezTo>
                  <a:pt x="9764894" y="1441581"/>
                  <a:pt x="9768729" y="1438655"/>
                  <a:pt x="9772604" y="1436451"/>
                </a:cubicBezTo>
                <a:cubicBezTo>
                  <a:pt x="9762182" y="1418806"/>
                  <a:pt x="9747283" y="1389355"/>
                  <a:pt x="9751806" y="1353089"/>
                </a:cubicBezTo>
                <a:cubicBezTo>
                  <a:pt x="9760547" y="1281958"/>
                  <a:pt x="9778029" y="1319380"/>
                  <a:pt x="9795511" y="1349356"/>
                </a:cubicBezTo>
                <a:cubicBezTo>
                  <a:pt x="9813037" y="1379278"/>
                  <a:pt x="9858899" y="1263269"/>
                  <a:pt x="9860017" y="1214689"/>
                </a:cubicBezTo>
                <a:cubicBezTo>
                  <a:pt x="9861136" y="1165993"/>
                  <a:pt x="9869877" y="1136020"/>
                  <a:pt x="9913626" y="1139821"/>
                </a:cubicBezTo>
                <a:cubicBezTo>
                  <a:pt x="9913626" y="1139821"/>
                  <a:pt x="9931108" y="1162290"/>
                  <a:pt x="9944243" y="1218408"/>
                </a:cubicBezTo>
                <a:cubicBezTo>
                  <a:pt x="9957334" y="1274468"/>
                  <a:pt x="9931108" y="1323164"/>
                  <a:pt x="9944243" y="1356789"/>
                </a:cubicBezTo>
                <a:cubicBezTo>
                  <a:pt x="9957334" y="1390512"/>
                  <a:pt x="9974816" y="1435373"/>
                  <a:pt x="10014218" y="1390512"/>
                </a:cubicBezTo>
                <a:cubicBezTo>
                  <a:pt x="10053617" y="1345640"/>
                  <a:pt x="10066708" y="1360925"/>
                  <a:pt x="10049223" y="1409370"/>
                </a:cubicBezTo>
                <a:cubicBezTo>
                  <a:pt x="10031741" y="1457812"/>
                  <a:pt x="9966116" y="1532645"/>
                  <a:pt x="10027350" y="1543902"/>
                </a:cubicBezTo>
                <a:cubicBezTo>
                  <a:pt x="10088581" y="1555139"/>
                  <a:pt x="10092975" y="1525213"/>
                  <a:pt x="10119198" y="1514011"/>
                </a:cubicBezTo>
                <a:cubicBezTo>
                  <a:pt x="10139566" y="1505263"/>
                  <a:pt x="10123074" y="1588624"/>
                  <a:pt x="10098312" y="1647499"/>
                </a:cubicBezTo>
                <a:lnTo>
                  <a:pt x="10097193" y="1650170"/>
                </a:lnTo>
                <a:cubicBezTo>
                  <a:pt x="10090304" y="1666133"/>
                  <a:pt x="10082898" y="1680269"/>
                  <a:pt x="10075449" y="1689817"/>
                </a:cubicBezTo>
                <a:cubicBezTo>
                  <a:pt x="10070841" y="1695723"/>
                  <a:pt x="10068085" y="1701073"/>
                  <a:pt x="10066664" y="1705966"/>
                </a:cubicBezTo>
                <a:cubicBezTo>
                  <a:pt x="10072778" y="1707180"/>
                  <a:pt x="10081390" y="1706926"/>
                  <a:pt x="10090348" y="1706705"/>
                </a:cubicBezTo>
                <a:cubicBezTo>
                  <a:pt x="10102493" y="1706404"/>
                  <a:pt x="10115323" y="1706105"/>
                  <a:pt x="10123677" y="1709333"/>
                </a:cubicBezTo>
                <a:cubicBezTo>
                  <a:pt x="10145336" y="1717772"/>
                  <a:pt x="10118252" y="1728626"/>
                  <a:pt x="10111061" y="1737068"/>
                </a:cubicBezTo>
                <a:lnTo>
                  <a:pt x="10106626" y="1746704"/>
                </a:lnTo>
                <a:cubicBezTo>
                  <a:pt x="10115109" y="1748742"/>
                  <a:pt x="10123118" y="1749634"/>
                  <a:pt x="10128370" y="1749634"/>
                </a:cubicBezTo>
                <a:cubicBezTo>
                  <a:pt x="10149815" y="1749634"/>
                  <a:pt x="10184779" y="1745935"/>
                  <a:pt x="10206655" y="1723496"/>
                </a:cubicBezTo>
                <a:cubicBezTo>
                  <a:pt x="10217505" y="1712310"/>
                  <a:pt x="10214362" y="1740906"/>
                  <a:pt x="10201444" y="1781119"/>
                </a:cubicBezTo>
                <a:cubicBezTo>
                  <a:pt x="10207991" y="1781593"/>
                  <a:pt x="10214535" y="1781844"/>
                  <a:pt x="10221252" y="1781709"/>
                </a:cubicBezTo>
                <a:cubicBezTo>
                  <a:pt x="10253849" y="1780766"/>
                  <a:pt x="10222415" y="1793769"/>
                  <a:pt x="10192832" y="1805579"/>
                </a:cubicBezTo>
                <a:cubicBezTo>
                  <a:pt x="10184006" y="1829042"/>
                  <a:pt x="10172593" y="1854190"/>
                  <a:pt x="10159289" y="1876964"/>
                </a:cubicBezTo>
                <a:lnTo>
                  <a:pt x="10168847" y="1875720"/>
                </a:lnTo>
                <a:cubicBezTo>
                  <a:pt x="10203166" y="1869698"/>
                  <a:pt x="10234428" y="1863660"/>
                  <a:pt x="10235031" y="1873316"/>
                </a:cubicBezTo>
                <a:cubicBezTo>
                  <a:pt x="10235635" y="1882952"/>
                  <a:pt x="10204933" y="1910724"/>
                  <a:pt x="10168847" y="1915549"/>
                </a:cubicBezTo>
                <a:cubicBezTo>
                  <a:pt x="10150158" y="1918038"/>
                  <a:pt x="10135734" y="1919638"/>
                  <a:pt x="10126647" y="1922836"/>
                </a:cubicBezTo>
                <a:cubicBezTo>
                  <a:pt x="10122687" y="1927559"/>
                  <a:pt x="10119198" y="1931617"/>
                  <a:pt x="10115926" y="1935367"/>
                </a:cubicBezTo>
                <a:lnTo>
                  <a:pt x="10116140" y="1938460"/>
                </a:lnTo>
                <a:cubicBezTo>
                  <a:pt x="10119198" y="1951632"/>
                  <a:pt x="10147272" y="1952320"/>
                  <a:pt x="10168114" y="1953704"/>
                </a:cubicBezTo>
                <a:cubicBezTo>
                  <a:pt x="10197826" y="1943322"/>
                  <a:pt x="10230166" y="1923944"/>
                  <a:pt x="10256646" y="1901387"/>
                </a:cubicBezTo>
                <a:cubicBezTo>
                  <a:pt x="10255443" y="1895148"/>
                  <a:pt x="10254236" y="1889547"/>
                  <a:pt x="10252944" y="1885461"/>
                </a:cubicBezTo>
                <a:cubicBezTo>
                  <a:pt x="10239422" y="1842434"/>
                  <a:pt x="10259749" y="1781895"/>
                  <a:pt x="10268747" y="1822918"/>
                </a:cubicBezTo>
                <a:cubicBezTo>
                  <a:pt x="10271117" y="1833734"/>
                  <a:pt x="10282957" y="1844587"/>
                  <a:pt x="10299666" y="1854664"/>
                </a:cubicBezTo>
                <a:cubicBezTo>
                  <a:pt x="10318786" y="1831025"/>
                  <a:pt x="10323478" y="1842902"/>
                  <a:pt x="10323305" y="1866972"/>
                </a:cubicBezTo>
                <a:cubicBezTo>
                  <a:pt x="10371360" y="1888770"/>
                  <a:pt x="10437202" y="1903275"/>
                  <a:pt x="10462564" y="1897169"/>
                </a:cubicBezTo>
                <a:cubicBezTo>
                  <a:pt x="10503126" y="1887394"/>
                  <a:pt x="10458041" y="1817117"/>
                  <a:pt x="10433283" y="1801439"/>
                </a:cubicBezTo>
                <a:cubicBezTo>
                  <a:pt x="10408521" y="1785811"/>
                  <a:pt x="10388198" y="1764281"/>
                  <a:pt x="10408481" y="1750593"/>
                </a:cubicBezTo>
                <a:cubicBezTo>
                  <a:pt x="10428804" y="1736983"/>
                  <a:pt x="10512125" y="1750593"/>
                  <a:pt x="10503126" y="1701799"/>
                </a:cubicBezTo>
                <a:cubicBezTo>
                  <a:pt x="10494127" y="1652934"/>
                  <a:pt x="10428804" y="1598233"/>
                  <a:pt x="10413000" y="1559174"/>
                </a:cubicBezTo>
                <a:cubicBezTo>
                  <a:pt x="10397197" y="1520036"/>
                  <a:pt x="10363396" y="1453590"/>
                  <a:pt x="10394959" y="1482960"/>
                </a:cubicBezTo>
                <a:cubicBezTo>
                  <a:pt x="10426522" y="1512244"/>
                  <a:pt x="10566252" y="1559174"/>
                  <a:pt x="10576715" y="1541566"/>
                </a:cubicBezTo>
                <a:cubicBezTo>
                  <a:pt x="10587138" y="1523952"/>
                  <a:pt x="10518885" y="1467332"/>
                  <a:pt x="10485085" y="1447741"/>
                </a:cubicBezTo>
                <a:cubicBezTo>
                  <a:pt x="10451324" y="1428225"/>
                  <a:pt x="10440044" y="1393054"/>
                  <a:pt x="10491845" y="1369588"/>
                </a:cubicBezTo>
                <a:cubicBezTo>
                  <a:pt x="10543647" y="1346125"/>
                  <a:pt x="10593295" y="1346125"/>
                  <a:pt x="10543691" y="1316874"/>
                </a:cubicBezTo>
                <a:cubicBezTo>
                  <a:pt x="10494127" y="1287508"/>
                  <a:pt x="10458041" y="1082381"/>
                  <a:pt x="10476086" y="1121471"/>
                </a:cubicBezTo>
                <a:cubicBezTo>
                  <a:pt x="10494127" y="1160527"/>
                  <a:pt x="10593295" y="1227020"/>
                  <a:pt x="10606773" y="1223101"/>
                </a:cubicBezTo>
                <a:cubicBezTo>
                  <a:pt x="10620339" y="1219130"/>
                  <a:pt x="10597774" y="1119484"/>
                  <a:pt x="10563970" y="1082381"/>
                </a:cubicBezTo>
                <a:cubicBezTo>
                  <a:pt x="10530169" y="1045291"/>
                  <a:pt x="10541450" y="984667"/>
                  <a:pt x="10550493" y="1017871"/>
                </a:cubicBezTo>
                <a:cubicBezTo>
                  <a:pt x="10559451" y="1051109"/>
                  <a:pt x="10647379" y="1053093"/>
                  <a:pt x="10650780" y="1035482"/>
                </a:cubicBezTo>
                <a:cubicBezTo>
                  <a:pt x="10654225" y="1017871"/>
                  <a:pt x="10588776" y="951466"/>
                  <a:pt x="10604535" y="951466"/>
                </a:cubicBezTo>
                <a:cubicBezTo>
                  <a:pt x="10620339" y="951466"/>
                  <a:pt x="10658619" y="974895"/>
                  <a:pt x="10667617" y="953446"/>
                </a:cubicBezTo>
                <a:cubicBezTo>
                  <a:pt x="10676660" y="931916"/>
                  <a:pt x="10663138" y="812767"/>
                  <a:pt x="10681183" y="824437"/>
                </a:cubicBezTo>
                <a:cubicBezTo>
                  <a:pt x="10699225" y="836237"/>
                  <a:pt x="10696983" y="963221"/>
                  <a:pt x="10696983" y="963221"/>
                </a:cubicBezTo>
                <a:cubicBezTo>
                  <a:pt x="10718385" y="965629"/>
                  <a:pt x="10715028" y="992069"/>
                  <a:pt x="10745428" y="981741"/>
                </a:cubicBezTo>
                <a:cubicBezTo>
                  <a:pt x="10775828" y="971498"/>
                  <a:pt x="10747107" y="1008133"/>
                  <a:pt x="10733629" y="1043270"/>
                </a:cubicBezTo>
                <a:cubicBezTo>
                  <a:pt x="10720067" y="1078461"/>
                  <a:pt x="10694702" y="1125336"/>
                  <a:pt x="10718385" y="1138559"/>
                </a:cubicBezTo>
                <a:cubicBezTo>
                  <a:pt x="10742068" y="1151779"/>
                  <a:pt x="10758906" y="1096021"/>
                  <a:pt x="10794473" y="1081384"/>
                </a:cubicBezTo>
                <a:cubicBezTo>
                  <a:pt x="10829956" y="1066736"/>
                  <a:pt x="10813033" y="1134169"/>
                  <a:pt x="10785949" y="1163453"/>
                </a:cubicBezTo>
                <a:cubicBezTo>
                  <a:pt x="10758906" y="1192775"/>
                  <a:pt x="10735311" y="1233866"/>
                  <a:pt x="10753867" y="1246984"/>
                </a:cubicBezTo>
                <a:cubicBezTo>
                  <a:pt x="10772472" y="1260173"/>
                  <a:pt x="10826555" y="1244024"/>
                  <a:pt x="10865439" y="1222107"/>
                </a:cubicBezTo>
                <a:cubicBezTo>
                  <a:pt x="10904278" y="1200143"/>
                  <a:pt x="10875556" y="1266060"/>
                  <a:pt x="10865439" y="1289539"/>
                </a:cubicBezTo>
                <a:cubicBezTo>
                  <a:pt x="10862855" y="1295531"/>
                  <a:pt x="10854589" y="1304424"/>
                  <a:pt x="10844339" y="1314420"/>
                </a:cubicBezTo>
                <a:cubicBezTo>
                  <a:pt x="10881371" y="1341853"/>
                  <a:pt x="10920126" y="1360403"/>
                  <a:pt x="10947254" y="1363465"/>
                </a:cubicBezTo>
                <a:cubicBezTo>
                  <a:pt x="10978776" y="1367001"/>
                  <a:pt x="11020887" y="1335360"/>
                  <a:pt x="10973565" y="1293242"/>
                </a:cubicBezTo>
                <a:cubicBezTo>
                  <a:pt x="10926198" y="1251121"/>
                  <a:pt x="10878872" y="1244105"/>
                  <a:pt x="10920943" y="1201987"/>
                </a:cubicBezTo>
                <a:cubicBezTo>
                  <a:pt x="10963057" y="1159835"/>
                  <a:pt x="10947254" y="1205524"/>
                  <a:pt x="10994576" y="1223050"/>
                </a:cubicBezTo>
                <a:cubicBezTo>
                  <a:pt x="11041943" y="1240576"/>
                  <a:pt x="10963057" y="1198458"/>
                  <a:pt x="10973565" y="1131765"/>
                </a:cubicBezTo>
                <a:cubicBezTo>
                  <a:pt x="10984072" y="1065051"/>
                  <a:pt x="11005084" y="1100107"/>
                  <a:pt x="11026183" y="1128283"/>
                </a:cubicBezTo>
                <a:cubicBezTo>
                  <a:pt x="11047198" y="1156306"/>
                  <a:pt x="11102357" y="1047491"/>
                  <a:pt x="11103693" y="1001844"/>
                </a:cubicBezTo>
                <a:cubicBezTo>
                  <a:pt x="11105069" y="956247"/>
                  <a:pt x="11115577" y="928129"/>
                  <a:pt x="11168155" y="931614"/>
                </a:cubicBezTo>
                <a:cubicBezTo>
                  <a:pt x="11168155" y="931614"/>
                  <a:pt x="11189254" y="952714"/>
                  <a:pt x="11205014" y="1005339"/>
                </a:cubicBezTo>
                <a:cubicBezTo>
                  <a:pt x="11220817" y="1058006"/>
                  <a:pt x="11189254" y="1103640"/>
                  <a:pt x="11205014" y="1135298"/>
                </a:cubicBezTo>
                <a:cubicBezTo>
                  <a:pt x="11220817" y="1166901"/>
                  <a:pt x="11241832" y="1208969"/>
                  <a:pt x="11289199" y="1166901"/>
                </a:cubicBezTo>
                <a:cubicBezTo>
                  <a:pt x="11336566" y="1124750"/>
                  <a:pt x="11352369" y="1139163"/>
                  <a:pt x="11331270" y="1184546"/>
                </a:cubicBezTo>
                <a:cubicBezTo>
                  <a:pt x="11310211" y="1230065"/>
                  <a:pt x="11231325" y="1300305"/>
                  <a:pt x="11304959" y="1310802"/>
                </a:cubicBezTo>
                <a:cubicBezTo>
                  <a:pt x="11378636" y="1321313"/>
                  <a:pt x="11383888" y="1293242"/>
                  <a:pt x="11415495" y="1282728"/>
                </a:cubicBezTo>
                <a:cubicBezTo>
                  <a:pt x="11447014" y="1272234"/>
                  <a:pt x="11404944" y="1405583"/>
                  <a:pt x="11362833" y="1447741"/>
                </a:cubicBezTo>
                <a:cubicBezTo>
                  <a:pt x="11320762" y="1489856"/>
                  <a:pt x="11400638" y="1503886"/>
                  <a:pt x="11426433" y="1503886"/>
                </a:cubicBezTo>
                <a:cubicBezTo>
                  <a:pt x="11444777" y="1503886"/>
                  <a:pt x="11471217" y="1501950"/>
                  <a:pt x="11494510" y="1493474"/>
                </a:cubicBezTo>
                <a:cubicBezTo>
                  <a:pt x="11451107" y="1469353"/>
                  <a:pt x="11402621" y="1454635"/>
                  <a:pt x="11426562" y="1423885"/>
                </a:cubicBezTo>
                <a:cubicBezTo>
                  <a:pt x="11440986" y="1405417"/>
                  <a:pt x="11454508" y="1411493"/>
                  <a:pt x="11478106" y="1417562"/>
                </a:cubicBezTo>
                <a:cubicBezTo>
                  <a:pt x="11494768" y="1421817"/>
                  <a:pt x="11516430" y="1426072"/>
                  <a:pt x="11546874" y="1421732"/>
                </a:cubicBezTo>
                <a:cubicBezTo>
                  <a:pt x="11620505" y="1411306"/>
                  <a:pt x="11669638" y="1402911"/>
                  <a:pt x="11713817" y="1369236"/>
                </a:cubicBezTo>
                <a:cubicBezTo>
                  <a:pt x="11758041" y="1335696"/>
                  <a:pt x="11787451" y="1299952"/>
                  <a:pt x="11726091" y="1308344"/>
                </a:cubicBezTo>
                <a:cubicBezTo>
                  <a:pt x="11664772" y="1316790"/>
                  <a:pt x="11664772" y="1320960"/>
                  <a:pt x="11650047" y="1293659"/>
                </a:cubicBezTo>
                <a:cubicBezTo>
                  <a:pt x="11635277" y="1266361"/>
                  <a:pt x="11610733" y="1224345"/>
                  <a:pt x="11667183" y="1224345"/>
                </a:cubicBezTo>
                <a:cubicBezTo>
                  <a:pt x="11723681" y="1224345"/>
                  <a:pt x="11755545" y="1249574"/>
                  <a:pt x="11780131" y="1199197"/>
                </a:cubicBezTo>
                <a:cubicBezTo>
                  <a:pt x="11804675" y="1148718"/>
                  <a:pt x="11858718" y="1134087"/>
                  <a:pt x="11799769" y="1131982"/>
                </a:cubicBezTo>
                <a:cubicBezTo>
                  <a:pt x="11778066" y="1131209"/>
                  <a:pt x="11756363" y="1132402"/>
                  <a:pt x="11736080" y="1133613"/>
                </a:cubicBezTo>
                <a:cubicBezTo>
                  <a:pt x="11701418" y="1135718"/>
                  <a:pt x="11671058" y="1137786"/>
                  <a:pt x="11652414" y="1129863"/>
                </a:cubicBezTo>
                <a:cubicBezTo>
                  <a:pt x="11623003" y="1117297"/>
                  <a:pt x="11627869" y="1106786"/>
                  <a:pt x="11684367" y="1075230"/>
                </a:cubicBezTo>
                <a:cubicBezTo>
                  <a:pt x="11740861" y="1043792"/>
                  <a:pt x="11826768" y="1062647"/>
                  <a:pt x="11814494" y="1026954"/>
                </a:cubicBezTo>
                <a:cubicBezTo>
                  <a:pt x="11802224" y="991262"/>
                  <a:pt x="11758041" y="982900"/>
                  <a:pt x="11755586" y="951337"/>
                </a:cubicBezTo>
                <a:cubicBezTo>
                  <a:pt x="11753091" y="919903"/>
                  <a:pt x="11841494" y="928213"/>
                  <a:pt x="11856219" y="903065"/>
                </a:cubicBezTo>
                <a:cubicBezTo>
                  <a:pt x="11870989" y="877832"/>
                  <a:pt x="11807089" y="858930"/>
                  <a:pt x="11777676" y="816944"/>
                </a:cubicBezTo>
                <a:cubicBezTo>
                  <a:pt x="11748181" y="774962"/>
                  <a:pt x="11755586" y="774962"/>
                  <a:pt x="11804675" y="774962"/>
                </a:cubicBezTo>
                <a:cubicBezTo>
                  <a:pt x="11853764" y="774962"/>
                  <a:pt x="11780131" y="735044"/>
                  <a:pt x="11777676" y="697236"/>
                </a:cubicBezTo>
                <a:cubicBezTo>
                  <a:pt x="11776387" y="677557"/>
                  <a:pt x="11798345" y="687460"/>
                  <a:pt x="11823883" y="697324"/>
                </a:cubicBezTo>
                <a:cubicBezTo>
                  <a:pt x="11847437" y="706451"/>
                  <a:pt x="11874003" y="715538"/>
                  <a:pt x="11888128" y="701457"/>
                </a:cubicBezTo>
                <a:cubicBezTo>
                  <a:pt x="11917623" y="672047"/>
                  <a:pt x="11789950" y="638460"/>
                  <a:pt x="11826768" y="611158"/>
                </a:cubicBezTo>
                <a:cubicBezTo>
                  <a:pt x="11844033" y="598369"/>
                  <a:pt x="11859620" y="598929"/>
                  <a:pt x="11870860" y="599447"/>
                </a:cubicBezTo>
                <a:cubicBezTo>
                  <a:pt x="11883649" y="600092"/>
                  <a:pt x="11890756" y="600736"/>
                  <a:pt x="11888128" y="581704"/>
                </a:cubicBezTo>
                <a:cubicBezTo>
                  <a:pt x="11883262" y="546052"/>
                  <a:pt x="11856219" y="537654"/>
                  <a:pt x="11853764" y="510308"/>
                </a:cubicBezTo>
                <a:cubicBezTo>
                  <a:pt x="11851354" y="483051"/>
                  <a:pt x="11878353" y="493559"/>
                  <a:pt x="11895492" y="493559"/>
                </a:cubicBezTo>
                <a:cubicBezTo>
                  <a:pt x="11912673" y="493559"/>
                  <a:pt x="11878353" y="466258"/>
                  <a:pt x="11888128" y="438916"/>
                </a:cubicBezTo>
                <a:cubicBezTo>
                  <a:pt x="11897988" y="411659"/>
                  <a:pt x="11924987" y="434739"/>
                  <a:pt x="11956896" y="403260"/>
                </a:cubicBezTo>
                <a:cubicBezTo>
                  <a:pt x="11988802" y="371697"/>
                  <a:pt x="11996166" y="352839"/>
                  <a:pt x="11986306" y="325538"/>
                </a:cubicBezTo>
                <a:cubicBezTo>
                  <a:pt x="11976531" y="298193"/>
                  <a:pt x="11895533" y="302414"/>
                  <a:pt x="11885673" y="283596"/>
                </a:cubicBezTo>
                <a:cubicBezTo>
                  <a:pt x="11881713" y="275930"/>
                  <a:pt x="11900100" y="277524"/>
                  <a:pt x="11925547" y="279117"/>
                </a:cubicBezTo>
                <a:cubicBezTo>
                  <a:pt x="11963226" y="281443"/>
                  <a:pt x="12016405" y="283810"/>
                  <a:pt x="12035439" y="256251"/>
                </a:cubicBezTo>
                <a:cubicBezTo>
                  <a:pt x="12067345" y="210047"/>
                  <a:pt x="12035480" y="233130"/>
                  <a:pt x="12018300" y="191145"/>
                </a:cubicBezTo>
                <a:cubicBezTo>
                  <a:pt x="12001076" y="149118"/>
                  <a:pt x="12059984" y="182750"/>
                  <a:pt x="12074709" y="153295"/>
                </a:cubicBezTo>
                <a:cubicBezTo>
                  <a:pt x="12089438" y="123970"/>
                  <a:pt x="12057570" y="130215"/>
                  <a:pt x="12072254" y="90298"/>
                </a:cubicBezTo>
                <a:cubicBezTo>
                  <a:pt x="12086983" y="50465"/>
                  <a:pt x="12077208" y="4177"/>
                  <a:pt x="12136113"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spcAft>
                <a:spcPts val="600"/>
              </a:spcAft>
            </a:pPr>
            <a:endParaRPr lang="en-GB" sz="1400" dirty="0">
              <a:solidFill>
                <a:schemeClr val="accent1"/>
              </a:solidFill>
            </a:endParaRPr>
          </a:p>
        </p:txBody>
      </p:sp>
      <p:sp>
        <p:nvSpPr>
          <p:cNvPr id="5" name="Titel 4">
            <a:extLst>
              <a:ext uri="{FF2B5EF4-FFF2-40B4-BE49-F238E27FC236}">
                <a16:creationId xmlns:a16="http://schemas.microsoft.com/office/drawing/2014/main" id="{6EE5FF36-442A-920D-52E4-1B93D31DBE37}"/>
              </a:ext>
            </a:extLst>
          </p:cNvPr>
          <p:cNvSpPr>
            <a:spLocks noGrp="1"/>
          </p:cNvSpPr>
          <p:nvPr>
            <p:ph type="title"/>
          </p:nvPr>
        </p:nvSpPr>
        <p:spPr>
          <a:xfrm>
            <a:off x="658813" y="549276"/>
            <a:ext cx="8843267" cy="428920"/>
          </a:xfrm>
        </p:spPr>
        <p:txBody>
          <a:bodyPr/>
          <a:lstStyle/>
          <a:p>
            <a:r>
              <a:rPr lang="en-GB" dirty="0"/>
              <a:t>Sustainability </a:t>
            </a:r>
            <a:r>
              <a:rPr lang="en-GB" dirty="0">
                <a:solidFill>
                  <a:schemeClr val="accent2"/>
                </a:solidFill>
              </a:rPr>
              <a:t>potential </a:t>
            </a:r>
            <a:r>
              <a:rPr lang="en-GB" dirty="0"/>
              <a:t>beyond income</a:t>
            </a:r>
          </a:p>
        </p:txBody>
      </p:sp>
      <p:sp>
        <p:nvSpPr>
          <p:cNvPr id="286" name="Tijdelijke aanduiding voor tekst 285">
            <a:extLst>
              <a:ext uri="{FF2B5EF4-FFF2-40B4-BE49-F238E27FC236}">
                <a16:creationId xmlns:a16="http://schemas.microsoft.com/office/drawing/2014/main" id="{5EBA5D27-0532-82C1-D68D-54B68A064061}"/>
              </a:ext>
            </a:extLst>
          </p:cNvPr>
          <p:cNvSpPr>
            <a:spLocks noGrp="1"/>
          </p:cNvSpPr>
          <p:nvPr>
            <p:ph type="body" sz="quarter" idx="18"/>
          </p:nvPr>
        </p:nvSpPr>
        <p:spPr>
          <a:xfrm>
            <a:off x="674160" y="1051658"/>
            <a:ext cx="8830788" cy="411162"/>
          </a:xfrm>
        </p:spPr>
        <p:txBody>
          <a:bodyPr/>
          <a:lstStyle/>
          <a:p>
            <a:endParaRPr lang="en-GB" dirty="0"/>
          </a:p>
        </p:txBody>
      </p:sp>
      <p:grpSp>
        <p:nvGrpSpPr>
          <p:cNvPr id="320" name="Groep 319">
            <a:extLst>
              <a:ext uri="{FF2B5EF4-FFF2-40B4-BE49-F238E27FC236}">
                <a16:creationId xmlns:a16="http://schemas.microsoft.com/office/drawing/2014/main" id="{8A7FBFC6-DB65-4532-AE73-BF20F7E97E3E}"/>
              </a:ext>
            </a:extLst>
          </p:cNvPr>
          <p:cNvGrpSpPr/>
          <p:nvPr/>
        </p:nvGrpSpPr>
        <p:grpSpPr>
          <a:xfrm>
            <a:off x="9682622" y="3920053"/>
            <a:ext cx="1242500" cy="1896447"/>
            <a:chOff x="6641740" y="1071880"/>
            <a:chExt cx="3088640" cy="4714240"/>
          </a:xfrm>
        </p:grpSpPr>
        <p:sp>
          <p:nvSpPr>
            <p:cNvPr id="302" name="Rechthoek: afgeronde hoeken 301">
              <a:extLst>
                <a:ext uri="{FF2B5EF4-FFF2-40B4-BE49-F238E27FC236}">
                  <a16:creationId xmlns:a16="http://schemas.microsoft.com/office/drawing/2014/main" id="{CFB3BDE7-8B58-88D4-CBB6-58DB7F875E04}"/>
                </a:ext>
              </a:extLst>
            </p:cNvPr>
            <p:cNvSpPr/>
            <p:nvPr/>
          </p:nvSpPr>
          <p:spPr>
            <a:xfrm>
              <a:off x="6641740" y="2697480"/>
              <a:ext cx="3088640" cy="3088640"/>
            </a:xfrm>
            <a:prstGeom prst="roundRect">
              <a:avLst>
                <a:gd name="adj" fmla="val 12519"/>
              </a:avLst>
            </a:prstGeom>
            <a:solidFill>
              <a:schemeClr val="accent2"/>
            </a:solidFill>
            <a:ln w="81280" cap="flat">
              <a:noFill/>
              <a:prstDash val="solid"/>
              <a:miter/>
            </a:ln>
          </p:spPr>
          <p:txBody>
            <a:bodyPr rtlCol="0" anchor="ctr"/>
            <a:lstStyle/>
            <a:p>
              <a:endParaRPr lang="en-GB" dirty="0"/>
            </a:p>
          </p:txBody>
        </p:sp>
        <p:sp>
          <p:nvSpPr>
            <p:cNvPr id="303" name="Vrije vorm: vorm 302">
              <a:extLst>
                <a:ext uri="{FF2B5EF4-FFF2-40B4-BE49-F238E27FC236}">
                  <a16:creationId xmlns:a16="http://schemas.microsoft.com/office/drawing/2014/main" id="{7D240211-C8ED-6A80-6478-575869EE9DF0}"/>
                </a:ext>
              </a:extLst>
            </p:cNvPr>
            <p:cNvSpPr/>
            <p:nvPr/>
          </p:nvSpPr>
          <p:spPr>
            <a:xfrm>
              <a:off x="7210700" y="1071880"/>
              <a:ext cx="1950720" cy="1625600"/>
            </a:xfrm>
            <a:custGeom>
              <a:avLst/>
              <a:gdLst>
                <a:gd name="connsiteX0" fmla="*/ 325120 w 1950720"/>
                <a:gd name="connsiteY0" fmla="*/ 1625600 h 1625600"/>
                <a:gd name="connsiteX1" fmla="*/ 325120 w 1950720"/>
                <a:gd name="connsiteY1" fmla="*/ 975360 h 1625600"/>
                <a:gd name="connsiteX2" fmla="*/ 975360 w 1950720"/>
                <a:gd name="connsiteY2" fmla="*/ 325120 h 1625600"/>
                <a:gd name="connsiteX3" fmla="*/ 1625600 w 1950720"/>
                <a:gd name="connsiteY3" fmla="*/ 975360 h 1625600"/>
                <a:gd name="connsiteX4" fmla="*/ 1625600 w 1950720"/>
                <a:gd name="connsiteY4" fmla="*/ 1625600 h 1625600"/>
                <a:gd name="connsiteX5" fmla="*/ 1950720 w 1950720"/>
                <a:gd name="connsiteY5" fmla="*/ 1625600 h 1625600"/>
                <a:gd name="connsiteX6" fmla="*/ 1950720 w 1950720"/>
                <a:gd name="connsiteY6" fmla="*/ 975360 h 1625600"/>
                <a:gd name="connsiteX7" fmla="*/ 975360 w 1950720"/>
                <a:gd name="connsiteY7" fmla="*/ 0 h 1625600"/>
                <a:gd name="connsiteX8" fmla="*/ 0 w 1950720"/>
                <a:gd name="connsiteY8" fmla="*/ 975360 h 1625600"/>
                <a:gd name="connsiteX9" fmla="*/ 0 w 1950720"/>
                <a:gd name="connsiteY9" fmla="*/ 1625600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720" h="1625600">
                  <a:moveTo>
                    <a:pt x="325120" y="1625600"/>
                  </a:moveTo>
                  <a:lnTo>
                    <a:pt x="325120" y="975360"/>
                  </a:lnTo>
                  <a:cubicBezTo>
                    <a:pt x="325120" y="616242"/>
                    <a:pt x="616242" y="325120"/>
                    <a:pt x="975360" y="325120"/>
                  </a:cubicBezTo>
                  <a:cubicBezTo>
                    <a:pt x="1334478" y="325120"/>
                    <a:pt x="1625600" y="616242"/>
                    <a:pt x="1625600" y="975360"/>
                  </a:cubicBezTo>
                  <a:lnTo>
                    <a:pt x="1625600" y="1625600"/>
                  </a:lnTo>
                  <a:lnTo>
                    <a:pt x="1950720" y="1625600"/>
                  </a:lnTo>
                  <a:lnTo>
                    <a:pt x="1950720" y="975360"/>
                  </a:lnTo>
                  <a:cubicBezTo>
                    <a:pt x="1950720" y="436684"/>
                    <a:pt x="1514037" y="0"/>
                    <a:pt x="975360" y="0"/>
                  </a:cubicBezTo>
                  <a:cubicBezTo>
                    <a:pt x="436684" y="0"/>
                    <a:pt x="0" y="436684"/>
                    <a:pt x="0" y="975360"/>
                  </a:cubicBezTo>
                  <a:lnTo>
                    <a:pt x="0" y="1625600"/>
                  </a:lnTo>
                  <a:close/>
                </a:path>
              </a:pathLst>
            </a:custGeom>
            <a:solidFill>
              <a:schemeClr val="bg1">
                <a:lumMod val="75000"/>
              </a:schemeClr>
            </a:solidFill>
            <a:ln w="81280" cap="flat">
              <a:noFill/>
              <a:prstDash val="solid"/>
              <a:miter/>
            </a:ln>
          </p:spPr>
          <p:txBody>
            <a:bodyPr rtlCol="0" anchor="ctr"/>
            <a:lstStyle/>
            <a:p>
              <a:endParaRPr lang="en-GB" dirty="0"/>
            </a:p>
          </p:txBody>
        </p:sp>
        <p:sp>
          <p:nvSpPr>
            <p:cNvPr id="304" name="Vrije vorm: vorm 303">
              <a:extLst>
                <a:ext uri="{FF2B5EF4-FFF2-40B4-BE49-F238E27FC236}">
                  <a16:creationId xmlns:a16="http://schemas.microsoft.com/office/drawing/2014/main" id="{2A1F58BF-1997-93CD-A674-F38B13A4E29D}"/>
                </a:ext>
              </a:extLst>
            </p:cNvPr>
            <p:cNvSpPr/>
            <p:nvPr/>
          </p:nvSpPr>
          <p:spPr>
            <a:xfrm>
              <a:off x="7373107" y="3430325"/>
              <a:ext cx="1625752" cy="2355794"/>
            </a:xfrm>
            <a:custGeom>
              <a:avLst/>
              <a:gdLst>
                <a:gd name="connsiteX0" fmla="*/ 1077113 w 1625752"/>
                <a:gd name="connsiteY0" fmla="*/ 2355794 h 2355794"/>
                <a:gd name="connsiteX1" fmla="*/ 1056793 w 1625752"/>
                <a:gd name="connsiteY1" fmla="*/ 1705554 h 2355794"/>
                <a:gd name="connsiteX2" fmla="*/ 1625753 w 1625752"/>
                <a:gd name="connsiteY2" fmla="*/ 1136594 h 2355794"/>
                <a:gd name="connsiteX3" fmla="*/ 1625753 w 1625752"/>
                <a:gd name="connsiteY3" fmla="*/ 161234 h 2355794"/>
                <a:gd name="connsiteX4" fmla="*/ 1577797 w 1625752"/>
                <a:gd name="connsiteY4" fmla="*/ 46629 h 2355794"/>
                <a:gd name="connsiteX5" fmla="*/ 1347110 w 1625752"/>
                <a:gd name="connsiteY5" fmla="*/ 48941 h 2355794"/>
                <a:gd name="connsiteX6" fmla="*/ 1300633 w 1625752"/>
                <a:gd name="connsiteY6" fmla="*/ 170175 h 2355794"/>
                <a:gd name="connsiteX7" fmla="*/ 1300633 w 1625752"/>
                <a:gd name="connsiteY7" fmla="*/ 892754 h 2355794"/>
                <a:gd name="connsiteX8" fmla="*/ 1219353 w 1625752"/>
                <a:gd name="connsiteY8" fmla="*/ 974034 h 2355794"/>
                <a:gd name="connsiteX9" fmla="*/ 1056793 w 1625752"/>
                <a:gd name="connsiteY9" fmla="*/ 974034 h 2355794"/>
                <a:gd name="connsiteX10" fmla="*/ 975512 w 1625752"/>
                <a:gd name="connsiteY10" fmla="*/ 892754 h 2355794"/>
                <a:gd name="connsiteX11" fmla="*/ 975512 w 1625752"/>
                <a:gd name="connsiteY11" fmla="*/ 161234 h 2355794"/>
                <a:gd name="connsiteX12" fmla="*/ 927557 w 1625752"/>
                <a:gd name="connsiteY12" fmla="*/ 46629 h 2355794"/>
                <a:gd name="connsiteX13" fmla="*/ 696870 w 1625752"/>
                <a:gd name="connsiteY13" fmla="*/ 48941 h 2355794"/>
                <a:gd name="connsiteX14" fmla="*/ 650392 w 1625752"/>
                <a:gd name="connsiteY14" fmla="*/ 170175 h 2355794"/>
                <a:gd name="connsiteX15" fmla="*/ 650392 w 1625752"/>
                <a:gd name="connsiteY15" fmla="*/ 892754 h 2355794"/>
                <a:gd name="connsiteX16" fmla="*/ 569112 w 1625752"/>
                <a:gd name="connsiteY16" fmla="*/ 974034 h 2355794"/>
                <a:gd name="connsiteX17" fmla="*/ 406552 w 1625752"/>
                <a:gd name="connsiteY17" fmla="*/ 974034 h 2355794"/>
                <a:gd name="connsiteX18" fmla="*/ 325272 w 1625752"/>
                <a:gd name="connsiteY18" fmla="*/ 892754 h 2355794"/>
                <a:gd name="connsiteX19" fmla="*/ 325272 w 1625752"/>
                <a:gd name="connsiteY19" fmla="*/ 161234 h 2355794"/>
                <a:gd name="connsiteX20" fmla="*/ 277317 w 1625752"/>
                <a:gd name="connsiteY20" fmla="*/ 46629 h 2355794"/>
                <a:gd name="connsiteX21" fmla="*/ 46630 w 1625752"/>
                <a:gd name="connsiteY21" fmla="*/ 48941 h 2355794"/>
                <a:gd name="connsiteX22" fmla="*/ 152 w 1625752"/>
                <a:gd name="connsiteY22" fmla="*/ 170175 h 2355794"/>
                <a:gd name="connsiteX23" fmla="*/ 152 w 1625752"/>
                <a:gd name="connsiteY23" fmla="*/ 1136594 h 2355794"/>
                <a:gd name="connsiteX24" fmla="*/ 569112 w 1625752"/>
                <a:gd name="connsiteY24" fmla="*/ 1705554 h 2355794"/>
                <a:gd name="connsiteX25" fmla="*/ 548467 w 1625752"/>
                <a:gd name="connsiteY25" fmla="*/ 2355794 h 235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25752" h="2355794">
                  <a:moveTo>
                    <a:pt x="1077113" y="2355794"/>
                  </a:moveTo>
                  <a:lnTo>
                    <a:pt x="1056793" y="1705554"/>
                  </a:lnTo>
                  <a:cubicBezTo>
                    <a:pt x="1371020" y="1705554"/>
                    <a:pt x="1625753" y="1450822"/>
                    <a:pt x="1625753" y="1136594"/>
                  </a:cubicBezTo>
                  <a:lnTo>
                    <a:pt x="1625753" y="161234"/>
                  </a:lnTo>
                  <a:cubicBezTo>
                    <a:pt x="1625715" y="118161"/>
                    <a:pt x="1608447" y="76894"/>
                    <a:pt x="1577797" y="46629"/>
                  </a:cubicBezTo>
                  <a:cubicBezTo>
                    <a:pt x="1513456" y="-16435"/>
                    <a:pt x="1410174" y="-15400"/>
                    <a:pt x="1347110" y="48941"/>
                  </a:cubicBezTo>
                  <a:cubicBezTo>
                    <a:pt x="1315510" y="81181"/>
                    <a:pt x="1298683" y="125074"/>
                    <a:pt x="1300633" y="170175"/>
                  </a:cubicBezTo>
                  <a:lnTo>
                    <a:pt x="1300633" y="892754"/>
                  </a:lnTo>
                  <a:cubicBezTo>
                    <a:pt x="1300633" y="937644"/>
                    <a:pt x="1264242" y="974034"/>
                    <a:pt x="1219353" y="974034"/>
                  </a:cubicBezTo>
                  <a:lnTo>
                    <a:pt x="1056793" y="974034"/>
                  </a:lnTo>
                  <a:cubicBezTo>
                    <a:pt x="1011903" y="974034"/>
                    <a:pt x="975512" y="937644"/>
                    <a:pt x="975512" y="892754"/>
                  </a:cubicBezTo>
                  <a:lnTo>
                    <a:pt x="975512" y="161234"/>
                  </a:lnTo>
                  <a:cubicBezTo>
                    <a:pt x="975475" y="118161"/>
                    <a:pt x="958207" y="76894"/>
                    <a:pt x="927557" y="46629"/>
                  </a:cubicBezTo>
                  <a:cubicBezTo>
                    <a:pt x="863216" y="-16435"/>
                    <a:pt x="759934" y="-15400"/>
                    <a:pt x="696870" y="48941"/>
                  </a:cubicBezTo>
                  <a:cubicBezTo>
                    <a:pt x="665270" y="81181"/>
                    <a:pt x="648443" y="125074"/>
                    <a:pt x="650392" y="170175"/>
                  </a:cubicBezTo>
                  <a:lnTo>
                    <a:pt x="650392" y="892754"/>
                  </a:lnTo>
                  <a:cubicBezTo>
                    <a:pt x="650392" y="937644"/>
                    <a:pt x="614002" y="974034"/>
                    <a:pt x="569112" y="974034"/>
                  </a:cubicBezTo>
                  <a:lnTo>
                    <a:pt x="406552" y="974034"/>
                  </a:lnTo>
                  <a:cubicBezTo>
                    <a:pt x="361663" y="974034"/>
                    <a:pt x="325272" y="937644"/>
                    <a:pt x="325272" y="892754"/>
                  </a:cubicBezTo>
                  <a:lnTo>
                    <a:pt x="325272" y="161234"/>
                  </a:lnTo>
                  <a:cubicBezTo>
                    <a:pt x="325235" y="118161"/>
                    <a:pt x="307967" y="76894"/>
                    <a:pt x="277317" y="46629"/>
                  </a:cubicBezTo>
                  <a:cubicBezTo>
                    <a:pt x="212976" y="-16435"/>
                    <a:pt x="109694" y="-15400"/>
                    <a:pt x="46630" y="48941"/>
                  </a:cubicBezTo>
                  <a:cubicBezTo>
                    <a:pt x="15030" y="81181"/>
                    <a:pt x="-1798" y="125074"/>
                    <a:pt x="152" y="170175"/>
                  </a:cubicBezTo>
                  <a:lnTo>
                    <a:pt x="152" y="1136594"/>
                  </a:lnTo>
                  <a:cubicBezTo>
                    <a:pt x="152" y="1450822"/>
                    <a:pt x="254884" y="1705554"/>
                    <a:pt x="569112" y="1705554"/>
                  </a:cubicBezTo>
                  <a:lnTo>
                    <a:pt x="548467" y="2355794"/>
                  </a:lnTo>
                  <a:close/>
                </a:path>
              </a:pathLst>
            </a:custGeom>
            <a:solidFill>
              <a:schemeClr val="accent1"/>
            </a:solidFill>
            <a:ln w="81280" cap="flat">
              <a:noFill/>
              <a:prstDash val="solid"/>
              <a:miter/>
            </a:ln>
          </p:spPr>
          <p:txBody>
            <a:bodyPr rtlCol="0" anchor="ctr"/>
            <a:lstStyle/>
            <a:p>
              <a:endParaRPr lang="en-GB" dirty="0"/>
            </a:p>
          </p:txBody>
        </p:sp>
      </p:grpSp>
      <p:grpSp>
        <p:nvGrpSpPr>
          <p:cNvPr id="287" name="Groep 286">
            <a:extLst>
              <a:ext uri="{FF2B5EF4-FFF2-40B4-BE49-F238E27FC236}">
                <a16:creationId xmlns:a16="http://schemas.microsoft.com/office/drawing/2014/main" id="{79E2F8E2-B4C8-F2F4-CED6-70A5660F079C}"/>
              </a:ext>
            </a:extLst>
          </p:cNvPr>
          <p:cNvGrpSpPr/>
          <p:nvPr/>
        </p:nvGrpSpPr>
        <p:grpSpPr>
          <a:xfrm>
            <a:off x="2475382" y="5306690"/>
            <a:ext cx="508014" cy="508014"/>
            <a:chOff x="2475382" y="5306690"/>
            <a:chExt cx="508014" cy="508014"/>
          </a:xfrm>
        </p:grpSpPr>
        <p:sp>
          <p:nvSpPr>
            <p:cNvPr id="306" name="Vrije vorm: vorm 305">
              <a:extLst>
                <a:ext uri="{FF2B5EF4-FFF2-40B4-BE49-F238E27FC236}">
                  <a16:creationId xmlns:a16="http://schemas.microsoft.com/office/drawing/2014/main" id="{F33507CC-9728-FF65-3412-8CE1853DC012}"/>
                </a:ext>
              </a:extLst>
            </p:cNvPr>
            <p:cNvSpPr/>
            <p:nvPr/>
          </p:nvSpPr>
          <p:spPr>
            <a:xfrm>
              <a:off x="2475382" y="5306690"/>
              <a:ext cx="508014" cy="508014"/>
            </a:xfrm>
            <a:custGeom>
              <a:avLst/>
              <a:gdLst>
                <a:gd name="connsiteX0" fmla="*/ 714375 w 1428750"/>
                <a:gd name="connsiteY0" fmla="*/ 1428750 h 1428750"/>
                <a:gd name="connsiteX1" fmla="*/ 0 w 1428750"/>
                <a:gd name="connsiteY1" fmla="*/ 714375 h 1428750"/>
                <a:gd name="connsiteX2" fmla="*/ 714375 w 1428750"/>
                <a:gd name="connsiteY2" fmla="*/ 0 h 1428750"/>
                <a:gd name="connsiteX3" fmla="*/ 1428750 w 1428750"/>
                <a:gd name="connsiteY3" fmla="*/ 714375 h 1428750"/>
                <a:gd name="connsiteX4" fmla="*/ 714375 w 1428750"/>
                <a:gd name="connsiteY4" fmla="*/ 1428750 h 1428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750" h="1428750">
                  <a:moveTo>
                    <a:pt x="714375" y="1428750"/>
                  </a:moveTo>
                  <a:cubicBezTo>
                    <a:pt x="320469" y="1428750"/>
                    <a:pt x="0" y="1108282"/>
                    <a:pt x="0" y="714375"/>
                  </a:cubicBezTo>
                  <a:cubicBezTo>
                    <a:pt x="0" y="320469"/>
                    <a:pt x="320469" y="0"/>
                    <a:pt x="714375" y="0"/>
                  </a:cubicBezTo>
                  <a:cubicBezTo>
                    <a:pt x="1108282" y="0"/>
                    <a:pt x="1428750" y="320469"/>
                    <a:pt x="1428750" y="714375"/>
                  </a:cubicBezTo>
                  <a:cubicBezTo>
                    <a:pt x="1428750" y="1108282"/>
                    <a:pt x="1108282" y="1428750"/>
                    <a:pt x="714375" y="1428750"/>
                  </a:cubicBezTo>
                  <a:close/>
                </a:path>
              </a:pathLst>
            </a:custGeom>
            <a:solidFill>
              <a:schemeClr val="bg1">
                <a:lumMod val="65000"/>
              </a:schemeClr>
            </a:solidFill>
            <a:ln w="9525" cap="flat">
              <a:noFill/>
              <a:prstDash val="solid"/>
              <a:miter/>
            </a:ln>
          </p:spPr>
          <p:txBody>
            <a:bodyPr rtlCol="0" anchor="ctr"/>
            <a:lstStyle/>
            <a:p>
              <a:endParaRPr lang="en-GB" dirty="0"/>
            </a:p>
          </p:txBody>
        </p:sp>
        <p:sp>
          <p:nvSpPr>
            <p:cNvPr id="307" name="Vrije vorm: vorm 306">
              <a:extLst>
                <a:ext uri="{FF2B5EF4-FFF2-40B4-BE49-F238E27FC236}">
                  <a16:creationId xmlns:a16="http://schemas.microsoft.com/office/drawing/2014/main" id="{1EDFA058-8648-B3F6-A272-AEE88D122AAA}"/>
                </a:ext>
              </a:extLst>
            </p:cNvPr>
            <p:cNvSpPr/>
            <p:nvPr/>
          </p:nvSpPr>
          <p:spPr>
            <a:xfrm>
              <a:off x="2475382" y="5560697"/>
              <a:ext cx="508014" cy="254007"/>
            </a:xfrm>
            <a:custGeom>
              <a:avLst/>
              <a:gdLst>
                <a:gd name="connsiteX0" fmla="*/ 0 w 1428750"/>
                <a:gd name="connsiteY0" fmla="*/ 0 h 714375"/>
                <a:gd name="connsiteX1" fmla="*/ 714375 w 1428750"/>
                <a:gd name="connsiteY1" fmla="*/ 714375 h 714375"/>
                <a:gd name="connsiteX2" fmla="*/ 1428750 w 1428750"/>
                <a:gd name="connsiteY2" fmla="*/ 0 h 714375"/>
              </a:gdLst>
              <a:ahLst/>
              <a:cxnLst>
                <a:cxn ang="0">
                  <a:pos x="connsiteX0" y="connsiteY0"/>
                </a:cxn>
                <a:cxn ang="0">
                  <a:pos x="connsiteX1" y="connsiteY1"/>
                </a:cxn>
                <a:cxn ang="0">
                  <a:pos x="connsiteX2" y="connsiteY2"/>
                </a:cxn>
              </a:cxnLst>
              <a:rect l="l" t="t" r="r" b="b"/>
              <a:pathLst>
                <a:path w="1428750" h="714375">
                  <a:moveTo>
                    <a:pt x="0" y="0"/>
                  </a:moveTo>
                  <a:cubicBezTo>
                    <a:pt x="0" y="393906"/>
                    <a:pt x="320469" y="714375"/>
                    <a:pt x="714375" y="714375"/>
                  </a:cubicBezTo>
                  <a:cubicBezTo>
                    <a:pt x="1108282" y="714375"/>
                    <a:pt x="1428750" y="393906"/>
                    <a:pt x="1428750" y="0"/>
                  </a:cubicBezTo>
                  <a:close/>
                </a:path>
              </a:pathLst>
            </a:custGeom>
            <a:solidFill>
              <a:schemeClr val="bg1">
                <a:lumMod val="50000"/>
              </a:schemeClr>
            </a:solidFill>
            <a:ln w="9525" cap="flat">
              <a:noFill/>
              <a:prstDash val="solid"/>
              <a:miter/>
            </a:ln>
          </p:spPr>
          <p:txBody>
            <a:bodyPr rtlCol="0" anchor="ctr"/>
            <a:lstStyle/>
            <a:p>
              <a:endParaRPr lang="en-GB" dirty="0"/>
            </a:p>
          </p:txBody>
        </p:sp>
      </p:grpSp>
      <p:grpSp>
        <p:nvGrpSpPr>
          <p:cNvPr id="288" name="Groep 287">
            <a:extLst>
              <a:ext uri="{FF2B5EF4-FFF2-40B4-BE49-F238E27FC236}">
                <a16:creationId xmlns:a16="http://schemas.microsoft.com/office/drawing/2014/main" id="{4662E2BE-68C7-23BA-4DB0-228447859588}"/>
              </a:ext>
            </a:extLst>
          </p:cNvPr>
          <p:cNvGrpSpPr/>
          <p:nvPr/>
        </p:nvGrpSpPr>
        <p:grpSpPr>
          <a:xfrm>
            <a:off x="1256147" y="4080682"/>
            <a:ext cx="914426" cy="1734022"/>
            <a:chOff x="1256147" y="4080682"/>
            <a:chExt cx="914426" cy="1734022"/>
          </a:xfrm>
        </p:grpSpPr>
        <p:sp>
          <p:nvSpPr>
            <p:cNvPr id="308" name="Vrije vorm: vorm 307">
              <a:extLst>
                <a:ext uri="{FF2B5EF4-FFF2-40B4-BE49-F238E27FC236}">
                  <a16:creationId xmlns:a16="http://schemas.microsoft.com/office/drawing/2014/main" id="{2509C02C-B29D-098B-8F04-A57332A7062B}"/>
                </a:ext>
              </a:extLst>
            </p:cNvPr>
            <p:cNvSpPr/>
            <p:nvPr/>
          </p:nvSpPr>
          <p:spPr>
            <a:xfrm>
              <a:off x="1256147" y="4419358"/>
              <a:ext cx="914426" cy="711220"/>
            </a:xfrm>
            <a:custGeom>
              <a:avLst/>
              <a:gdLst>
                <a:gd name="connsiteX0" fmla="*/ 2238375 w 2571750"/>
                <a:gd name="connsiteY0" fmla="*/ 2000250 h 2000250"/>
                <a:gd name="connsiteX1" fmla="*/ 1571625 w 2571750"/>
                <a:gd name="connsiteY1" fmla="*/ 1809750 h 2000250"/>
                <a:gd name="connsiteX2" fmla="*/ 1000125 w 2571750"/>
                <a:gd name="connsiteY2" fmla="*/ 1809750 h 2000250"/>
                <a:gd name="connsiteX3" fmla="*/ 333375 w 2571750"/>
                <a:gd name="connsiteY3" fmla="*/ 2000250 h 2000250"/>
                <a:gd name="connsiteX4" fmla="*/ 0 w 2571750"/>
                <a:gd name="connsiteY4" fmla="*/ 1666875 h 2000250"/>
                <a:gd name="connsiteX5" fmla="*/ 0 w 2571750"/>
                <a:gd name="connsiteY5" fmla="*/ 1285875 h 2000250"/>
                <a:gd name="connsiteX6" fmla="*/ 1285875 w 2571750"/>
                <a:gd name="connsiteY6" fmla="*/ 0 h 2000250"/>
                <a:gd name="connsiteX7" fmla="*/ 2571750 w 2571750"/>
                <a:gd name="connsiteY7" fmla="*/ 1285875 h 2000250"/>
                <a:gd name="connsiteX8" fmla="*/ 2571750 w 2571750"/>
                <a:gd name="connsiteY8" fmla="*/ 1666875 h 2000250"/>
                <a:gd name="connsiteX9" fmla="*/ 2238375 w 2571750"/>
                <a:gd name="connsiteY9" fmla="*/ 2000250 h 200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71750" h="2000250">
                  <a:moveTo>
                    <a:pt x="2238375" y="2000250"/>
                  </a:moveTo>
                  <a:lnTo>
                    <a:pt x="1571625" y="1809750"/>
                  </a:lnTo>
                  <a:lnTo>
                    <a:pt x="1000125" y="1809750"/>
                  </a:lnTo>
                  <a:lnTo>
                    <a:pt x="333375" y="2000250"/>
                  </a:lnTo>
                  <a:cubicBezTo>
                    <a:pt x="149257" y="2000250"/>
                    <a:pt x="0" y="1850993"/>
                    <a:pt x="0" y="1666875"/>
                  </a:cubicBezTo>
                  <a:lnTo>
                    <a:pt x="0" y="1285875"/>
                  </a:lnTo>
                  <a:cubicBezTo>
                    <a:pt x="0" y="575710"/>
                    <a:pt x="575701" y="0"/>
                    <a:pt x="1285875" y="0"/>
                  </a:cubicBezTo>
                  <a:cubicBezTo>
                    <a:pt x="1996040" y="0"/>
                    <a:pt x="2571750" y="575701"/>
                    <a:pt x="2571750" y="1285875"/>
                  </a:cubicBezTo>
                  <a:lnTo>
                    <a:pt x="2571750" y="1666875"/>
                  </a:lnTo>
                  <a:cubicBezTo>
                    <a:pt x="2571750" y="1850993"/>
                    <a:pt x="2422493" y="2000250"/>
                    <a:pt x="2238375" y="2000250"/>
                  </a:cubicBezTo>
                  <a:close/>
                </a:path>
              </a:pathLst>
            </a:custGeom>
            <a:solidFill>
              <a:schemeClr val="accent2"/>
            </a:solidFill>
            <a:ln w="9525" cap="flat">
              <a:noFill/>
              <a:prstDash val="solid"/>
              <a:miter/>
            </a:ln>
          </p:spPr>
          <p:txBody>
            <a:bodyPr rtlCol="0" anchor="ctr"/>
            <a:lstStyle/>
            <a:p>
              <a:endParaRPr lang="en-GB" dirty="0"/>
            </a:p>
          </p:txBody>
        </p:sp>
        <p:sp>
          <p:nvSpPr>
            <p:cNvPr id="309" name="Vrije vorm: vorm 308">
              <a:extLst>
                <a:ext uri="{FF2B5EF4-FFF2-40B4-BE49-F238E27FC236}">
                  <a16:creationId xmlns:a16="http://schemas.microsoft.com/office/drawing/2014/main" id="{F08955C9-14CC-C327-65A9-01A1C9607152}"/>
                </a:ext>
              </a:extLst>
            </p:cNvPr>
            <p:cNvSpPr/>
            <p:nvPr/>
          </p:nvSpPr>
          <p:spPr>
            <a:xfrm>
              <a:off x="1713360" y="4419358"/>
              <a:ext cx="457213" cy="711220"/>
            </a:xfrm>
            <a:custGeom>
              <a:avLst/>
              <a:gdLst>
                <a:gd name="connsiteX0" fmla="*/ 0 w 1285875"/>
                <a:gd name="connsiteY0" fmla="*/ 0 h 2000250"/>
                <a:gd name="connsiteX1" fmla="*/ 0 w 1285875"/>
                <a:gd name="connsiteY1" fmla="*/ 1809750 h 2000250"/>
                <a:gd name="connsiteX2" fmla="*/ 285750 w 1285875"/>
                <a:gd name="connsiteY2" fmla="*/ 1809750 h 2000250"/>
                <a:gd name="connsiteX3" fmla="*/ 952500 w 1285875"/>
                <a:gd name="connsiteY3" fmla="*/ 2000250 h 2000250"/>
                <a:gd name="connsiteX4" fmla="*/ 1285875 w 1285875"/>
                <a:gd name="connsiteY4" fmla="*/ 1666875 h 2000250"/>
                <a:gd name="connsiteX5" fmla="*/ 1285875 w 1285875"/>
                <a:gd name="connsiteY5" fmla="*/ 1285875 h 2000250"/>
                <a:gd name="connsiteX6" fmla="*/ 0 w 1285875"/>
                <a:gd name="connsiteY6" fmla="*/ 0 h 200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5875" h="2000250">
                  <a:moveTo>
                    <a:pt x="0" y="0"/>
                  </a:moveTo>
                  <a:lnTo>
                    <a:pt x="0" y="1809750"/>
                  </a:lnTo>
                  <a:lnTo>
                    <a:pt x="285750" y="1809750"/>
                  </a:lnTo>
                  <a:lnTo>
                    <a:pt x="952500" y="2000250"/>
                  </a:lnTo>
                  <a:cubicBezTo>
                    <a:pt x="1136618" y="2000250"/>
                    <a:pt x="1285875" y="1850993"/>
                    <a:pt x="1285875" y="1666875"/>
                  </a:cubicBezTo>
                  <a:lnTo>
                    <a:pt x="1285875" y="1285875"/>
                  </a:lnTo>
                  <a:cubicBezTo>
                    <a:pt x="1285875" y="575701"/>
                    <a:pt x="710165" y="0"/>
                    <a:pt x="0" y="0"/>
                  </a:cubicBezTo>
                  <a:close/>
                </a:path>
              </a:pathLst>
            </a:custGeom>
            <a:solidFill>
              <a:schemeClr val="accent2">
                <a:lumMod val="60000"/>
                <a:lumOff val="40000"/>
              </a:schemeClr>
            </a:solidFill>
            <a:ln w="9525" cap="flat">
              <a:noFill/>
              <a:prstDash val="solid"/>
              <a:miter/>
            </a:ln>
          </p:spPr>
          <p:txBody>
            <a:bodyPr rtlCol="0" anchor="ctr"/>
            <a:lstStyle/>
            <a:p>
              <a:endParaRPr lang="en-GB" dirty="0"/>
            </a:p>
          </p:txBody>
        </p:sp>
        <p:sp>
          <p:nvSpPr>
            <p:cNvPr id="310" name="Vrije vorm: vorm 309">
              <a:extLst>
                <a:ext uri="{FF2B5EF4-FFF2-40B4-BE49-F238E27FC236}">
                  <a16:creationId xmlns:a16="http://schemas.microsoft.com/office/drawing/2014/main" id="{64293C1D-A3ED-7A66-0472-2D99497AE6AF}"/>
                </a:ext>
              </a:extLst>
            </p:cNvPr>
            <p:cNvSpPr/>
            <p:nvPr/>
          </p:nvSpPr>
          <p:spPr>
            <a:xfrm>
              <a:off x="1476287" y="5012041"/>
              <a:ext cx="474147" cy="802663"/>
            </a:xfrm>
            <a:custGeom>
              <a:avLst/>
              <a:gdLst>
                <a:gd name="connsiteX0" fmla="*/ 0 w 1333500"/>
                <a:gd name="connsiteY0" fmla="*/ 0 h 2257425"/>
                <a:gd name="connsiteX1" fmla="*/ 0 w 1333500"/>
                <a:gd name="connsiteY1" fmla="*/ 333375 h 2257425"/>
                <a:gd name="connsiteX2" fmla="*/ 0 w 1333500"/>
                <a:gd name="connsiteY2" fmla="*/ 2019300 h 2257425"/>
                <a:gd name="connsiteX3" fmla="*/ 238125 w 1333500"/>
                <a:gd name="connsiteY3" fmla="*/ 2257425 h 2257425"/>
                <a:gd name="connsiteX4" fmla="*/ 523875 w 1333500"/>
                <a:gd name="connsiteY4" fmla="*/ 2257425 h 2257425"/>
                <a:gd name="connsiteX5" fmla="*/ 666750 w 1333500"/>
                <a:gd name="connsiteY5" fmla="*/ 2047875 h 2257425"/>
                <a:gd name="connsiteX6" fmla="*/ 809625 w 1333500"/>
                <a:gd name="connsiteY6" fmla="*/ 2257425 h 2257425"/>
                <a:gd name="connsiteX7" fmla="*/ 1095375 w 1333500"/>
                <a:gd name="connsiteY7" fmla="*/ 2257425 h 2257425"/>
                <a:gd name="connsiteX8" fmla="*/ 1333500 w 1333500"/>
                <a:gd name="connsiteY8" fmla="*/ 2019300 h 2257425"/>
                <a:gd name="connsiteX9" fmla="*/ 1333500 w 1333500"/>
                <a:gd name="connsiteY9" fmla="*/ 333375 h 2257425"/>
                <a:gd name="connsiteX10" fmla="*/ 1333500 w 1333500"/>
                <a:gd name="connsiteY10" fmla="*/ 0 h 225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500" h="2257425">
                  <a:moveTo>
                    <a:pt x="0" y="0"/>
                  </a:moveTo>
                  <a:lnTo>
                    <a:pt x="0" y="333375"/>
                  </a:lnTo>
                  <a:lnTo>
                    <a:pt x="0" y="2019300"/>
                  </a:lnTo>
                  <a:cubicBezTo>
                    <a:pt x="0" y="2150812"/>
                    <a:pt x="106613" y="2257425"/>
                    <a:pt x="238125" y="2257425"/>
                  </a:cubicBezTo>
                  <a:lnTo>
                    <a:pt x="523875" y="2257425"/>
                  </a:lnTo>
                  <a:lnTo>
                    <a:pt x="666750" y="2047875"/>
                  </a:lnTo>
                  <a:lnTo>
                    <a:pt x="809625" y="2257425"/>
                  </a:lnTo>
                  <a:lnTo>
                    <a:pt x="1095375" y="2257425"/>
                  </a:lnTo>
                  <a:cubicBezTo>
                    <a:pt x="1226887" y="2257425"/>
                    <a:pt x="1333500" y="2150812"/>
                    <a:pt x="1333500" y="2019300"/>
                  </a:cubicBezTo>
                  <a:lnTo>
                    <a:pt x="1333500" y="333375"/>
                  </a:lnTo>
                  <a:lnTo>
                    <a:pt x="1333500" y="0"/>
                  </a:lnTo>
                  <a:close/>
                </a:path>
              </a:pathLst>
            </a:custGeom>
            <a:solidFill>
              <a:schemeClr val="accent5"/>
            </a:solidFill>
            <a:ln w="9525" cap="flat">
              <a:noFill/>
              <a:prstDash val="solid"/>
              <a:miter/>
            </a:ln>
          </p:spPr>
          <p:txBody>
            <a:bodyPr rtlCol="0" anchor="ctr"/>
            <a:lstStyle/>
            <a:p>
              <a:endParaRPr lang="en-GB" dirty="0"/>
            </a:p>
          </p:txBody>
        </p:sp>
        <p:sp>
          <p:nvSpPr>
            <p:cNvPr id="311" name="Vrije vorm: vorm 310">
              <a:extLst>
                <a:ext uri="{FF2B5EF4-FFF2-40B4-BE49-F238E27FC236}">
                  <a16:creationId xmlns:a16="http://schemas.microsoft.com/office/drawing/2014/main" id="{24A6F9F1-3DE2-1304-D621-0D0FBFABFA40}"/>
                </a:ext>
              </a:extLst>
            </p:cNvPr>
            <p:cNvSpPr/>
            <p:nvPr/>
          </p:nvSpPr>
          <p:spPr>
            <a:xfrm>
              <a:off x="1713360" y="5012041"/>
              <a:ext cx="237073" cy="802663"/>
            </a:xfrm>
            <a:custGeom>
              <a:avLst/>
              <a:gdLst>
                <a:gd name="connsiteX0" fmla="*/ 0 w 666750"/>
                <a:gd name="connsiteY0" fmla="*/ 0 h 2257425"/>
                <a:gd name="connsiteX1" fmla="*/ 0 w 666750"/>
                <a:gd name="connsiteY1" fmla="*/ 2047875 h 2257425"/>
                <a:gd name="connsiteX2" fmla="*/ 142875 w 666750"/>
                <a:gd name="connsiteY2" fmla="*/ 2257425 h 2257425"/>
                <a:gd name="connsiteX3" fmla="*/ 428625 w 666750"/>
                <a:gd name="connsiteY3" fmla="*/ 2257425 h 2257425"/>
                <a:gd name="connsiteX4" fmla="*/ 666750 w 666750"/>
                <a:gd name="connsiteY4" fmla="*/ 2019300 h 2257425"/>
                <a:gd name="connsiteX5" fmla="*/ 666750 w 666750"/>
                <a:gd name="connsiteY5" fmla="*/ 333375 h 2257425"/>
                <a:gd name="connsiteX6" fmla="*/ 666750 w 666750"/>
                <a:gd name="connsiteY6" fmla="*/ 0 h 225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0" h="2257425">
                  <a:moveTo>
                    <a:pt x="0" y="0"/>
                  </a:moveTo>
                  <a:lnTo>
                    <a:pt x="0" y="2047875"/>
                  </a:lnTo>
                  <a:lnTo>
                    <a:pt x="142875" y="2257425"/>
                  </a:lnTo>
                  <a:lnTo>
                    <a:pt x="428625" y="2257425"/>
                  </a:lnTo>
                  <a:cubicBezTo>
                    <a:pt x="560137" y="2257425"/>
                    <a:pt x="666750" y="2150812"/>
                    <a:pt x="666750" y="2019300"/>
                  </a:cubicBezTo>
                  <a:lnTo>
                    <a:pt x="666750" y="333375"/>
                  </a:lnTo>
                  <a:lnTo>
                    <a:pt x="666750" y="0"/>
                  </a:lnTo>
                  <a:close/>
                </a:path>
              </a:pathLst>
            </a:custGeom>
            <a:solidFill>
              <a:schemeClr val="accent5">
                <a:lumMod val="75000"/>
              </a:schemeClr>
            </a:solidFill>
            <a:ln w="9525" cap="flat">
              <a:noFill/>
              <a:prstDash val="solid"/>
              <a:miter/>
            </a:ln>
          </p:spPr>
          <p:txBody>
            <a:bodyPr rtlCol="0" anchor="ctr"/>
            <a:lstStyle/>
            <a:p>
              <a:endParaRPr lang="en-GB" dirty="0"/>
            </a:p>
          </p:txBody>
        </p:sp>
        <p:sp>
          <p:nvSpPr>
            <p:cNvPr id="312" name="Vrije vorm: vorm 311">
              <a:extLst>
                <a:ext uri="{FF2B5EF4-FFF2-40B4-BE49-F238E27FC236}">
                  <a16:creationId xmlns:a16="http://schemas.microsoft.com/office/drawing/2014/main" id="{A5F29483-490C-27C1-1EAB-AA38A76085AB}"/>
                </a:ext>
              </a:extLst>
            </p:cNvPr>
            <p:cNvSpPr/>
            <p:nvPr/>
          </p:nvSpPr>
          <p:spPr>
            <a:xfrm>
              <a:off x="1374684" y="4758034"/>
              <a:ext cx="101603" cy="372544"/>
            </a:xfrm>
            <a:custGeom>
              <a:avLst/>
              <a:gdLst>
                <a:gd name="connsiteX0" fmla="*/ 135969 w 285750"/>
                <a:gd name="connsiteY0" fmla="*/ 163 h 1047751"/>
                <a:gd name="connsiteX1" fmla="*/ 0 w 285750"/>
                <a:gd name="connsiteY1" fmla="*/ 146915 h 1047751"/>
                <a:gd name="connsiteX2" fmla="*/ 0 w 285750"/>
                <a:gd name="connsiteY2" fmla="*/ 1047751 h 1047751"/>
                <a:gd name="connsiteX3" fmla="*/ 285750 w 285750"/>
                <a:gd name="connsiteY3" fmla="*/ 1047751 h 1047751"/>
                <a:gd name="connsiteX4" fmla="*/ 285750 w 285750"/>
                <a:gd name="connsiteY4" fmla="*/ 142876 h 1047751"/>
                <a:gd name="connsiteX5" fmla="*/ 135969 w 285750"/>
                <a:gd name="connsiteY5" fmla="*/ 163 h 104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0" h="1047751">
                  <a:moveTo>
                    <a:pt x="135969" y="163"/>
                  </a:moveTo>
                  <a:cubicBezTo>
                    <a:pt x="59122" y="3783"/>
                    <a:pt x="0" y="69981"/>
                    <a:pt x="0" y="146915"/>
                  </a:cubicBezTo>
                  <a:lnTo>
                    <a:pt x="0" y="1047751"/>
                  </a:lnTo>
                  <a:lnTo>
                    <a:pt x="285750" y="1047751"/>
                  </a:lnTo>
                  <a:lnTo>
                    <a:pt x="285750" y="142876"/>
                  </a:lnTo>
                  <a:cubicBezTo>
                    <a:pt x="285750" y="61676"/>
                    <a:pt x="218018" y="-3704"/>
                    <a:pt x="135969" y="163"/>
                  </a:cubicBezTo>
                  <a:close/>
                </a:path>
              </a:pathLst>
            </a:custGeom>
            <a:solidFill>
              <a:schemeClr val="accent2">
                <a:lumMod val="60000"/>
                <a:lumOff val="40000"/>
              </a:schemeClr>
            </a:solidFill>
            <a:ln w="9525" cap="flat">
              <a:noFill/>
              <a:prstDash val="solid"/>
              <a:miter/>
            </a:ln>
          </p:spPr>
          <p:txBody>
            <a:bodyPr rtlCol="0" anchor="ctr"/>
            <a:lstStyle/>
            <a:p>
              <a:endParaRPr lang="en-GB" dirty="0"/>
            </a:p>
          </p:txBody>
        </p:sp>
        <p:sp>
          <p:nvSpPr>
            <p:cNvPr id="313" name="Vrije vorm: vorm 312">
              <a:extLst>
                <a:ext uri="{FF2B5EF4-FFF2-40B4-BE49-F238E27FC236}">
                  <a16:creationId xmlns:a16="http://schemas.microsoft.com/office/drawing/2014/main" id="{315594DA-8ED8-6346-DBCA-C6A675E9424F}"/>
                </a:ext>
              </a:extLst>
            </p:cNvPr>
            <p:cNvSpPr/>
            <p:nvPr/>
          </p:nvSpPr>
          <p:spPr>
            <a:xfrm>
              <a:off x="1950433" y="4758034"/>
              <a:ext cx="101603" cy="372544"/>
            </a:xfrm>
            <a:custGeom>
              <a:avLst/>
              <a:gdLst>
                <a:gd name="connsiteX0" fmla="*/ 135969 w 285750"/>
                <a:gd name="connsiteY0" fmla="*/ 163 h 1047751"/>
                <a:gd name="connsiteX1" fmla="*/ 0 w 285750"/>
                <a:gd name="connsiteY1" fmla="*/ 146915 h 1047751"/>
                <a:gd name="connsiteX2" fmla="*/ 0 w 285750"/>
                <a:gd name="connsiteY2" fmla="*/ 1047751 h 1047751"/>
                <a:gd name="connsiteX3" fmla="*/ 285750 w 285750"/>
                <a:gd name="connsiteY3" fmla="*/ 1047751 h 1047751"/>
                <a:gd name="connsiteX4" fmla="*/ 285750 w 285750"/>
                <a:gd name="connsiteY4" fmla="*/ 142876 h 1047751"/>
                <a:gd name="connsiteX5" fmla="*/ 135969 w 285750"/>
                <a:gd name="connsiteY5" fmla="*/ 163 h 104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0" h="1047751">
                  <a:moveTo>
                    <a:pt x="135969" y="163"/>
                  </a:moveTo>
                  <a:cubicBezTo>
                    <a:pt x="59122" y="3783"/>
                    <a:pt x="0" y="69981"/>
                    <a:pt x="0" y="146915"/>
                  </a:cubicBezTo>
                  <a:lnTo>
                    <a:pt x="0" y="1047751"/>
                  </a:lnTo>
                  <a:lnTo>
                    <a:pt x="285750" y="1047751"/>
                  </a:lnTo>
                  <a:lnTo>
                    <a:pt x="285750" y="142876"/>
                  </a:lnTo>
                  <a:cubicBezTo>
                    <a:pt x="285750" y="61676"/>
                    <a:pt x="218018" y="-3704"/>
                    <a:pt x="135969" y="163"/>
                  </a:cubicBezTo>
                  <a:close/>
                </a:path>
              </a:pathLst>
            </a:custGeom>
            <a:solidFill>
              <a:schemeClr val="accent2">
                <a:lumMod val="75000"/>
              </a:schemeClr>
            </a:solidFill>
            <a:ln w="9525" cap="flat">
              <a:noFill/>
              <a:prstDash val="solid"/>
              <a:miter/>
            </a:ln>
          </p:spPr>
          <p:txBody>
            <a:bodyPr rtlCol="0" anchor="ctr"/>
            <a:lstStyle/>
            <a:p>
              <a:endParaRPr lang="en-GB" dirty="0"/>
            </a:p>
          </p:txBody>
        </p:sp>
        <p:sp>
          <p:nvSpPr>
            <p:cNvPr id="314" name="Vrije vorm: vorm 313">
              <a:extLst>
                <a:ext uri="{FF2B5EF4-FFF2-40B4-BE49-F238E27FC236}">
                  <a16:creationId xmlns:a16="http://schemas.microsoft.com/office/drawing/2014/main" id="{05019FD4-3897-9E4E-529B-7A8633D292D5}"/>
                </a:ext>
              </a:extLst>
            </p:cNvPr>
            <p:cNvSpPr/>
            <p:nvPr/>
          </p:nvSpPr>
          <p:spPr>
            <a:xfrm>
              <a:off x="1510154" y="4080682"/>
              <a:ext cx="406412" cy="406411"/>
            </a:xfrm>
            <a:custGeom>
              <a:avLst/>
              <a:gdLst>
                <a:gd name="connsiteX0" fmla="*/ 571500 w 1143000"/>
                <a:gd name="connsiteY0" fmla="*/ 1143000 h 1143000"/>
                <a:gd name="connsiteX1" fmla="*/ 0 w 1143000"/>
                <a:gd name="connsiteY1" fmla="*/ 571500 h 1143000"/>
                <a:gd name="connsiteX2" fmla="*/ 571500 w 1143000"/>
                <a:gd name="connsiteY2" fmla="*/ 0 h 1143000"/>
                <a:gd name="connsiteX3" fmla="*/ 1143000 w 1143000"/>
                <a:gd name="connsiteY3" fmla="*/ 571500 h 1143000"/>
                <a:gd name="connsiteX4" fmla="*/ 571500 w 1143000"/>
                <a:gd name="connsiteY4" fmla="*/ 114300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1143000">
                  <a:moveTo>
                    <a:pt x="571500" y="1143000"/>
                  </a:moveTo>
                  <a:cubicBezTo>
                    <a:pt x="256375" y="1143000"/>
                    <a:pt x="0" y="886625"/>
                    <a:pt x="0" y="571500"/>
                  </a:cubicBezTo>
                  <a:cubicBezTo>
                    <a:pt x="0" y="256375"/>
                    <a:pt x="256375" y="0"/>
                    <a:pt x="571500" y="0"/>
                  </a:cubicBezTo>
                  <a:cubicBezTo>
                    <a:pt x="886625" y="0"/>
                    <a:pt x="1143000" y="256375"/>
                    <a:pt x="1143000" y="571500"/>
                  </a:cubicBezTo>
                  <a:cubicBezTo>
                    <a:pt x="1143000" y="886625"/>
                    <a:pt x="886625" y="1143000"/>
                    <a:pt x="571500" y="1143000"/>
                  </a:cubicBezTo>
                  <a:close/>
                </a:path>
              </a:pathLst>
            </a:custGeom>
            <a:solidFill>
              <a:srgbClr val="FFECE2"/>
            </a:solidFill>
            <a:ln w="9525" cap="flat">
              <a:noFill/>
              <a:prstDash val="solid"/>
              <a:miter/>
            </a:ln>
          </p:spPr>
          <p:txBody>
            <a:bodyPr rtlCol="0" anchor="ctr"/>
            <a:lstStyle/>
            <a:p>
              <a:endParaRPr lang="en-GB" dirty="0"/>
            </a:p>
          </p:txBody>
        </p:sp>
        <p:sp>
          <p:nvSpPr>
            <p:cNvPr id="315" name="Vrije vorm: vorm 314">
              <a:extLst>
                <a:ext uri="{FF2B5EF4-FFF2-40B4-BE49-F238E27FC236}">
                  <a16:creationId xmlns:a16="http://schemas.microsoft.com/office/drawing/2014/main" id="{18D7CCCF-B6D6-01DE-F496-D975AACA3B5A}"/>
                </a:ext>
              </a:extLst>
            </p:cNvPr>
            <p:cNvSpPr/>
            <p:nvPr/>
          </p:nvSpPr>
          <p:spPr>
            <a:xfrm>
              <a:off x="1713360" y="4080682"/>
              <a:ext cx="203206" cy="406411"/>
            </a:xfrm>
            <a:custGeom>
              <a:avLst/>
              <a:gdLst>
                <a:gd name="connsiteX0" fmla="*/ 571500 w 571500"/>
                <a:gd name="connsiteY0" fmla="*/ 571500 h 1143000"/>
                <a:gd name="connsiteX1" fmla="*/ 0 w 571500"/>
                <a:gd name="connsiteY1" fmla="*/ 0 h 1143000"/>
                <a:gd name="connsiteX2" fmla="*/ 0 w 571500"/>
                <a:gd name="connsiteY2" fmla="*/ 1143000 h 1143000"/>
                <a:gd name="connsiteX3" fmla="*/ 571500 w 571500"/>
                <a:gd name="connsiteY3" fmla="*/ 571500 h 1143000"/>
              </a:gdLst>
              <a:ahLst/>
              <a:cxnLst>
                <a:cxn ang="0">
                  <a:pos x="connsiteX0" y="connsiteY0"/>
                </a:cxn>
                <a:cxn ang="0">
                  <a:pos x="connsiteX1" y="connsiteY1"/>
                </a:cxn>
                <a:cxn ang="0">
                  <a:pos x="connsiteX2" y="connsiteY2"/>
                </a:cxn>
                <a:cxn ang="0">
                  <a:pos x="connsiteX3" y="connsiteY3"/>
                </a:cxn>
              </a:cxnLst>
              <a:rect l="l" t="t" r="r" b="b"/>
              <a:pathLst>
                <a:path w="571500" h="1143000">
                  <a:moveTo>
                    <a:pt x="571500" y="571500"/>
                  </a:moveTo>
                  <a:cubicBezTo>
                    <a:pt x="571500" y="256375"/>
                    <a:pt x="315125" y="0"/>
                    <a:pt x="0" y="0"/>
                  </a:cubicBezTo>
                  <a:lnTo>
                    <a:pt x="0" y="1143000"/>
                  </a:lnTo>
                  <a:cubicBezTo>
                    <a:pt x="315125" y="1143000"/>
                    <a:pt x="571500" y="886625"/>
                    <a:pt x="571500" y="571500"/>
                  </a:cubicBezTo>
                  <a:close/>
                </a:path>
              </a:pathLst>
            </a:custGeom>
            <a:solidFill>
              <a:srgbClr val="FFDDCE"/>
            </a:solidFill>
            <a:ln w="9525" cap="flat">
              <a:noFill/>
              <a:prstDash val="solid"/>
              <a:miter/>
            </a:ln>
          </p:spPr>
          <p:txBody>
            <a:bodyPr rtlCol="0" anchor="ctr"/>
            <a:lstStyle/>
            <a:p>
              <a:endParaRPr lang="en-GB" dirty="0"/>
            </a:p>
          </p:txBody>
        </p:sp>
        <p:sp>
          <p:nvSpPr>
            <p:cNvPr id="318" name="Vrije vorm: vorm 317">
              <a:extLst>
                <a:ext uri="{FF2B5EF4-FFF2-40B4-BE49-F238E27FC236}">
                  <a16:creationId xmlns:a16="http://schemas.microsoft.com/office/drawing/2014/main" id="{D295775C-A2CB-F6EC-FF7D-2CB35931A973}"/>
                </a:ext>
              </a:extLst>
            </p:cNvPr>
            <p:cNvSpPr/>
            <p:nvPr/>
          </p:nvSpPr>
          <p:spPr>
            <a:xfrm>
              <a:off x="1662559" y="5198313"/>
              <a:ext cx="101603" cy="616391"/>
            </a:xfrm>
            <a:custGeom>
              <a:avLst/>
              <a:gdLst>
                <a:gd name="connsiteX0" fmla="*/ 0 w 285750"/>
                <a:gd name="connsiteY0" fmla="*/ 142875 h 1733550"/>
                <a:gd name="connsiteX1" fmla="*/ 0 w 285750"/>
                <a:gd name="connsiteY1" fmla="*/ 1733550 h 1733550"/>
                <a:gd name="connsiteX2" fmla="*/ 285750 w 285750"/>
                <a:gd name="connsiteY2" fmla="*/ 1733550 h 1733550"/>
                <a:gd name="connsiteX3" fmla="*/ 285750 w 285750"/>
                <a:gd name="connsiteY3" fmla="*/ 142875 h 1733550"/>
                <a:gd name="connsiteX4" fmla="*/ 142875 w 285750"/>
                <a:gd name="connsiteY4" fmla="*/ 0 h 1733550"/>
                <a:gd name="connsiteX5" fmla="*/ 0 w 285750"/>
                <a:gd name="connsiteY5" fmla="*/ 142875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0" h="1733550">
                  <a:moveTo>
                    <a:pt x="0" y="142875"/>
                  </a:moveTo>
                  <a:lnTo>
                    <a:pt x="0" y="1733550"/>
                  </a:lnTo>
                  <a:lnTo>
                    <a:pt x="285750" y="1733550"/>
                  </a:lnTo>
                  <a:lnTo>
                    <a:pt x="285750" y="142875"/>
                  </a:lnTo>
                  <a:cubicBezTo>
                    <a:pt x="285750" y="63970"/>
                    <a:pt x="221780" y="0"/>
                    <a:pt x="142875" y="0"/>
                  </a:cubicBezTo>
                  <a:cubicBezTo>
                    <a:pt x="63970" y="0"/>
                    <a:pt x="0" y="63970"/>
                    <a:pt x="0" y="142875"/>
                  </a:cubicBezTo>
                  <a:close/>
                </a:path>
              </a:pathLst>
            </a:custGeom>
            <a:solidFill>
              <a:schemeClr val="accent5">
                <a:lumMod val="75000"/>
              </a:schemeClr>
            </a:solidFill>
            <a:ln w="9525" cap="flat">
              <a:noFill/>
              <a:prstDash val="solid"/>
              <a:miter/>
            </a:ln>
          </p:spPr>
          <p:txBody>
            <a:bodyPr rtlCol="0" anchor="ctr"/>
            <a:lstStyle/>
            <a:p>
              <a:endParaRPr lang="en-GB" dirty="0"/>
            </a:p>
          </p:txBody>
        </p:sp>
        <p:sp>
          <p:nvSpPr>
            <p:cNvPr id="319" name="Vrije vorm: vorm 318">
              <a:extLst>
                <a:ext uri="{FF2B5EF4-FFF2-40B4-BE49-F238E27FC236}">
                  <a16:creationId xmlns:a16="http://schemas.microsoft.com/office/drawing/2014/main" id="{DA3ADFFA-6F0F-58A2-844B-064FF592395E}"/>
                </a:ext>
              </a:extLst>
            </p:cNvPr>
            <p:cNvSpPr/>
            <p:nvPr/>
          </p:nvSpPr>
          <p:spPr>
            <a:xfrm>
              <a:off x="1713360" y="5198313"/>
              <a:ext cx="50801" cy="616391"/>
            </a:xfrm>
            <a:custGeom>
              <a:avLst/>
              <a:gdLst>
                <a:gd name="connsiteX0" fmla="*/ 142875 w 142875"/>
                <a:gd name="connsiteY0" fmla="*/ 1733550 h 1733550"/>
                <a:gd name="connsiteX1" fmla="*/ 142875 w 142875"/>
                <a:gd name="connsiteY1" fmla="*/ 142875 h 1733550"/>
                <a:gd name="connsiteX2" fmla="*/ 0 w 142875"/>
                <a:gd name="connsiteY2" fmla="*/ 0 h 1733550"/>
                <a:gd name="connsiteX3" fmla="*/ 0 w 142875"/>
                <a:gd name="connsiteY3" fmla="*/ 1733550 h 1733550"/>
              </a:gdLst>
              <a:ahLst/>
              <a:cxnLst>
                <a:cxn ang="0">
                  <a:pos x="connsiteX0" y="connsiteY0"/>
                </a:cxn>
                <a:cxn ang="0">
                  <a:pos x="connsiteX1" y="connsiteY1"/>
                </a:cxn>
                <a:cxn ang="0">
                  <a:pos x="connsiteX2" y="connsiteY2"/>
                </a:cxn>
                <a:cxn ang="0">
                  <a:pos x="connsiteX3" y="connsiteY3"/>
                </a:cxn>
              </a:cxnLst>
              <a:rect l="l" t="t" r="r" b="b"/>
              <a:pathLst>
                <a:path w="142875" h="1733550">
                  <a:moveTo>
                    <a:pt x="142875" y="1733550"/>
                  </a:moveTo>
                  <a:lnTo>
                    <a:pt x="142875" y="142875"/>
                  </a:lnTo>
                  <a:cubicBezTo>
                    <a:pt x="142875" y="63970"/>
                    <a:pt x="78905" y="0"/>
                    <a:pt x="0" y="0"/>
                  </a:cubicBezTo>
                  <a:lnTo>
                    <a:pt x="0" y="1733550"/>
                  </a:lnTo>
                  <a:close/>
                </a:path>
              </a:pathLst>
            </a:custGeom>
            <a:solidFill>
              <a:schemeClr val="accent5">
                <a:lumMod val="50000"/>
              </a:schemeClr>
            </a:solidFill>
            <a:ln w="9525" cap="flat">
              <a:noFill/>
              <a:prstDash val="solid"/>
              <a:miter/>
            </a:ln>
          </p:spPr>
          <p:txBody>
            <a:bodyPr rtlCol="0" anchor="ctr"/>
            <a:lstStyle/>
            <a:p>
              <a:endParaRPr lang="en-GB" dirty="0"/>
            </a:p>
          </p:txBody>
        </p:sp>
      </p:grpSp>
      <p:grpSp>
        <p:nvGrpSpPr>
          <p:cNvPr id="2" name="Groep 1">
            <a:extLst>
              <a:ext uri="{FF2B5EF4-FFF2-40B4-BE49-F238E27FC236}">
                <a16:creationId xmlns:a16="http://schemas.microsoft.com/office/drawing/2014/main" id="{FF6C82A2-D3DE-3ADD-D94A-0F774C09496C}"/>
              </a:ext>
            </a:extLst>
          </p:cNvPr>
          <p:cNvGrpSpPr/>
          <p:nvPr/>
        </p:nvGrpSpPr>
        <p:grpSpPr>
          <a:xfrm>
            <a:off x="4962803" y="3548418"/>
            <a:ext cx="2408220" cy="2317386"/>
            <a:chOff x="4962803" y="3548418"/>
            <a:chExt cx="2408220" cy="2317386"/>
          </a:xfrm>
        </p:grpSpPr>
        <p:grpSp>
          <p:nvGrpSpPr>
            <p:cNvPr id="12" name="Graphic 9">
              <a:extLst>
                <a:ext uri="{FF2B5EF4-FFF2-40B4-BE49-F238E27FC236}">
                  <a16:creationId xmlns:a16="http://schemas.microsoft.com/office/drawing/2014/main" id="{40DB3092-FFFA-F51D-701E-6F94F0F6BDE0}"/>
                </a:ext>
              </a:extLst>
            </p:cNvPr>
            <p:cNvGrpSpPr/>
            <p:nvPr/>
          </p:nvGrpSpPr>
          <p:grpSpPr>
            <a:xfrm>
              <a:off x="4962803" y="3548418"/>
              <a:ext cx="899378" cy="2243220"/>
              <a:chOff x="3621783" y="3969673"/>
              <a:chExt cx="735888" cy="1835447"/>
            </a:xfrm>
          </p:grpSpPr>
          <p:sp>
            <p:nvSpPr>
              <p:cNvPr id="13" name="Vrije vorm: vorm 12">
                <a:extLst>
                  <a:ext uri="{FF2B5EF4-FFF2-40B4-BE49-F238E27FC236}">
                    <a16:creationId xmlns:a16="http://schemas.microsoft.com/office/drawing/2014/main" id="{CE9BA8A4-5069-ACD6-EAE9-572A4AED0610}"/>
                  </a:ext>
                </a:extLst>
              </p:cNvPr>
              <p:cNvSpPr/>
              <p:nvPr/>
            </p:nvSpPr>
            <p:spPr>
              <a:xfrm>
                <a:off x="3621783" y="4380863"/>
                <a:ext cx="735888" cy="1424257"/>
              </a:xfrm>
              <a:custGeom>
                <a:avLst/>
                <a:gdLst>
                  <a:gd name="connsiteX0" fmla="*/ 579983 w 735888"/>
                  <a:gd name="connsiteY0" fmla="*/ 771530 h 1424257"/>
                  <a:gd name="connsiteX1" fmla="*/ 579983 w 735888"/>
                  <a:gd name="connsiteY1" fmla="*/ 1381073 h 1424257"/>
                  <a:gd name="connsiteX2" fmla="*/ 536797 w 735888"/>
                  <a:gd name="connsiteY2" fmla="*/ 1424258 h 1424257"/>
                  <a:gd name="connsiteX3" fmla="*/ 199087 w 735888"/>
                  <a:gd name="connsiteY3" fmla="*/ 1424258 h 1424257"/>
                  <a:gd name="connsiteX4" fmla="*/ 155902 w 735888"/>
                  <a:gd name="connsiteY4" fmla="*/ 1381073 h 1424257"/>
                  <a:gd name="connsiteX5" fmla="*/ 155906 w 735888"/>
                  <a:gd name="connsiteY5" fmla="*/ 771530 h 1424257"/>
                  <a:gd name="connsiteX6" fmla="*/ 0 w 735888"/>
                  <a:gd name="connsiteY6" fmla="*/ 622568 h 1424257"/>
                  <a:gd name="connsiteX7" fmla="*/ 0 w 735888"/>
                  <a:gd name="connsiteY7" fmla="*/ 175773 h 1424257"/>
                  <a:gd name="connsiteX8" fmla="*/ 155910 w 735888"/>
                  <a:gd name="connsiteY8" fmla="*/ 26811 h 1424257"/>
                  <a:gd name="connsiteX9" fmla="*/ 579983 w 735888"/>
                  <a:gd name="connsiteY9" fmla="*/ 26811 h 1424257"/>
                  <a:gd name="connsiteX10" fmla="*/ 735888 w 735888"/>
                  <a:gd name="connsiteY10" fmla="*/ 175773 h 1424257"/>
                  <a:gd name="connsiteX11" fmla="*/ 735888 w 735888"/>
                  <a:gd name="connsiteY11" fmla="*/ 622564 h 1424257"/>
                  <a:gd name="connsiteX12" fmla="*/ 579983 w 735888"/>
                  <a:gd name="connsiteY12" fmla="*/ 771530 h 142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5888" h="1424257">
                    <a:moveTo>
                      <a:pt x="579983" y="771530"/>
                    </a:moveTo>
                    <a:lnTo>
                      <a:pt x="579983" y="1381073"/>
                    </a:lnTo>
                    <a:cubicBezTo>
                      <a:pt x="579983" y="1404856"/>
                      <a:pt x="560585" y="1424258"/>
                      <a:pt x="536797" y="1424258"/>
                    </a:cubicBezTo>
                    <a:lnTo>
                      <a:pt x="199087" y="1424258"/>
                    </a:lnTo>
                    <a:cubicBezTo>
                      <a:pt x="175304" y="1424258"/>
                      <a:pt x="155902" y="1404860"/>
                      <a:pt x="155902" y="1381073"/>
                    </a:cubicBezTo>
                    <a:lnTo>
                      <a:pt x="155906" y="771530"/>
                    </a:lnTo>
                    <a:cubicBezTo>
                      <a:pt x="70160" y="771530"/>
                      <a:pt x="0" y="704502"/>
                      <a:pt x="0" y="622568"/>
                    </a:cubicBezTo>
                    <a:lnTo>
                      <a:pt x="0" y="175773"/>
                    </a:lnTo>
                    <a:cubicBezTo>
                      <a:pt x="0" y="93843"/>
                      <a:pt x="73119" y="48103"/>
                      <a:pt x="155910" y="26811"/>
                    </a:cubicBezTo>
                    <a:cubicBezTo>
                      <a:pt x="299413" y="-10095"/>
                      <a:pt x="440649" y="-7760"/>
                      <a:pt x="579983" y="26811"/>
                    </a:cubicBezTo>
                    <a:cubicBezTo>
                      <a:pt x="662970" y="47399"/>
                      <a:pt x="735888" y="93866"/>
                      <a:pt x="735888" y="175773"/>
                    </a:cubicBezTo>
                    <a:lnTo>
                      <a:pt x="735888" y="622564"/>
                    </a:lnTo>
                    <a:cubicBezTo>
                      <a:pt x="735884" y="704478"/>
                      <a:pt x="665728" y="771530"/>
                      <a:pt x="579983" y="771530"/>
                    </a:cubicBezTo>
                    <a:close/>
                  </a:path>
                </a:pathLst>
              </a:custGeom>
              <a:solidFill>
                <a:schemeClr val="accent5">
                  <a:lumMod val="60000"/>
                  <a:lumOff val="40000"/>
                </a:schemeClr>
              </a:solidFill>
              <a:ln w="3925" cap="flat">
                <a:noFill/>
                <a:prstDash val="solid"/>
                <a:miter/>
              </a:ln>
            </p:spPr>
            <p:txBody>
              <a:bodyPr rtlCol="0" anchor="ctr"/>
              <a:lstStyle/>
              <a:p>
                <a:endParaRPr lang="en-GB" dirty="0"/>
              </a:p>
            </p:txBody>
          </p:sp>
          <p:sp>
            <p:nvSpPr>
              <p:cNvPr id="14" name="Vrije vorm: vorm 13">
                <a:extLst>
                  <a:ext uri="{FF2B5EF4-FFF2-40B4-BE49-F238E27FC236}">
                    <a16:creationId xmlns:a16="http://schemas.microsoft.com/office/drawing/2014/main" id="{73F1135D-18CE-752B-7838-7CB692FD99A5}"/>
                  </a:ext>
                </a:extLst>
              </p:cNvPr>
              <p:cNvSpPr/>
              <p:nvPr/>
            </p:nvSpPr>
            <p:spPr>
              <a:xfrm>
                <a:off x="3966244" y="4380871"/>
                <a:ext cx="391427" cy="771520"/>
              </a:xfrm>
              <a:custGeom>
                <a:avLst/>
                <a:gdLst>
                  <a:gd name="connsiteX0" fmla="*/ 192332 w 391427"/>
                  <a:gd name="connsiteY0" fmla="*/ 771517 h 771520"/>
                  <a:gd name="connsiteX1" fmla="*/ 348238 w 391427"/>
                  <a:gd name="connsiteY1" fmla="*/ 622555 h 771520"/>
                  <a:gd name="connsiteX2" fmla="*/ 348238 w 391427"/>
                  <a:gd name="connsiteY2" fmla="*/ 175768 h 771520"/>
                  <a:gd name="connsiteX3" fmla="*/ 192332 w 391427"/>
                  <a:gd name="connsiteY3" fmla="*/ 26806 h 771520"/>
                  <a:gd name="connsiteX4" fmla="*/ 0 w 391427"/>
                  <a:gd name="connsiteY4" fmla="*/ 279 h 771520"/>
                  <a:gd name="connsiteX5" fmla="*/ 235521 w 391427"/>
                  <a:gd name="connsiteY5" fmla="*/ 26806 h 771520"/>
                  <a:gd name="connsiteX6" fmla="*/ 391427 w 391427"/>
                  <a:gd name="connsiteY6" fmla="*/ 175768 h 771520"/>
                  <a:gd name="connsiteX7" fmla="*/ 391427 w 391427"/>
                  <a:gd name="connsiteY7" fmla="*/ 622559 h 771520"/>
                  <a:gd name="connsiteX8" fmla="*/ 235521 w 391427"/>
                  <a:gd name="connsiteY8" fmla="*/ 771521 h 771520"/>
                  <a:gd name="connsiteX9" fmla="*/ 192332 w 391427"/>
                  <a:gd name="connsiteY9" fmla="*/ 771521 h 77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1427" h="771520">
                    <a:moveTo>
                      <a:pt x="192332" y="771517"/>
                    </a:moveTo>
                    <a:cubicBezTo>
                      <a:pt x="278078" y="771517"/>
                      <a:pt x="348238" y="704469"/>
                      <a:pt x="348238" y="622555"/>
                    </a:cubicBezTo>
                    <a:lnTo>
                      <a:pt x="348238" y="175768"/>
                    </a:lnTo>
                    <a:cubicBezTo>
                      <a:pt x="348238" y="93861"/>
                      <a:pt x="275315" y="47395"/>
                      <a:pt x="192332" y="26806"/>
                    </a:cubicBezTo>
                    <a:cubicBezTo>
                      <a:pt x="128629" y="11000"/>
                      <a:pt x="64529" y="1942"/>
                      <a:pt x="0" y="279"/>
                    </a:cubicBezTo>
                    <a:cubicBezTo>
                      <a:pt x="79144" y="-1768"/>
                      <a:pt x="157631" y="7479"/>
                      <a:pt x="235521" y="26806"/>
                    </a:cubicBezTo>
                    <a:cubicBezTo>
                      <a:pt x="318508" y="47395"/>
                      <a:pt x="391427" y="93861"/>
                      <a:pt x="391427" y="175768"/>
                    </a:cubicBezTo>
                    <a:lnTo>
                      <a:pt x="391427" y="622559"/>
                    </a:lnTo>
                    <a:cubicBezTo>
                      <a:pt x="391427" y="704469"/>
                      <a:pt x="321271" y="771521"/>
                      <a:pt x="235521" y="771521"/>
                    </a:cubicBezTo>
                    <a:lnTo>
                      <a:pt x="192332" y="771521"/>
                    </a:lnTo>
                    <a:close/>
                  </a:path>
                </a:pathLst>
              </a:custGeom>
              <a:solidFill>
                <a:schemeClr val="accent5"/>
              </a:solidFill>
              <a:ln w="3925" cap="flat">
                <a:noFill/>
                <a:prstDash val="solid"/>
                <a:miter/>
              </a:ln>
            </p:spPr>
            <p:txBody>
              <a:bodyPr rtlCol="0" anchor="ctr"/>
              <a:lstStyle/>
              <a:p>
                <a:endParaRPr lang="en-GB" dirty="0"/>
              </a:p>
            </p:txBody>
          </p:sp>
          <p:sp>
            <p:nvSpPr>
              <p:cNvPr id="15" name="Vrije vorm: vorm 14">
                <a:extLst>
                  <a:ext uri="{FF2B5EF4-FFF2-40B4-BE49-F238E27FC236}">
                    <a16:creationId xmlns:a16="http://schemas.microsoft.com/office/drawing/2014/main" id="{96A8525C-84DE-7903-62B4-2772AADB43E7}"/>
                  </a:ext>
                </a:extLst>
              </p:cNvPr>
              <p:cNvSpPr/>
              <p:nvPr/>
            </p:nvSpPr>
            <p:spPr>
              <a:xfrm>
                <a:off x="3743137" y="4624410"/>
                <a:ext cx="493175" cy="562529"/>
              </a:xfrm>
              <a:custGeom>
                <a:avLst/>
                <a:gdLst>
                  <a:gd name="connsiteX0" fmla="*/ 458628 w 493175"/>
                  <a:gd name="connsiteY0" fmla="*/ 527978 h 562529"/>
                  <a:gd name="connsiteX1" fmla="*/ 458628 w 493175"/>
                  <a:gd name="connsiteY1" fmla="*/ 562530 h 562529"/>
                  <a:gd name="connsiteX2" fmla="*/ 424080 w 493175"/>
                  <a:gd name="connsiteY2" fmla="*/ 527982 h 562529"/>
                  <a:gd name="connsiteX3" fmla="*/ 424080 w 493175"/>
                  <a:gd name="connsiteY3" fmla="*/ 34551 h 562529"/>
                  <a:gd name="connsiteX4" fmla="*/ 458628 w 493175"/>
                  <a:gd name="connsiteY4" fmla="*/ 0 h 562529"/>
                  <a:gd name="connsiteX5" fmla="*/ 493176 w 493175"/>
                  <a:gd name="connsiteY5" fmla="*/ 34551 h 562529"/>
                  <a:gd name="connsiteX6" fmla="*/ 493176 w 493175"/>
                  <a:gd name="connsiteY6" fmla="*/ 524261 h 562529"/>
                  <a:gd name="connsiteX7" fmla="*/ 458628 w 493175"/>
                  <a:gd name="connsiteY7" fmla="*/ 527978 h 562529"/>
                  <a:gd name="connsiteX8" fmla="*/ 34548 w 493175"/>
                  <a:gd name="connsiteY8" fmla="*/ 562530 h 562529"/>
                  <a:gd name="connsiteX9" fmla="*/ 34548 w 493175"/>
                  <a:gd name="connsiteY9" fmla="*/ 527978 h 562529"/>
                  <a:gd name="connsiteX10" fmla="*/ 0 w 493175"/>
                  <a:gd name="connsiteY10" fmla="*/ 524261 h 562529"/>
                  <a:gd name="connsiteX11" fmla="*/ 0 w 493175"/>
                  <a:gd name="connsiteY11" fmla="*/ 34551 h 562529"/>
                  <a:gd name="connsiteX12" fmla="*/ 34548 w 493175"/>
                  <a:gd name="connsiteY12" fmla="*/ 0 h 562529"/>
                  <a:gd name="connsiteX13" fmla="*/ 69095 w 493175"/>
                  <a:gd name="connsiteY13" fmla="*/ 34551 h 562529"/>
                  <a:gd name="connsiteX14" fmla="*/ 69095 w 493175"/>
                  <a:gd name="connsiteY14" fmla="*/ 527982 h 562529"/>
                  <a:gd name="connsiteX15" fmla="*/ 34548 w 493175"/>
                  <a:gd name="connsiteY15" fmla="*/ 562530 h 56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3175" h="562529">
                    <a:moveTo>
                      <a:pt x="458628" y="527978"/>
                    </a:moveTo>
                    <a:lnTo>
                      <a:pt x="458628" y="562530"/>
                    </a:lnTo>
                    <a:cubicBezTo>
                      <a:pt x="439548" y="562530"/>
                      <a:pt x="424080" y="547062"/>
                      <a:pt x="424080" y="527982"/>
                    </a:cubicBezTo>
                    <a:lnTo>
                      <a:pt x="424080" y="34551"/>
                    </a:lnTo>
                    <a:cubicBezTo>
                      <a:pt x="424080" y="15472"/>
                      <a:pt x="439548" y="0"/>
                      <a:pt x="458628" y="0"/>
                    </a:cubicBezTo>
                    <a:cubicBezTo>
                      <a:pt x="477708" y="0"/>
                      <a:pt x="493176" y="15468"/>
                      <a:pt x="493176" y="34551"/>
                    </a:cubicBezTo>
                    <a:lnTo>
                      <a:pt x="493176" y="524261"/>
                    </a:lnTo>
                    <a:cubicBezTo>
                      <a:pt x="482054" y="526689"/>
                      <a:pt x="470488" y="527978"/>
                      <a:pt x="458628" y="527978"/>
                    </a:cubicBezTo>
                    <a:close/>
                    <a:moveTo>
                      <a:pt x="34548" y="562530"/>
                    </a:moveTo>
                    <a:lnTo>
                      <a:pt x="34548" y="527978"/>
                    </a:lnTo>
                    <a:cubicBezTo>
                      <a:pt x="22683" y="527978"/>
                      <a:pt x="11122" y="526689"/>
                      <a:pt x="0" y="524261"/>
                    </a:cubicBezTo>
                    <a:lnTo>
                      <a:pt x="0" y="34551"/>
                    </a:lnTo>
                    <a:cubicBezTo>
                      <a:pt x="0" y="15472"/>
                      <a:pt x="15468" y="0"/>
                      <a:pt x="34548" y="0"/>
                    </a:cubicBezTo>
                    <a:cubicBezTo>
                      <a:pt x="53627" y="0"/>
                      <a:pt x="69095" y="15468"/>
                      <a:pt x="69095" y="34551"/>
                    </a:cubicBezTo>
                    <a:lnTo>
                      <a:pt x="69095" y="527982"/>
                    </a:lnTo>
                    <a:cubicBezTo>
                      <a:pt x="69099" y="547062"/>
                      <a:pt x="53627" y="562530"/>
                      <a:pt x="34548" y="562530"/>
                    </a:cubicBezTo>
                    <a:close/>
                  </a:path>
                </a:pathLst>
              </a:custGeom>
              <a:solidFill>
                <a:schemeClr val="accent5"/>
              </a:solidFill>
              <a:ln w="3925" cap="flat">
                <a:noFill/>
                <a:prstDash val="solid"/>
                <a:miter/>
              </a:ln>
            </p:spPr>
            <p:txBody>
              <a:bodyPr rtlCol="0" anchor="ctr"/>
              <a:lstStyle/>
              <a:p>
                <a:endParaRPr lang="en-GB" dirty="0"/>
              </a:p>
            </p:txBody>
          </p:sp>
          <p:sp>
            <p:nvSpPr>
              <p:cNvPr id="16" name="Vrije vorm: vorm 15">
                <a:extLst>
                  <a:ext uri="{FF2B5EF4-FFF2-40B4-BE49-F238E27FC236}">
                    <a16:creationId xmlns:a16="http://schemas.microsoft.com/office/drawing/2014/main" id="{084B8699-C918-275D-DC33-7095B6534091}"/>
                  </a:ext>
                </a:extLst>
              </p:cNvPr>
              <p:cNvSpPr/>
              <p:nvPr/>
            </p:nvSpPr>
            <p:spPr>
              <a:xfrm>
                <a:off x="3777685" y="5152388"/>
                <a:ext cx="424080" cy="652732"/>
              </a:xfrm>
              <a:custGeom>
                <a:avLst/>
                <a:gdLst>
                  <a:gd name="connsiteX0" fmla="*/ 424080 w 424080"/>
                  <a:gd name="connsiteY0" fmla="*/ 0 h 652732"/>
                  <a:gd name="connsiteX1" fmla="*/ 424080 w 424080"/>
                  <a:gd name="connsiteY1" fmla="*/ 609547 h 652732"/>
                  <a:gd name="connsiteX2" fmla="*/ 380895 w 424080"/>
                  <a:gd name="connsiteY2" fmla="*/ 652732 h 652732"/>
                  <a:gd name="connsiteX3" fmla="*/ 43185 w 424080"/>
                  <a:gd name="connsiteY3" fmla="*/ 652732 h 652732"/>
                  <a:gd name="connsiteX4" fmla="*/ 0 w 424080"/>
                  <a:gd name="connsiteY4" fmla="*/ 609547 h 652732"/>
                  <a:gd name="connsiteX5" fmla="*/ 0 w 424080"/>
                  <a:gd name="connsiteY5" fmla="*/ 0 h 65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080" h="652732">
                    <a:moveTo>
                      <a:pt x="424080" y="0"/>
                    </a:moveTo>
                    <a:lnTo>
                      <a:pt x="424080" y="609547"/>
                    </a:lnTo>
                    <a:cubicBezTo>
                      <a:pt x="424080" y="633331"/>
                      <a:pt x="404679" y="652732"/>
                      <a:pt x="380895" y="652732"/>
                    </a:cubicBezTo>
                    <a:lnTo>
                      <a:pt x="43185" y="652732"/>
                    </a:lnTo>
                    <a:cubicBezTo>
                      <a:pt x="19402" y="652732"/>
                      <a:pt x="0" y="633334"/>
                      <a:pt x="0" y="609547"/>
                    </a:cubicBezTo>
                    <a:lnTo>
                      <a:pt x="0" y="0"/>
                    </a:lnTo>
                    <a:close/>
                  </a:path>
                </a:pathLst>
              </a:custGeom>
              <a:solidFill>
                <a:schemeClr val="bg2">
                  <a:lumMod val="75000"/>
                </a:schemeClr>
              </a:solidFill>
              <a:ln w="3925" cap="flat">
                <a:noFill/>
                <a:prstDash val="solid"/>
                <a:miter/>
              </a:ln>
            </p:spPr>
            <p:txBody>
              <a:bodyPr rtlCol="0" anchor="ctr"/>
              <a:lstStyle/>
              <a:p>
                <a:endParaRPr lang="en-GB" dirty="0"/>
              </a:p>
            </p:txBody>
          </p:sp>
          <p:sp>
            <p:nvSpPr>
              <p:cNvPr id="17" name="Vrije vorm: vorm 16">
                <a:extLst>
                  <a:ext uri="{FF2B5EF4-FFF2-40B4-BE49-F238E27FC236}">
                    <a16:creationId xmlns:a16="http://schemas.microsoft.com/office/drawing/2014/main" id="{A58E4852-B18C-476B-D858-201607EE1897}"/>
                  </a:ext>
                </a:extLst>
              </p:cNvPr>
              <p:cNvSpPr/>
              <p:nvPr/>
            </p:nvSpPr>
            <p:spPr>
              <a:xfrm>
                <a:off x="4115391" y="5152388"/>
                <a:ext cx="86374" cy="652732"/>
              </a:xfrm>
              <a:custGeom>
                <a:avLst/>
                <a:gdLst>
                  <a:gd name="connsiteX0" fmla="*/ 86375 w 86374"/>
                  <a:gd name="connsiteY0" fmla="*/ 0 h 652732"/>
                  <a:gd name="connsiteX1" fmla="*/ 86375 w 86374"/>
                  <a:gd name="connsiteY1" fmla="*/ 609547 h 652732"/>
                  <a:gd name="connsiteX2" fmla="*/ 43189 w 86374"/>
                  <a:gd name="connsiteY2" fmla="*/ 652732 h 652732"/>
                  <a:gd name="connsiteX3" fmla="*/ 0 w 86374"/>
                  <a:gd name="connsiteY3" fmla="*/ 652732 h 652732"/>
                  <a:gd name="connsiteX4" fmla="*/ 43185 w 86374"/>
                  <a:gd name="connsiteY4" fmla="*/ 609547 h 652732"/>
                  <a:gd name="connsiteX5" fmla="*/ 43185 w 86374"/>
                  <a:gd name="connsiteY5" fmla="*/ 0 h 65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374" h="652732">
                    <a:moveTo>
                      <a:pt x="86375" y="0"/>
                    </a:moveTo>
                    <a:lnTo>
                      <a:pt x="86375" y="609547"/>
                    </a:lnTo>
                    <a:cubicBezTo>
                      <a:pt x="86375" y="633331"/>
                      <a:pt x="66973" y="652732"/>
                      <a:pt x="43189" y="652732"/>
                    </a:cubicBezTo>
                    <a:lnTo>
                      <a:pt x="0" y="652732"/>
                    </a:lnTo>
                    <a:cubicBezTo>
                      <a:pt x="23787" y="652732"/>
                      <a:pt x="43185" y="633334"/>
                      <a:pt x="43185" y="609547"/>
                    </a:cubicBezTo>
                    <a:lnTo>
                      <a:pt x="43185" y="0"/>
                    </a:lnTo>
                    <a:close/>
                  </a:path>
                </a:pathLst>
              </a:custGeom>
              <a:solidFill>
                <a:schemeClr val="bg1">
                  <a:lumMod val="65000"/>
                </a:schemeClr>
              </a:solidFill>
              <a:ln w="3925" cap="flat">
                <a:noFill/>
                <a:prstDash val="solid"/>
                <a:miter/>
              </a:ln>
            </p:spPr>
            <p:txBody>
              <a:bodyPr rtlCol="0" anchor="ctr"/>
              <a:lstStyle/>
              <a:p>
                <a:endParaRPr lang="en-GB" dirty="0"/>
              </a:p>
            </p:txBody>
          </p:sp>
          <p:sp>
            <p:nvSpPr>
              <p:cNvPr id="18" name="Vrije vorm: vorm 17">
                <a:extLst>
                  <a:ext uri="{FF2B5EF4-FFF2-40B4-BE49-F238E27FC236}">
                    <a16:creationId xmlns:a16="http://schemas.microsoft.com/office/drawing/2014/main" id="{1147E495-D6A1-A185-F8CD-674B80DD6A2B}"/>
                  </a:ext>
                </a:extLst>
              </p:cNvPr>
              <p:cNvSpPr/>
              <p:nvPr/>
            </p:nvSpPr>
            <p:spPr>
              <a:xfrm>
                <a:off x="3961010" y="5233957"/>
                <a:ext cx="69098" cy="571163"/>
              </a:xfrm>
              <a:custGeom>
                <a:avLst/>
                <a:gdLst>
                  <a:gd name="connsiteX0" fmla="*/ 69099 w 69098"/>
                  <a:gd name="connsiteY0" fmla="*/ 571164 h 571163"/>
                  <a:gd name="connsiteX1" fmla="*/ 0 w 69098"/>
                  <a:gd name="connsiteY1" fmla="*/ 571164 h 571163"/>
                  <a:gd name="connsiteX2" fmla="*/ 0 w 69098"/>
                  <a:gd name="connsiteY2" fmla="*/ 34547 h 571163"/>
                  <a:gd name="connsiteX3" fmla="*/ 34551 w 69098"/>
                  <a:gd name="connsiteY3" fmla="*/ 0 h 571163"/>
                  <a:gd name="connsiteX4" fmla="*/ 69099 w 69098"/>
                  <a:gd name="connsiteY4" fmla="*/ 34547 h 571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98" h="571163">
                    <a:moveTo>
                      <a:pt x="69099" y="571164"/>
                    </a:moveTo>
                    <a:lnTo>
                      <a:pt x="0" y="571164"/>
                    </a:lnTo>
                    <a:lnTo>
                      <a:pt x="0" y="34547"/>
                    </a:lnTo>
                    <a:cubicBezTo>
                      <a:pt x="0" y="15468"/>
                      <a:pt x="15472" y="0"/>
                      <a:pt x="34551" y="0"/>
                    </a:cubicBezTo>
                    <a:cubicBezTo>
                      <a:pt x="53631" y="0"/>
                      <a:pt x="69099" y="15468"/>
                      <a:pt x="69099" y="34547"/>
                    </a:cubicBezTo>
                    <a:close/>
                  </a:path>
                </a:pathLst>
              </a:custGeom>
              <a:solidFill>
                <a:schemeClr val="bg1">
                  <a:lumMod val="65000"/>
                </a:schemeClr>
              </a:solidFill>
              <a:ln w="3925" cap="flat">
                <a:noFill/>
                <a:prstDash val="solid"/>
                <a:miter/>
              </a:ln>
            </p:spPr>
            <p:txBody>
              <a:bodyPr rtlCol="0" anchor="ctr"/>
              <a:lstStyle/>
              <a:p>
                <a:endParaRPr lang="en-GB" dirty="0"/>
              </a:p>
            </p:txBody>
          </p:sp>
          <p:sp>
            <p:nvSpPr>
              <p:cNvPr id="19" name="Vrije vorm: vorm 18">
                <a:extLst>
                  <a:ext uri="{FF2B5EF4-FFF2-40B4-BE49-F238E27FC236}">
                    <a16:creationId xmlns:a16="http://schemas.microsoft.com/office/drawing/2014/main" id="{0B1369FE-A304-97AF-2FB1-79DD5D6A5951}"/>
                  </a:ext>
                </a:extLst>
              </p:cNvPr>
              <p:cNvSpPr/>
              <p:nvPr/>
            </p:nvSpPr>
            <p:spPr>
              <a:xfrm>
                <a:off x="3826054" y="3969673"/>
                <a:ext cx="327334" cy="385422"/>
              </a:xfrm>
              <a:custGeom>
                <a:avLst/>
                <a:gdLst>
                  <a:gd name="connsiteX0" fmla="*/ 163667 w 327334"/>
                  <a:gd name="connsiteY0" fmla="*/ 0 h 385422"/>
                  <a:gd name="connsiteX1" fmla="*/ 327335 w 327334"/>
                  <a:gd name="connsiteY1" fmla="*/ 170313 h 385422"/>
                  <a:gd name="connsiteX2" fmla="*/ 163667 w 327334"/>
                  <a:gd name="connsiteY2" fmla="*/ 385422 h 385422"/>
                  <a:gd name="connsiteX3" fmla="*/ 0 w 327334"/>
                  <a:gd name="connsiteY3" fmla="*/ 170313 h 385422"/>
                  <a:gd name="connsiteX4" fmla="*/ 163667 w 327334"/>
                  <a:gd name="connsiteY4" fmla="*/ 0 h 385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334" h="385422">
                    <a:moveTo>
                      <a:pt x="163667" y="0"/>
                    </a:moveTo>
                    <a:cubicBezTo>
                      <a:pt x="254058" y="0"/>
                      <a:pt x="327335" y="51513"/>
                      <a:pt x="327335" y="170313"/>
                    </a:cubicBezTo>
                    <a:cubicBezTo>
                      <a:pt x="327335" y="289113"/>
                      <a:pt x="254058" y="385422"/>
                      <a:pt x="163667" y="385422"/>
                    </a:cubicBezTo>
                    <a:cubicBezTo>
                      <a:pt x="73276" y="385422"/>
                      <a:pt x="0" y="289113"/>
                      <a:pt x="0" y="170313"/>
                    </a:cubicBezTo>
                    <a:cubicBezTo>
                      <a:pt x="0" y="51513"/>
                      <a:pt x="73276" y="0"/>
                      <a:pt x="163667" y="0"/>
                    </a:cubicBezTo>
                    <a:close/>
                  </a:path>
                </a:pathLst>
              </a:custGeom>
              <a:solidFill>
                <a:srgbClr val="F6DCCD"/>
              </a:solidFill>
              <a:ln w="3925" cap="flat">
                <a:noFill/>
                <a:prstDash val="solid"/>
                <a:miter/>
              </a:ln>
            </p:spPr>
            <p:txBody>
              <a:bodyPr rtlCol="0" anchor="ctr"/>
              <a:lstStyle/>
              <a:p>
                <a:endParaRPr lang="en-GB" dirty="0"/>
              </a:p>
            </p:txBody>
          </p:sp>
          <p:sp>
            <p:nvSpPr>
              <p:cNvPr id="20" name="Vrije vorm: vorm 19">
                <a:extLst>
                  <a:ext uri="{FF2B5EF4-FFF2-40B4-BE49-F238E27FC236}">
                    <a16:creationId xmlns:a16="http://schemas.microsoft.com/office/drawing/2014/main" id="{CB7B32D9-EBDA-D2B1-9582-7D9B003BA34C}"/>
                  </a:ext>
                </a:extLst>
              </p:cNvPr>
              <p:cNvSpPr/>
              <p:nvPr/>
            </p:nvSpPr>
            <p:spPr>
              <a:xfrm>
                <a:off x="3968127" y="3969673"/>
                <a:ext cx="185262" cy="385418"/>
              </a:xfrm>
              <a:custGeom>
                <a:avLst/>
                <a:gdLst>
                  <a:gd name="connsiteX0" fmla="*/ 21595 w 185262"/>
                  <a:gd name="connsiteY0" fmla="*/ 0 h 385418"/>
                  <a:gd name="connsiteX1" fmla="*/ 185262 w 185262"/>
                  <a:gd name="connsiteY1" fmla="*/ 170313 h 385418"/>
                  <a:gd name="connsiteX2" fmla="*/ 21595 w 185262"/>
                  <a:gd name="connsiteY2" fmla="*/ 385418 h 385418"/>
                  <a:gd name="connsiteX3" fmla="*/ 0 w 185262"/>
                  <a:gd name="connsiteY3" fmla="*/ 383552 h 385418"/>
                  <a:gd name="connsiteX4" fmla="*/ 142073 w 185262"/>
                  <a:gd name="connsiteY4" fmla="*/ 170313 h 385418"/>
                  <a:gd name="connsiteX5" fmla="*/ 0 w 185262"/>
                  <a:gd name="connsiteY5" fmla="*/ 1030 h 385418"/>
                  <a:gd name="connsiteX6" fmla="*/ 21595 w 185262"/>
                  <a:gd name="connsiteY6" fmla="*/ 0 h 385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262" h="385418">
                    <a:moveTo>
                      <a:pt x="21595" y="0"/>
                    </a:moveTo>
                    <a:cubicBezTo>
                      <a:pt x="111982" y="0"/>
                      <a:pt x="185262" y="51513"/>
                      <a:pt x="185262" y="170313"/>
                    </a:cubicBezTo>
                    <a:cubicBezTo>
                      <a:pt x="185262" y="289113"/>
                      <a:pt x="111982" y="385418"/>
                      <a:pt x="21595" y="385418"/>
                    </a:cubicBezTo>
                    <a:cubicBezTo>
                      <a:pt x="14273" y="385418"/>
                      <a:pt x="7066" y="384774"/>
                      <a:pt x="0" y="383552"/>
                    </a:cubicBezTo>
                    <a:cubicBezTo>
                      <a:pt x="80185" y="369660"/>
                      <a:pt x="142073" y="279489"/>
                      <a:pt x="142073" y="170313"/>
                    </a:cubicBezTo>
                    <a:cubicBezTo>
                      <a:pt x="142073" y="61133"/>
                      <a:pt x="80181" y="8791"/>
                      <a:pt x="0" y="1030"/>
                    </a:cubicBezTo>
                    <a:cubicBezTo>
                      <a:pt x="7070" y="346"/>
                      <a:pt x="14273" y="0"/>
                      <a:pt x="21595" y="0"/>
                    </a:cubicBezTo>
                    <a:close/>
                  </a:path>
                </a:pathLst>
              </a:custGeom>
              <a:solidFill>
                <a:srgbClr val="F1CBBC"/>
              </a:solidFill>
              <a:ln w="3925" cap="flat">
                <a:noFill/>
                <a:prstDash val="solid"/>
                <a:miter/>
              </a:ln>
            </p:spPr>
            <p:txBody>
              <a:bodyPr rtlCol="0" anchor="ctr"/>
              <a:lstStyle/>
              <a:p>
                <a:endParaRPr lang="en-GB" dirty="0"/>
              </a:p>
            </p:txBody>
          </p:sp>
        </p:grpSp>
        <p:grpSp>
          <p:nvGrpSpPr>
            <p:cNvPr id="21" name="Graphic 9">
              <a:extLst>
                <a:ext uri="{FF2B5EF4-FFF2-40B4-BE49-F238E27FC236}">
                  <a16:creationId xmlns:a16="http://schemas.microsoft.com/office/drawing/2014/main" id="{BBB72C4C-C44F-9428-281B-CDAB4ECE7F7B}"/>
                </a:ext>
              </a:extLst>
            </p:cNvPr>
            <p:cNvGrpSpPr/>
            <p:nvPr/>
          </p:nvGrpSpPr>
          <p:grpSpPr>
            <a:xfrm>
              <a:off x="5673919" y="4224329"/>
              <a:ext cx="1697104" cy="1641475"/>
              <a:chOff x="4203632" y="4522717"/>
              <a:chExt cx="1388604" cy="1343087"/>
            </a:xfrm>
          </p:grpSpPr>
          <p:sp>
            <p:nvSpPr>
              <p:cNvPr id="22" name="Vrije vorm: vorm 21">
                <a:extLst>
                  <a:ext uri="{FF2B5EF4-FFF2-40B4-BE49-F238E27FC236}">
                    <a16:creationId xmlns:a16="http://schemas.microsoft.com/office/drawing/2014/main" id="{186738AC-EBAF-3847-5132-B26C98B9AE67}"/>
                  </a:ext>
                </a:extLst>
              </p:cNvPr>
              <p:cNvSpPr/>
              <p:nvPr/>
            </p:nvSpPr>
            <p:spPr>
              <a:xfrm>
                <a:off x="4443048" y="4776402"/>
                <a:ext cx="1149189" cy="604901"/>
              </a:xfrm>
              <a:custGeom>
                <a:avLst/>
                <a:gdLst>
                  <a:gd name="connsiteX0" fmla="*/ 49560 w 1149189"/>
                  <a:gd name="connsiteY0" fmla="*/ 44105 h 604901"/>
                  <a:gd name="connsiteX1" fmla="*/ 81337 w 1149189"/>
                  <a:gd name="connsiteY1" fmla="*/ 185125 h 604901"/>
                  <a:gd name="connsiteX2" fmla="*/ 324042 w 1149189"/>
                  <a:gd name="connsiteY2" fmla="*/ 185125 h 604901"/>
                  <a:gd name="connsiteX3" fmla="*/ 324042 w 1149189"/>
                  <a:gd name="connsiteY3" fmla="*/ 44105 h 604901"/>
                  <a:gd name="connsiteX4" fmla="*/ 123457 w 1149189"/>
                  <a:gd name="connsiteY4" fmla="*/ 372057 h 604901"/>
                  <a:gd name="connsiteX5" fmla="*/ 324042 w 1149189"/>
                  <a:gd name="connsiteY5" fmla="*/ 372057 h 604901"/>
                  <a:gd name="connsiteX6" fmla="*/ 324042 w 1149189"/>
                  <a:gd name="connsiteY6" fmla="*/ 229233 h 604901"/>
                  <a:gd name="connsiteX7" fmla="*/ 91275 w 1149189"/>
                  <a:gd name="connsiteY7" fmla="*/ 229233 h 604901"/>
                  <a:gd name="connsiteX8" fmla="*/ 368147 w 1149189"/>
                  <a:gd name="connsiteY8" fmla="*/ 372057 h 604901"/>
                  <a:gd name="connsiteX9" fmla="*/ 565186 w 1149189"/>
                  <a:gd name="connsiteY9" fmla="*/ 372057 h 604901"/>
                  <a:gd name="connsiteX10" fmla="*/ 565186 w 1149189"/>
                  <a:gd name="connsiteY10" fmla="*/ 229233 h 604901"/>
                  <a:gd name="connsiteX11" fmla="*/ 368147 w 1149189"/>
                  <a:gd name="connsiteY11" fmla="*/ 229233 h 604901"/>
                  <a:gd name="connsiteX12" fmla="*/ 609295 w 1149189"/>
                  <a:gd name="connsiteY12" fmla="*/ 372057 h 604901"/>
                  <a:gd name="connsiteX13" fmla="*/ 806335 w 1149189"/>
                  <a:gd name="connsiteY13" fmla="*/ 372057 h 604901"/>
                  <a:gd name="connsiteX14" fmla="*/ 806335 w 1149189"/>
                  <a:gd name="connsiteY14" fmla="*/ 229233 h 604901"/>
                  <a:gd name="connsiteX15" fmla="*/ 609295 w 1149189"/>
                  <a:gd name="connsiteY15" fmla="*/ 229233 h 604901"/>
                  <a:gd name="connsiteX16" fmla="*/ 850444 w 1149189"/>
                  <a:gd name="connsiteY16" fmla="*/ 372057 h 604901"/>
                  <a:gd name="connsiteX17" fmla="*/ 1012768 w 1149189"/>
                  <a:gd name="connsiteY17" fmla="*/ 372057 h 604901"/>
                  <a:gd name="connsiteX18" fmla="*/ 1056822 w 1149189"/>
                  <a:gd name="connsiteY18" fmla="*/ 229233 h 604901"/>
                  <a:gd name="connsiteX19" fmla="*/ 850448 w 1149189"/>
                  <a:gd name="connsiteY19" fmla="*/ 229233 h 604901"/>
                  <a:gd name="connsiteX20" fmla="*/ 850448 w 1149189"/>
                  <a:gd name="connsiteY20" fmla="*/ 372057 h 604901"/>
                  <a:gd name="connsiteX21" fmla="*/ 999162 w 1149189"/>
                  <a:gd name="connsiteY21" fmla="*/ 416166 h 604901"/>
                  <a:gd name="connsiteX22" fmla="*/ 850444 w 1149189"/>
                  <a:gd name="connsiteY22" fmla="*/ 416166 h 604901"/>
                  <a:gd name="connsiteX23" fmla="*/ 850444 w 1149189"/>
                  <a:gd name="connsiteY23" fmla="*/ 560726 h 604901"/>
                  <a:gd name="connsiteX24" fmla="*/ 933478 w 1149189"/>
                  <a:gd name="connsiteY24" fmla="*/ 532345 h 604901"/>
                  <a:gd name="connsiteX25" fmla="*/ 986610 w 1149189"/>
                  <a:gd name="connsiteY25" fmla="*/ 456864 h 604901"/>
                  <a:gd name="connsiteX26" fmla="*/ 806339 w 1149189"/>
                  <a:gd name="connsiteY26" fmla="*/ 416166 h 604901"/>
                  <a:gd name="connsiteX27" fmla="*/ 609299 w 1149189"/>
                  <a:gd name="connsiteY27" fmla="*/ 416166 h 604901"/>
                  <a:gd name="connsiteX28" fmla="*/ 609299 w 1149189"/>
                  <a:gd name="connsiteY28" fmla="*/ 560793 h 604901"/>
                  <a:gd name="connsiteX29" fmla="*/ 806339 w 1149189"/>
                  <a:gd name="connsiteY29" fmla="*/ 560793 h 604901"/>
                  <a:gd name="connsiteX30" fmla="*/ 565190 w 1149189"/>
                  <a:gd name="connsiteY30" fmla="*/ 416166 h 604901"/>
                  <a:gd name="connsiteX31" fmla="*/ 368151 w 1149189"/>
                  <a:gd name="connsiteY31" fmla="*/ 416166 h 604901"/>
                  <a:gd name="connsiteX32" fmla="*/ 368151 w 1149189"/>
                  <a:gd name="connsiteY32" fmla="*/ 560793 h 604901"/>
                  <a:gd name="connsiteX33" fmla="*/ 565190 w 1149189"/>
                  <a:gd name="connsiteY33" fmla="*/ 560793 h 604901"/>
                  <a:gd name="connsiteX34" fmla="*/ 324038 w 1149189"/>
                  <a:gd name="connsiteY34" fmla="*/ 416166 h 604901"/>
                  <a:gd name="connsiteX35" fmla="*/ 133392 w 1149189"/>
                  <a:gd name="connsiteY35" fmla="*/ 416166 h 604901"/>
                  <a:gd name="connsiteX36" fmla="*/ 165982 w 1149189"/>
                  <a:gd name="connsiteY36" fmla="*/ 560793 h 604901"/>
                  <a:gd name="connsiteX37" fmla="*/ 324038 w 1149189"/>
                  <a:gd name="connsiteY37" fmla="*/ 560793 h 604901"/>
                  <a:gd name="connsiteX38" fmla="*/ 368147 w 1149189"/>
                  <a:gd name="connsiteY38" fmla="*/ 185125 h 604901"/>
                  <a:gd name="connsiteX39" fmla="*/ 565186 w 1149189"/>
                  <a:gd name="connsiteY39" fmla="*/ 185125 h 604901"/>
                  <a:gd name="connsiteX40" fmla="*/ 565186 w 1149189"/>
                  <a:gd name="connsiteY40" fmla="*/ 44105 h 604901"/>
                  <a:gd name="connsiteX41" fmla="*/ 368147 w 1149189"/>
                  <a:gd name="connsiteY41" fmla="*/ 44105 h 604901"/>
                  <a:gd name="connsiteX42" fmla="*/ 609295 w 1149189"/>
                  <a:gd name="connsiteY42" fmla="*/ 185125 h 604901"/>
                  <a:gd name="connsiteX43" fmla="*/ 806335 w 1149189"/>
                  <a:gd name="connsiteY43" fmla="*/ 185125 h 604901"/>
                  <a:gd name="connsiteX44" fmla="*/ 806335 w 1149189"/>
                  <a:gd name="connsiteY44" fmla="*/ 44105 h 604901"/>
                  <a:gd name="connsiteX45" fmla="*/ 609295 w 1149189"/>
                  <a:gd name="connsiteY45" fmla="*/ 44105 h 604901"/>
                  <a:gd name="connsiteX46" fmla="*/ 850444 w 1149189"/>
                  <a:gd name="connsiteY46" fmla="*/ 185125 h 604901"/>
                  <a:gd name="connsiteX47" fmla="*/ 1070423 w 1149189"/>
                  <a:gd name="connsiteY47" fmla="*/ 185125 h 604901"/>
                  <a:gd name="connsiteX48" fmla="*/ 1103776 w 1149189"/>
                  <a:gd name="connsiteY48" fmla="*/ 76990 h 604901"/>
                  <a:gd name="connsiteX49" fmla="*/ 1105076 w 1149189"/>
                  <a:gd name="connsiteY49" fmla="*/ 68105 h 604901"/>
                  <a:gd name="connsiteX50" fmla="*/ 1089868 w 1149189"/>
                  <a:gd name="connsiteY50" fmla="*/ 45021 h 604901"/>
                  <a:gd name="connsiteX51" fmla="*/ 1083112 w 1149189"/>
                  <a:gd name="connsiteY51" fmla="*/ 44109 h 604901"/>
                  <a:gd name="connsiteX52" fmla="*/ 850444 w 1149189"/>
                  <a:gd name="connsiteY52" fmla="*/ 44109 h 604901"/>
                  <a:gd name="connsiteX53" fmla="*/ 126966 w 1149189"/>
                  <a:gd name="connsiteY53" fmla="*/ 587677 h 604901"/>
                  <a:gd name="connsiteX54" fmla="*/ 998 w 1149189"/>
                  <a:gd name="connsiteY54" fmla="*/ 28637 h 604901"/>
                  <a:gd name="connsiteX55" fmla="*/ 0 w 1149189"/>
                  <a:gd name="connsiteY55" fmla="*/ 22054 h 604901"/>
                  <a:gd name="connsiteX56" fmla="*/ 22054 w 1149189"/>
                  <a:gd name="connsiteY56" fmla="*/ 0 h 604901"/>
                  <a:gd name="connsiteX57" fmla="*/ 1083116 w 1149189"/>
                  <a:gd name="connsiteY57" fmla="*/ 0 h 604901"/>
                  <a:gd name="connsiteX58" fmla="*/ 1102797 w 1149189"/>
                  <a:gd name="connsiteY58" fmla="*/ 2979 h 604901"/>
                  <a:gd name="connsiteX59" fmla="*/ 1149189 w 1149189"/>
                  <a:gd name="connsiteY59" fmla="*/ 68105 h 604901"/>
                  <a:gd name="connsiteX60" fmla="*/ 1145821 w 1149189"/>
                  <a:gd name="connsiteY60" fmla="*/ 89912 h 604901"/>
                  <a:gd name="connsiteX61" fmla="*/ 1028652 w 1149189"/>
                  <a:gd name="connsiteY61" fmla="*/ 469789 h 604901"/>
                  <a:gd name="connsiteX62" fmla="*/ 959671 w 1149189"/>
                  <a:gd name="connsiteY62" fmla="*/ 567666 h 604901"/>
                  <a:gd name="connsiteX63" fmla="*/ 845905 w 1149189"/>
                  <a:gd name="connsiteY63" fmla="*/ 604902 h 604901"/>
                  <a:gd name="connsiteX64" fmla="*/ 148416 w 1149189"/>
                  <a:gd name="connsiteY64" fmla="*/ 604902 h 604901"/>
                  <a:gd name="connsiteX65" fmla="*/ 148416 w 1149189"/>
                  <a:gd name="connsiteY65" fmla="*/ 604839 h 604901"/>
                  <a:gd name="connsiteX66" fmla="*/ 126966 w 1149189"/>
                  <a:gd name="connsiteY66" fmla="*/ 587677 h 604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149189" h="604901">
                    <a:moveTo>
                      <a:pt x="49560" y="44105"/>
                    </a:moveTo>
                    <a:lnTo>
                      <a:pt x="81337" y="185125"/>
                    </a:lnTo>
                    <a:lnTo>
                      <a:pt x="324042" y="185125"/>
                    </a:lnTo>
                    <a:lnTo>
                      <a:pt x="324042" y="44105"/>
                    </a:lnTo>
                    <a:close/>
                    <a:moveTo>
                      <a:pt x="123457" y="372057"/>
                    </a:moveTo>
                    <a:lnTo>
                      <a:pt x="324042" y="372057"/>
                    </a:lnTo>
                    <a:lnTo>
                      <a:pt x="324042" y="229233"/>
                    </a:lnTo>
                    <a:lnTo>
                      <a:pt x="91275" y="229233"/>
                    </a:lnTo>
                    <a:close/>
                    <a:moveTo>
                      <a:pt x="368147" y="372057"/>
                    </a:moveTo>
                    <a:lnTo>
                      <a:pt x="565186" y="372057"/>
                    </a:lnTo>
                    <a:lnTo>
                      <a:pt x="565186" y="229233"/>
                    </a:lnTo>
                    <a:lnTo>
                      <a:pt x="368147" y="229233"/>
                    </a:lnTo>
                    <a:close/>
                    <a:moveTo>
                      <a:pt x="609295" y="372057"/>
                    </a:moveTo>
                    <a:lnTo>
                      <a:pt x="806335" y="372057"/>
                    </a:lnTo>
                    <a:lnTo>
                      <a:pt x="806335" y="229233"/>
                    </a:lnTo>
                    <a:lnTo>
                      <a:pt x="609295" y="229233"/>
                    </a:lnTo>
                    <a:close/>
                    <a:moveTo>
                      <a:pt x="850444" y="372057"/>
                    </a:moveTo>
                    <a:lnTo>
                      <a:pt x="1012768" y="372057"/>
                    </a:lnTo>
                    <a:lnTo>
                      <a:pt x="1056822" y="229233"/>
                    </a:lnTo>
                    <a:lnTo>
                      <a:pt x="850448" y="229233"/>
                    </a:lnTo>
                    <a:lnTo>
                      <a:pt x="850448" y="372057"/>
                    </a:lnTo>
                    <a:close/>
                    <a:moveTo>
                      <a:pt x="999162" y="416166"/>
                    </a:moveTo>
                    <a:lnTo>
                      <a:pt x="850444" y="416166"/>
                    </a:lnTo>
                    <a:lnTo>
                      <a:pt x="850444" y="560726"/>
                    </a:lnTo>
                    <a:cubicBezTo>
                      <a:pt x="881443" y="559814"/>
                      <a:pt x="910119" y="549605"/>
                      <a:pt x="933478" y="532345"/>
                    </a:cubicBezTo>
                    <a:cubicBezTo>
                      <a:pt x="958099" y="514149"/>
                      <a:pt x="976970" y="488118"/>
                      <a:pt x="986610" y="456864"/>
                    </a:cubicBezTo>
                    <a:close/>
                    <a:moveTo>
                      <a:pt x="806339" y="416166"/>
                    </a:moveTo>
                    <a:lnTo>
                      <a:pt x="609299" y="416166"/>
                    </a:lnTo>
                    <a:lnTo>
                      <a:pt x="609299" y="560793"/>
                    </a:lnTo>
                    <a:lnTo>
                      <a:pt x="806339" y="560793"/>
                    </a:lnTo>
                    <a:close/>
                    <a:moveTo>
                      <a:pt x="565190" y="416166"/>
                    </a:moveTo>
                    <a:lnTo>
                      <a:pt x="368151" y="416166"/>
                    </a:lnTo>
                    <a:lnTo>
                      <a:pt x="368151" y="560793"/>
                    </a:lnTo>
                    <a:lnTo>
                      <a:pt x="565190" y="560793"/>
                    </a:lnTo>
                    <a:close/>
                    <a:moveTo>
                      <a:pt x="324038" y="416166"/>
                    </a:moveTo>
                    <a:lnTo>
                      <a:pt x="133392" y="416166"/>
                    </a:lnTo>
                    <a:lnTo>
                      <a:pt x="165982" y="560793"/>
                    </a:lnTo>
                    <a:lnTo>
                      <a:pt x="324038" y="560793"/>
                    </a:lnTo>
                    <a:close/>
                    <a:moveTo>
                      <a:pt x="368147" y="185125"/>
                    </a:moveTo>
                    <a:lnTo>
                      <a:pt x="565186" y="185125"/>
                    </a:lnTo>
                    <a:lnTo>
                      <a:pt x="565186" y="44105"/>
                    </a:lnTo>
                    <a:lnTo>
                      <a:pt x="368147" y="44105"/>
                    </a:lnTo>
                    <a:close/>
                    <a:moveTo>
                      <a:pt x="609295" y="185125"/>
                    </a:moveTo>
                    <a:lnTo>
                      <a:pt x="806335" y="185125"/>
                    </a:lnTo>
                    <a:lnTo>
                      <a:pt x="806335" y="44105"/>
                    </a:lnTo>
                    <a:lnTo>
                      <a:pt x="609295" y="44105"/>
                    </a:lnTo>
                    <a:close/>
                    <a:moveTo>
                      <a:pt x="850444" y="185125"/>
                    </a:moveTo>
                    <a:lnTo>
                      <a:pt x="1070423" y="185125"/>
                    </a:lnTo>
                    <a:lnTo>
                      <a:pt x="1103776" y="76990"/>
                    </a:lnTo>
                    <a:cubicBezTo>
                      <a:pt x="1104656" y="74137"/>
                      <a:pt x="1105076" y="71135"/>
                      <a:pt x="1105076" y="68105"/>
                    </a:cubicBezTo>
                    <a:cubicBezTo>
                      <a:pt x="1105076" y="58142"/>
                      <a:pt x="1099826" y="48090"/>
                      <a:pt x="1089868" y="45021"/>
                    </a:cubicBezTo>
                    <a:cubicBezTo>
                      <a:pt x="1087950" y="44431"/>
                      <a:pt x="1085694" y="44109"/>
                      <a:pt x="1083112" y="44109"/>
                    </a:cubicBezTo>
                    <a:lnTo>
                      <a:pt x="850444" y="44109"/>
                    </a:lnTo>
                    <a:close/>
                    <a:moveTo>
                      <a:pt x="126966" y="587677"/>
                    </a:moveTo>
                    <a:lnTo>
                      <a:pt x="998" y="28637"/>
                    </a:lnTo>
                    <a:cubicBezTo>
                      <a:pt x="350" y="26558"/>
                      <a:pt x="0" y="24349"/>
                      <a:pt x="0" y="22054"/>
                    </a:cubicBezTo>
                    <a:cubicBezTo>
                      <a:pt x="0" y="9876"/>
                      <a:pt x="9876" y="0"/>
                      <a:pt x="22054" y="0"/>
                    </a:cubicBezTo>
                    <a:lnTo>
                      <a:pt x="1083116" y="0"/>
                    </a:lnTo>
                    <a:cubicBezTo>
                      <a:pt x="1089935" y="0"/>
                      <a:pt x="1096529" y="1049"/>
                      <a:pt x="1102797" y="2979"/>
                    </a:cubicBezTo>
                    <a:cubicBezTo>
                      <a:pt x="1131281" y="11762"/>
                      <a:pt x="1149189" y="38733"/>
                      <a:pt x="1149189" y="68105"/>
                    </a:cubicBezTo>
                    <a:cubicBezTo>
                      <a:pt x="1149189" y="75175"/>
                      <a:pt x="1148105" y="82519"/>
                      <a:pt x="1145821" y="89912"/>
                    </a:cubicBezTo>
                    <a:lnTo>
                      <a:pt x="1028652" y="469789"/>
                    </a:lnTo>
                    <a:cubicBezTo>
                      <a:pt x="1016167" y="510263"/>
                      <a:pt x="991668" y="544020"/>
                      <a:pt x="959671" y="567666"/>
                    </a:cubicBezTo>
                    <a:cubicBezTo>
                      <a:pt x="927611" y="591360"/>
                      <a:pt x="888183" y="604902"/>
                      <a:pt x="845905" y="604902"/>
                    </a:cubicBezTo>
                    <a:lnTo>
                      <a:pt x="148416" y="604902"/>
                    </a:lnTo>
                    <a:lnTo>
                      <a:pt x="148416" y="604839"/>
                    </a:lnTo>
                    <a:cubicBezTo>
                      <a:pt x="138351" y="604851"/>
                      <a:pt x="129265" y="597907"/>
                      <a:pt x="126966" y="587677"/>
                    </a:cubicBezTo>
                    <a:close/>
                  </a:path>
                </a:pathLst>
              </a:custGeom>
              <a:solidFill>
                <a:schemeClr val="accent4"/>
              </a:solidFill>
              <a:ln w="3925" cap="flat">
                <a:noFill/>
                <a:prstDash val="solid"/>
                <a:miter/>
              </a:ln>
            </p:spPr>
            <p:txBody>
              <a:bodyPr rtlCol="0" anchor="ctr"/>
              <a:lstStyle/>
              <a:p>
                <a:endParaRPr lang="en-GB" dirty="0"/>
              </a:p>
            </p:txBody>
          </p:sp>
          <p:sp>
            <p:nvSpPr>
              <p:cNvPr id="23" name="Vrije vorm: vorm 22">
                <a:extLst>
                  <a:ext uri="{FF2B5EF4-FFF2-40B4-BE49-F238E27FC236}">
                    <a16:creationId xmlns:a16="http://schemas.microsoft.com/office/drawing/2014/main" id="{EC449B5F-91CE-4AAA-AD0E-6741EA431C51}"/>
                  </a:ext>
                </a:extLst>
              </p:cNvPr>
              <p:cNvSpPr/>
              <p:nvPr/>
            </p:nvSpPr>
            <p:spPr>
              <a:xfrm>
                <a:off x="4203636" y="4522717"/>
                <a:ext cx="1064751" cy="1128655"/>
              </a:xfrm>
              <a:custGeom>
                <a:avLst/>
                <a:gdLst>
                  <a:gd name="connsiteX0" fmla="*/ 715512 w 1064751"/>
                  <a:gd name="connsiteY0" fmla="*/ 837633 h 1128655"/>
                  <a:gd name="connsiteX1" fmla="*/ 715512 w 1064751"/>
                  <a:gd name="connsiteY1" fmla="*/ 839103 h 1128655"/>
                  <a:gd name="connsiteX2" fmla="*/ 671403 w 1064751"/>
                  <a:gd name="connsiteY2" fmla="*/ 883212 h 1128655"/>
                  <a:gd name="connsiteX3" fmla="*/ 379398 w 1064751"/>
                  <a:gd name="connsiteY3" fmla="*/ 883212 h 1128655"/>
                  <a:gd name="connsiteX4" fmla="*/ 324431 w 1064751"/>
                  <a:gd name="connsiteY4" fmla="*/ 906123 h 1128655"/>
                  <a:gd name="connsiteX5" fmla="*/ 301519 w 1064751"/>
                  <a:gd name="connsiteY5" fmla="*/ 961090 h 1128655"/>
                  <a:gd name="connsiteX6" fmla="*/ 324431 w 1064751"/>
                  <a:gd name="connsiteY6" fmla="*/ 1016057 h 1128655"/>
                  <a:gd name="connsiteX7" fmla="*/ 379398 w 1064751"/>
                  <a:gd name="connsiteY7" fmla="*/ 1038968 h 1128655"/>
                  <a:gd name="connsiteX8" fmla="*/ 1019908 w 1064751"/>
                  <a:gd name="connsiteY8" fmla="*/ 1038968 h 1128655"/>
                  <a:gd name="connsiteX9" fmla="*/ 1064752 w 1064751"/>
                  <a:gd name="connsiteY9" fmla="*/ 1083812 h 1128655"/>
                  <a:gd name="connsiteX10" fmla="*/ 1019908 w 1064751"/>
                  <a:gd name="connsiteY10" fmla="*/ 1128656 h 1128655"/>
                  <a:gd name="connsiteX11" fmla="*/ 379398 w 1064751"/>
                  <a:gd name="connsiteY11" fmla="*/ 1128656 h 1128655"/>
                  <a:gd name="connsiteX12" fmla="*/ 261018 w 1064751"/>
                  <a:gd name="connsiteY12" fmla="*/ 1079469 h 1128655"/>
                  <a:gd name="connsiteX13" fmla="*/ 211832 w 1064751"/>
                  <a:gd name="connsiteY13" fmla="*/ 961090 h 1128655"/>
                  <a:gd name="connsiteX14" fmla="*/ 261018 w 1064751"/>
                  <a:gd name="connsiteY14" fmla="*/ 842710 h 1128655"/>
                  <a:gd name="connsiteX15" fmla="*/ 324804 w 1064751"/>
                  <a:gd name="connsiteY15" fmla="*/ 802688 h 1128655"/>
                  <a:gd name="connsiteX16" fmla="*/ 153913 w 1064751"/>
                  <a:gd name="connsiteY16" fmla="*/ 94785 h 1128655"/>
                  <a:gd name="connsiteX17" fmla="*/ 151556 w 1064751"/>
                  <a:gd name="connsiteY17" fmla="*/ 90984 h 1128655"/>
                  <a:gd name="connsiteX18" fmla="*/ 147276 w 1064751"/>
                  <a:gd name="connsiteY18" fmla="*/ 89688 h 1128655"/>
                  <a:gd name="connsiteX19" fmla="*/ 44844 w 1064751"/>
                  <a:gd name="connsiteY19" fmla="*/ 89688 h 1128655"/>
                  <a:gd name="connsiteX20" fmla="*/ 0 w 1064751"/>
                  <a:gd name="connsiteY20" fmla="*/ 44844 h 1128655"/>
                  <a:gd name="connsiteX21" fmla="*/ 44844 w 1064751"/>
                  <a:gd name="connsiteY21" fmla="*/ 0 h 1128655"/>
                  <a:gd name="connsiteX22" fmla="*/ 147276 w 1064751"/>
                  <a:gd name="connsiteY22" fmla="*/ 0 h 1128655"/>
                  <a:gd name="connsiteX23" fmla="*/ 206908 w 1064751"/>
                  <a:gd name="connsiteY23" fmla="*/ 20565 h 1128655"/>
                  <a:gd name="connsiteX24" fmla="*/ 240799 w 1064751"/>
                  <a:gd name="connsiteY24" fmla="*/ 73764 h 1128655"/>
                  <a:gd name="connsiteX25" fmla="*/ 414554 w 1064751"/>
                  <a:gd name="connsiteY25" fmla="*/ 793520 h 1128655"/>
                  <a:gd name="connsiteX26" fmla="*/ 671411 w 1064751"/>
                  <a:gd name="connsiteY26" fmla="*/ 793520 h 1128655"/>
                  <a:gd name="connsiteX27" fmla="*/ 715512 w 1064751"/>
                  <a:gd name="connsiteY27" fmla="*/ 837633 h 112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64751" h="1128655">
                    <a:moveTo>
                      <a:pt x="715512" y="837633"/>
                    </a:moveTo>
                    <a:lnTo>
                      <a:pt x="715512" y="839103"/>
                    </a:lnTo>
                    <a:cubicBezTo>
                      <a:pt x="715512" y="863397"/>
                      <a:pt x="695698" y="883212"/>
                      <a:pt x="671403" y="883212"/>
                    </a:cubicBezTo>
                    <a:lnTo>
                      <a:pt x="379398" y="883212"/>
                    </a:lnTo>
                    <a:cubicBezTo>
                      <a:pt x="358027" y="883212"/>
                      <a:pt x="338566" y="891987"/>
                      <a:pt x="324431" y="906123"/>
                    </a:cubicBezTo>
                    <a:cubicBezTo>
                      <a:pt x="310295" y="920258"/>
                      <a:pt x="301519" y="939719"/>
                      <a:pt x="301519" y="961090"/>
                    </a:cubicBezTo>
                    <a:cubicBezTo>
                      <a:pt x="301519" y="982460"/>
                      <a:pt x="310295" y="1001921"/>
                      <a:pt x="324431" y="1016057"/>
                    </a:cubicBezTo>
                    <a:cubicBezTo>
                      <a:pt x="338566" y="1030193"/>
                      <a:pt x="358027" y="1038968"/>
                      <a:pt x="379398" y="1038968"/>
                    </a:cubicBezTo>
                    <a:lnTo>
                      <a:pt x="1019908" y="1038968"/>
                    </a:lnTo>
                    <a:cubicBezTo>
                      <a:pt x="1044674" y="1038968"/>
                      <a:pt x="1064752" y="1059046"/>
                      <a:pt x="1064752" y="1083812"/>
                    </a:cubicBezTo>
                    <a:cubicBezTo>
                      <a:pt x="1064752" y="1108578"/>
                      <a:pt x="1044674" y="1128656"/>
                      <a:pt x="1019908" y="1128656"/>
                    </a:cubicBezTo>
                    <a:lnTo>
                      <a:pt x="379398" y="1128656"/>
                    </a:lnTo>
                    <a:cubicBezTo>
                      <a:pt x="333273" y="1128656"/>
                      <a:pt x="291369" y="1109820"/>
                      <a:pt x="261018" y="1079469"/>
                    </a:cubicBezTo>
                    <a:cubicBezTo>
                      <a:pt x="230668" y="1049119"/>
                      <a:pt x="211832" y="1007219"/>
                      <a:pt x="211832" y="961090"/>
                    </a:cubicBezTo>
                    <a:cubicBezTo>
                      <a:pt x="211832" y="914961"/>
                      <a:pt x="230668" y="873061"/>
                      <a:pt x="261018" y="842710"/>
                    </a:cubicBezTo>
                    <a:cubicBezTo>
                      <a:pt x="278805" y="824924"/>
                      <a:pt x="300561" y="811094"/>
                      <a:pt x="324804" y="802688"/>
                    </a:cubicBezTo>
                    <a:lnTo>
                      <a:pt x="153913" y="94785"/>
                    </a:lnTo>
                    <a:cubicBezTo>
                      <a:pt x="153528" y="93185"/>
                      <a:pt x="152683" y="91873"/>
                      <a:pt x="151556" y="90984"/>
                    </a:cubicBezTo>
                    <a:cubicBezTo>
                      <a:pt x="150510" y="90163"/>
                      <a:pt x="149033" y="89688"/>
                      <a:pt x="147276" y="89688"/>
                    </a:cubicBezTo>
                    <a:lnTo>
                      <a:pt x="44844" y="89688"/>
                    </a:lnTo>
                    <a:cubicBezTo>
                      <a:pt x="20078" y="89688"/>
                      <a:pt x="0" y="69610"/>
                      <a:pt x="0" y="44844"/>
                    </a:cubicBezTo>
                    <a:cubicBezTo>
                      <a:pt x="0" y="20078"/>
                      <a:pt x="20078" y="0"/>
                      <a:pt x="44844" y="0"/>
                    </a:cubicBezTo>
                    <a:lnTo>
                      <a:pt x="147276" y="0"/>
                    </a:lnTo>
                    <a:cubicBezTo>
                      <a:pt x="169617" y="0"/>
                      <a:pt x="190351" y="7530"/>
                      <a:pt x="206908" y="20565"/>
                    </a:cubicBezTo>
                    <a:cubicBezTo>
                      <a:pt x="223382" y="33534"/>
                      <a:pt x="235529" y="51937"/>
                      <a:pt x="240799" y="73764"/>
                    </a:cubicBezTo>
                    <a:cubicBezTo>
                      <a:pt x="298717" y="313682"/>
                      <a:pt x="356636" y="553601"/>
                      <a:pt x="414554" y="793520"/>
                    </a:cubicBezTo>
                    <a:lnTo>
                      <a:pt x="671411" y="793520"/>
                    </a:lnTo>
                    <a:cubicBezTo>
                      <a:pt x="695698" y="793528"/>
                      <a:pt x="715512" y="813342"/>
                      <a:pt x="715512" y="837633"/>
                    </a:cubicBezTo>
                    <a:close/>
                  </a:path>
                </a:pathLst>
              </a:custGeom>
              <a:solidFill>
                <a:schemeClr val="accent4"/>
              </a:solidFill>
              <a:ln w="3925" cap="flat">
                <a:noFill/>
                <a:prstDash val="solid"/>
                <a:miter/>
              </a:ln>
            </p:spPr>
            <p:txBody>
              <a:bodyPr rtlCol="0" anchor="ctr"/>
              <a:lstStyle/>
              <a:p>
                <a:endParaRPr lang="en-GB" dirty="0"/>
              </a:p>
            </p:txBody>
          </p:sp>
          <p:sp>
            <p:nvSpPr>
              <p:cNvPr id="24" name="Vrije vorm: vorm 23">
                <a:extLst>
                  <a:ext uri="{FF2B5EF4-FFF2-40B4-BE49-F238E27FC236}">
                    <a16:creationId xmlns:a16="http://schemas.microsoft.com/office/drawing/2014/main" id="{22344844-BB9A-78B9-DA9D-68A957D0DB2C}"/>
                  </a:ext>
                </a:extLst>
              </p:cNvPr>
              <p:cNvSpPr/>
              <p:nvPr/>
            </p:nvSpPr>
            <p:spPr>
              <a:xfrm>
                <a:off x="4203632" y="4522724"/>
                <a:ext cx="244642" cy="89687"/>
              </a:xfrm>
              <a:custGeom>
                <a:avLst/>
                <a:gdLst>
                  <a:gd name="connsiteX0" fmla="*/ 147358 w 244642"/>
                  <a:gd name="connsiteY0" fmla="*/ 89688 h 89687"/>
                  <a:gd name="connsiteX1" fmla="*/ 147276 w 244642"/>
                  <a:gd name="connsiteY1" fmla="*/ 89688 h 89687"/>
                  <a:gd name="connsiteX2" fmla="*/ 44844 w 244642"/>
                  <a:gd name="connsiteY2" fmla="*/ 89688 h 89687"/>
                  <a:gd name="connsiteX3" fmla="*/ 0 w 244642"/>
                  <a:gd name="connsiteY3" fmla="*/ 44844 h 89687"/>
                  <a:gd name="connsiteX4" fmla="*/ 44844 w 244642"/>
                  <a:gd name="connsiteY4" fmla="*/ 0 h 89687"/>
                  <a:gd name="connsiteX5" fmla="*/ 147276 w 244642"/>
                  <a:gd name="connsiteY5" fmla="*/ 0 h 89687"/>
                  <a:gd name="connsiteX6" fmla="*/ 206908 w 244642"/>
                  <a:gd name="connsiteY6" fmla="*/ 20565 h 89687"/>
                  <a:gd name="connsiteX7" fmla="*/ 240799 w 244642"/>
                  <a:gd name="connsiteY7" fmla="*/ 73764 h 89687"/>
                  <a:gd name="connsiteX8" fmla="*/ 244642 w 244642"/>
                  <a:gd name="connsiteY8" fmla="*/ 89688 h 89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642" h="89687">
                    <a:moveTo>
                      <a:pt x="147358" y="89688"/>
                    </a:moveTo>
                    <a:lnTo>
                      <a:pt x="147276" y="89688"/>
                    </a:lnTo>
                    <a:lnTo>
                      <a:pt x="44844" y="89688"/>
                    </a:lnTo>
                    <a:cubicBezTo>
                      <a:pt x="20078" y="89688"/>
                      <a:pt x="0" y="69610"/>
                      <a:pt x="0" y="44844"/>
                    </a:cubicBezTo>
                    <a:cubicBezTo>
                      <a:pt x="0" y="20078"/>
                      <a:pt x="20078" y="0"/>
                      <a:pt x="44844" y="0"/>
                    </a:cubicBezTo>
                    <a:lnTo>
                      <a:pt x="147276" y="0"/>
                    </a:lnTo>
                    <a:cubicBezTo>
                      <a:pt x="169617" y="0"/>
                      <a:pt x="190351" y="7530"/>
                      <a:pt x="206908" y="20565"/>
                    </a:cubicBezTo>
                    <a:cubicBezTo>
                      <a:pt x="223382" y="33534"/>
                      <a:pt x="235529" y="51937"/>
                      <a:pt x="240799" y="73764"/>
                    </a:cubicBezTo>
                    <a:lnTo>
                      <a:pt x="244642" y="89688"/>
                    </a:lnTo>
                    <a:close/>
                  </a:path>
                </a:pathLst>
              </a:custGeom>
              <a:solidFill>
                <a:schemeClr val="bg1">
                  <a:lumMod val="85000"/>
                </a:schemeClr>
              </a:solidFill>
              <a:ln w="3925" cap="flat">
                <a:noFill/>
                <a:prstDash val="solid"/>
                <a:miter/>
              </a:ln>
            </p:spPr>
            <p:txBody>
              <a:bodyPr rtlCol="0" anchor="ctr"/>
              <a:lstStyle/>
              <a:p>
                <a:endParaRPr lang="en-GB" dirty="0"/>
              </a:p>
            </p:txBody>
          </p:sp>
          <p:sp>
            <p:nvSpPr>
              <p:cNvPr id="25" name="Vrije vorm: vorm 24">
                <a:extLst>
                  <a:ext uri="{FF2B5EF4-FFF2-40B4-BE49-F238E27FC236}">
                    <a16:creationId xmlns:a16="http://schemas.microsoft.com/office/drawing/2014/main" id="{D2DCA547-8128-DD1A-4FA4-09D01F974B35}"/>
                  </a:ext>
                </a:extLst>
              </p:cNvPr>
              <p:cNvSpPr/>
              <p:nvPr/>
            </p:nvSpPr>
            <p:spPr>
              <a:xfrm rot="-2700000">
                <a:off x="4574651" y="5511554"/>
                <a:ext cx="293470" cy="293470"/>
              </a:xfrm>
              <a:custGeom>
                <a:avLst/>
                <a:gdLst>
                  <a:gd name="connsiteX0" fmla="*/ 293470 w 293470"/>
                  <a:gd name="connsiteY0" fmla="*/ 146735 h 293470"/>
                  <a:gd name="connsiteX1" fmla="*/ 146735 w 293470"/>
                  <a:gd name="connsiteY1" fmla="*/ 293470 h 293470"/>
                  <a:gd name="connsiteX2" fmla="*/ 0 w 293470"/>
                  <a:gd name="connsiteY2" fmla="*/ 146735 h 293470"/>
                  <a:gd name="connsiteX3" fmla="*/ 146735 w 293470"/>
                  <a:gd name="connsiteY3" fmla="*/ 0 h 293470"/>
                  <a:gd name="connsiteX4" fmla="*/ 293470 w 293470"/>
                  <a:gd name="connsiteY4" fmla="*/ 146735 h 293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470" h="293470">
                    <a:moveTo>
                      <a:pt x="293470" y="146735"/>
                    </a:moveTo>
                    <a:cubicBezTo>
                      <a:pt x="293470" y="227774"/>
                      <a:pt x="227775" y="293470"/>
                      <a:pt x="146735" y="293470"/>
                    </a:cubicBezTo>
                    <a:cubicBezTo>
                      <a:pt x="65696" y="293470"/>
                      <a:pt x="0" y="227774"/>
                      <a:pt x="0" y="146735"/>
                    </a:cubicBezTo>
                    <a:cubicBezTo>
                      <a:pt x="0" y="65696"/>
                      <a:pt x="65696" y="0"/>
                      <a:pt x="146735" y="0"/>
                    </a:cubicBezTo>
                    <a:cubicBezTo>
                      <a:pt x="227775" y="0"/>
                      <a:pt x="293470" y="65696"/>
                      <a:pt x="293470" y="146735"/>
                    </a:cubicBezTo>
                    <a:close/>
                  </a:path>
                </a:pathLst>
              </a:custGeom>
              <a:solidFill>
                <a:schemeClr val="bg1">
                  <a:lumMod val="65000"/>
                </a:schemeClr>
              </a:solidFill>
              <a:ln w="3924" cap="flat">
                <a:noFill/>
                <a:prstDash val="solid"/>
                <a:miter/>
              </a:ln>
            </p:spPr>
            <p:txBody>
              <a:bodyPr rtlCol="0" anchor="ctr"/>
              <a:lstStyle/>
              <a:p>
                <a:endParaRPr lang="en-GB" dirty="0"/>
              </a:p>
            </p:txBody>
          </p:sp>
          <p:sp>
            <p:nvSpPr>
              <p:cNvPr id="26" name="Vrije vorm: vorm 25">
                <a:extLst>
                  <a:ext uri="{FF2B5EF4-FFF2-40B4-BE49-F238E27FC236}">
                    <a16:creationId xmlns:a16="http://schemas.microsoft.com/office/drawing/2014/main" id="{119112D9-1C23-CBC1-7BDD-A84172E04034}"/>
                  </a:ext>
                </a:extLst>
              </p:cNvPr>
              <p:cNvSpPr/>
              <p:nvPr/>
            </p:nvSpPr>
            <p:spPr>
              <a:xfrm rot="-2700000">
                <a:off x="4661642" y="5598545"/>
                <a:ext cx="119489" cy="119489"/>
              </a:xfrm>
              <a:custGeom>
                <a:avLst/>
                <a:gdLst>
                  <a:gd name="connsiteX0" fmla="*/ 119489 w 119489"/>
                  <a:gd name="connsiteY0" fmla="*/ 59745 h 119489"/>
                  <a:gd name="connsiteX1" fmla="*/ 59745 w 119489"/>
                  <a:gd name="connsiteY1" fmla="*/ 119489 h 119489"/>
                  <a:gd name="connsiteX2" fmla="*/ 0 w 119489"/>
                  <a:gd name="connsiteY2" fmla="*/ 59745 h 119489"/>
                  <a:gd name="connsiteX3" fmla="*/ 59745 w 119489"/>
                  <a:gd name="connsiteY3" fmla="*/ 0 h 119489"/>
                  <a:gd name="connsiteX4" fmla="*/ 119489 w 119489"/>
                  <a:gd name="connsiteY4" fmla="*/ 59745 h 119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89" h="119489">
                    <a:moveTo>
                      <a:pt x="119489" y="59745"/>
                    </a:moveTo>
                    <a:cubicBezTo>
                      <a:pt x="119489" y="92741"/>
                      <a:pt x="92741" y="119489"/>
                      <a:pt x="59745" y="119489"/>
                    </a:cubicBezTo>
                    <a:cubicBezTo>
                      <a:pt x="26749" y="119489"/>
                      <a:pt x="0" y="92741"/>
                      <a:pt x="0" y="59745"/>
                    </a:cubicBezTo>
                    <a:cubicBezTo>
                      <a:pt x="0" y="26749"/>
                      <a:pt x="26749" y="0"/>
                      <a:pt x="59745" y="0"/>
                    </a:cubicBezTo>
                    <a:cubicBezTo>
                      <a:pt x="92741" y="0"/>
                      <a:pt x="119489" y="26749"/>
                      <a:pt x="119489" y="59745"/>
                    </a:cubicBezTo>
                    <a:close/>
                  </a:path>
                </a:pathLst>
              </a:custGeom>
              <a:solidFill>
                <a:schemeClr val="bg1">
                  <a:lumMod val="85000"/>
                </a:schemeClr>
              </a:solidFill>
              <a:ln w="3924" cap="flat">
                <a:noFill/>
                <a:prstDash val="solid"/>
                <a:miter/>
              </a:ln>
            </p:spPr>
            <p:txBody>
              <a:bodyPr rtlCol="0" anchor="ctr"/>
              <a:lstStyle/>
              <a:p>
                <a:endParaRPr lang="en-GB" dirty="0"/>
              </a:p>
            </p:txBody>
          </p:sp>
          <p:sp>
            <p:nvSpPr>
              <p:cNvPr id="27" name="Vrije vorm: vorm 26">
                <a:extLst>
                  <a:ext uri="{FF2B5EF4-FFF2-40B4-BE49-F238E27FC236}">
                    <a16:creationId xmlns:a16="http://schemas.microsoft.com/office/drawing/2014/main" id="{22CB1388-084D-5256-3034-4E744BBD9995}"/>
                  </a:ext>
                </a:extLst>
              </p:cNvPr>
              <p:cNvSpPr/>
              <p:nvPr/>
            </p:nvSpPr>
            <p:spPr>
              <a:xfrm rot="-797975">
                <a:off x="5117979" y="5510775"/>
                <a:ext cx="293467" cy="293459"/>
              </a:xfrm>
              <a:custGeom>
                <a:avLst/>
                <a:gdLst>
                  <a:gd name="connsiteX0" fmla="*/ 293468 w 293467"/>
                  <a:gd name="connsiteY0" fmla="*/ 146730 h 293459"/>
                  <a:gd name="connsiteX1" fmla="*/ 146734 w 293467"/>
                  <a:gd name="connsiteY1" fmla="*/ 293460 h 293459"/>
                  <a:gd name="connsiteX2" fmla="*/ 0 w 293467"/>
                  <a:gd name="connsiteY2" fmla="*/ 146730 h 293459"/>
                  <a:gd name="connsiteX3" fmla="*/ 146734 w 293467"/>
                  <a:gd name="connsiteY3" fmla="*/ 0 h 293459"/>
                  <a:gd name="connsiteX4" fmla="*/ 293468 w 293467"/>
                  <a:gd name="connsiteY4" fmla="*/ 146730 h 293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467" h="293459">
                    <a:moveTo>
                      <a:pt x="293468" y="146730"/>
                    </a:moveTo>
                    <a:cubicBezTo>
                      <a:pt x="293468" y="227766"/>
                      <a:pt x="227773" y="293460"/>
                      <a:pt x="146734" y="293460"/>
                    </a:cubicBezTo>
                    <a:cubicBezTo>
                      <a:pt x="65695" y="293460"/>
                      <a:pt x="0" y="227766"/>
                      <a:pt x="0" y="146730"/>
                    </a:cubicBezTo>
                    <a:cubicBezTo>
                      <a:pt x="0" y="65693"/>
                      <a:pt x="65695" y="0"/>
                      <a:pt x="146734" y="0"/>
                    </a:cubicBezTo>
                    <a:cubicBezTo>
                      <a:pt x="227773" y="0"/>
                      <a:pt x="293468" y="65693"/>
                      <a:pt x="293468" y="146730"/>
                    </a:cubicBezTo>
                    <a:close/>
                  </a:path>
                </a:pathLst>
              </a:custGeom>
              <a:solidFill>
                <a:schemeClr val="bg1">
                  <a:lumMod val="65000"/>
                </a:schemeClr>
              </a:solidFill>
              <a:ln w="3924" cap="flat">
                <a:noFill/>
                <a:prstDash val="solid"/>
                <a:miter/>
              </a:ln>
            </p:spPr>
            <p:txBody>
              <a:bodyPr rtlCol="0" anchor="ctr"/>
              <a:lstStyle/>
              <a:p>
                <a:endParaRPr lang="en-GB" dirty="0"/>
              </a:p>
            </p:txBody>
          </p:sp>
          <p:sp>
            <p:nvSpPr>
              <p:cNvPr id="28" name="Vrije vorm: vorm 27">
                <a:extLst>
                  <a:ext uri="{FF2B5EF4-FFF2-40B4-BE49-F238E27FC236}">
                    <a16:creationId xmlns:a16="http://schemas.microsoft.com/office/drawing/2014/main" id="{F4FDBA79-87DD-A7AF-8A55-5CEF60312C58}"/>
                  </a:ext>
                </a:extLst>
              </p:cNvPr>
              <p:cNvSpPr/>
              <p:nvPr/>
            </p:nvSpPr>
            <p:spPr>
              <a:xfrm>
                <a:off x="5204936" y="5598606"/>
                <a:ext cx="119507" cy="119507"/>
              </a:xfrm>
              <a:custGeom>
                <a:avLst/>
                <a:gdLst>
                  <a:gd name="connsiteX0" fmla="*/ 119507 w 119507"/>
                  <a:gd name="connsiteY0" fmla="*/ 59754 h 119507"/>
                  <a:gd name="connsiteX1" fmla="*/ 59754 w 119507"/>
                  <a:gd name="connsiteY1" fmla="*/ 119507 h 119507"/>
                  <a:gd name="connsiteX2" fmla="*/ 0 w 119507"/>
                  <a:gd name="connsiteY2" fmla="*/ 59754 h 119507"/>
                  <a:gd name="connsiteX3" fmla="*/ 59754 w 119507"/>
                  <a:gd name="connsiteY3" fmla="*/ 0 h 119507"/>
                  <a:gd name="connsiteX4" fmla="*/ 119507 w 119507"/>
                  <a:gd name="connsiteY4" fmla="*/ 59754 h 119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07" h="119507">
                    <a:moveTo>
                      <a:pt x="119507" y="59754"/>
                    </a:moveTo>
                    <a:cubicBezTo>
                      <a:pt x="119507" y="92755"/>
                      <a:pt x="92755" y="119507"/>
                      <a:pt x="59754" y="119507"/>
                    </a:cubicBezTo>
                    <a:cubicBezTo>
                      <a:pt x="26753" y="119507"/>
                      <a:pt x="0" y="92755"/>
                      <a:pt x="0" y="59754"/>
                    </a:cubicBezTo>
                    <a:cubicBezTo>
                      <a:pt x="0" y="26753"/>
                      <a:pt x="26753" y="0"/>
                      <a:pt x="59754" y="0"/>
                    </a:cubicBezTo>
                    <a:cubicBezTo>
                      <a:pt x="92755" y="0"/>
                      <a:pt x="119507" y="26753"/>
                      <a:pt x="119507" y="59754"/>
                    </a:cubicBezTo>
                    <a:close/>
                  </a:path>
                </a:pathLst>
              </a:custGeom>
              <a:solidFill>
                <a:schemeClr val="bg1">
                  <a:lumMod val="85000"/>
                </a:schemeClr>
              </a:solidFill>
              <a:ln w="3925" cap="flat">
                <a:noFill/>
                <a:prstDash val="solid"/>
                <a:miter/>
              </a:ln>
            </p:spPr>
            <p:txBody>
              <a:bodyPr rtlCol="0" anchor="ctr"/>
              <a:lstStyle/>
              <a:p>
                <a:endParaRPr lang="en-GB" dirty="0"/>
              </a:p>
            </p:txBody>
          </p:sp>
        </p:grpSp>
      </p:grpSp>
      <p:grpSp>
        <p:nvGrpSpPr>
          <p:cNvPr id="284" name="Groep 283">
            <a:extLst>
              <a:ext uri="{FF2B5EF4-FFF2-40B4-BE49-F238E27FC236}">
                <a16:creationId xmlns:a16="http://schemas.microsoft.com/office/drawing/2014/main" id="{39022248-A2BC-0BBC-3CF7-FFE305789DA8}"/>
              </a:ext>
            </a:extLst>
          </p:cNvPr>
          <p:cNvGrpSpPr/>
          <p:nvPr/>
        </p:nvGrpSpPr>
        <p:grpSpPr>
          <a:xfrm>
            <a:off x="2130681" y="5408283"/>
            <a:ext cx="514237" cy="301721"/>
            <a:chOff x="2756323" y="4490181"/>
            <a:chExt cx="514237" cy="301721"/>
          </a:xfrm>
        </p:grpSpPr>
        <p:sp>
          <p:nvSpPr>
            <p:cNvPr id="51" name="Vrije vorm: vorm 50">
              <a:extLst>
                <a:ext uri="{FF2B5EF4-FFF2-40B4-BE49-F238E27FC236}">
                  <a16:creationId xmlns:a16="http://schemas.microsoft.com/office/drawing/2014/main" id="{6EE5FF71-EE68-7E57-62F6-7B382FD74380}"/>
                </a:ext>
              </a:extLst>
            </p:cNvPr>
            <p:cNvSpPr/>
            <p:nvPr/>
          </p:nvSpPr>
          <p:spPr>
            <a:xfrm>
              <a:off x="2756323" y="4490181"/>
              <a:ext cx="514237" cy="301721"/>
            </a:xfrm>
            <a:custGeom>
              <a:avLst/>
              <a:gdLst>
                <a:gd name="connsiteX0" fmla="*/ 110266 w 514237"/>
                <a:gd name="connsiteY0" fmla="*/ 0 h 301721"/>
                <a:gd name="connsiteX1" fmla="*/ 138330 w 514237"/>
                <a:gd name="connsiteY1" fmla="*/ 4473 h 301721"/>
                <a:gd name="connsiteX2" fmla="*/ 234558 w 514237"/>
                <a:gd name="connsiteY2" fmla="*/ 98515 h 301721"/>
                <a:gd name="connsiteX3" fmla="*/ 463436 w 514237"/>
                <a:gd name="connsiteY3" fmla="*/ 98515 h 301721"/>
                <a:gd name="connsiteX4" fmla="*/ 514237 w 514237"/>
                <a:gd name="connsiteY4" fmla="*/ 149317 h 301721"/>
                <a:gd name="connsiteX5" fmla="*/ 463436 w 514237"/>
                <a:gd name="connsiteY5" fmla="*/ 200118 h 301721"/>
                <a:gd name="connsiteX6" fmla="*/ 234558 w 514237"/>
                <a:gd name="connsiteY6" fmla="*/ 200118 h 301721"/>
                <a:gd name="connsiteX7" fmla="*/ 90892 w 514237"/>
                <a:gd name="connsiteY7" fmla="*/ 301721 h 301721"/>
                <a:gd name="connsiteX8" fmla="*/ 2087 w 514237"/>
                <a:gd name="connsiteY8" fmla="*/ 273093 h 301721"/>
                <a:gd name="connsiteX9" fmla="*/ 0 w 514237"/>
                <a:gd name="connsiteY9" fmla="*/ 271053 h 301721"/>
                <a:gd name="connsiteX10" fmla="*/ 9970 w 514237"/>
                <a:gd name="connsiteY10" fmla="*/ 221307 h 301721"/>
                <a:gd name="connsiteX11" fmla="*/ 45007 w 514237"/>
                <a:gd name="connsiteY11" fmla="*/ 203998 h 301721"/>
                <a:gd name="connsiteX12" fmla="*/ 50843 w 514237"/>
                <a:gd name="connsiteY12" fmla="*/ 175236 h 301721"/>
                <a:gd name="connsiteX13" fmla="*/ 54986 w 514237"/>
                <a:gd name="connsiteY13" fmla="*/ 185222 h 301721"/>
                <a:gd name="connsiteX14" fmla="*/ 90892 w 514237"/>
                <a:gd name="connsiteY14" fmla="*/ 200118 h 301721"/>
                <a:gd name="connsiteX15" fmla="*/ 141693 w 514237"/>
                <a:gd name="connsiteY15" fmla="*/ 149317 h 301721"/>
                <a:gd name="connsiteX16" fmla="*/ 90892 w 514237"/>
                <a:gd name="connsiteY16" fmla="*/ 98515 h 301721"/>
                <a:gd name="connsiteX17" fmla="*/ 71136 w 514237"/>
                <a:gd name="connsiteY17" fmla="*/ 102514 h 301721"/>
                <a:gd name="connsiteX18" fmla="*/ 64723 w 514237"/>
                <a:gd name="connsiteY18" fmla="*/ 106841 h 301721"/>
                <a:gd name="connsiteX19" fmla="*/ 69450 w 514237"/>
                <a:gd name="connsiteY19" fmla="*/ 83551 h 301721"/>
                <a:gd name="connsiteX20" fmla="*/ 96316 w 514237"/>
                <a:gd name="connsiteY20" fmla="*/ 73069 h 30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4237" h="301721">
                  <a:moveTo>
                    <a:pt x="110266" y="0"/>
                  </a:moveTo>
                  <a:lnTo>
                    <a:pt x="138330" y="4473"/>
                  </a:lnTo>
                  <a:cubicBezTo>
                    <a:pt x="183135" y="19190"/>
                    <a:pt x="218830" y="54168"/>
                    <a:pt x="234558" y="98515"/>
                  </a:cubicBezTo>
                  <a:lnTo>
                    <a:pt x="463436" y="98515"/>
                  </a:lnTo>
                  <a:cubicBezTo>
                    <a:pt x="491492" y="98515"/>
                    <a:pt x="514237" y="121261"/>
                    <a:pt x="514237" y="149317"/>
                  </a:cubicBezTo>
                  <a:cubicBezTo>
                    <a:pt x="514237" y="177373"/>
                    <a:pt x="491492" y="200118"/>
                    <a:pt x="463436" y="200118"/>
                  </a:cubicBezTo>
                  <a:lnTo>
                    <a:pt x="234558" y="200118"/>
                  </a:lnTo>
                  <a:cubicBezTo>
                    <a:pt x="213587" y="259248"/>
                    <a:pt x="157120" y="301721"/>
                    <a:pt x="90892" y="301721"/>
                  </a:cubicBezTo>
                  <a:cubicBezTo>
                    <a:pt x="57778" y="301721"/>
                    <a:pt x="27104" y="291103"/>
                    <a:pt x="2087" y="273093"/>
                  </a:cubicBezTo>
                  <a:lnTo>
                    <a:pt x="0" y="271053"/>
                  </a:lnTo>
                  <a:lnTo>
                    <a:pt x="9970" y="221307"/>
                  </a:lnTo>
                  <a:lnTo>
                    <a:pt x="45007" y="203998"/>
                  </a:lnTo>
                  <a:lnTo>
                    <a:pt x="50843" y="175236"/>
                  </a:lnTo>
                  <a:lnTo>
                    <a:pt x="54986" y="185222"/>
                  </a:lnTo>
                  <a:cubicBezTo>
                    <a:pt x="64185" y="194421"/>
                    <a:pt x="76886" y="200118"/>
                    <a:pt x="90892" y="200118"/>
                  </a:cubicBezTo>
                  <a:cubicBezTo>
                    <a:pt x="118904" y="200118"/>
                    <a:pt x="141693" y="177329"/>
                    <a:pt x="141693" y="149317"/>
                  </a:cubicBezTo>
                  <a:cubicBezTo>
                    <a:pt x="141693" y="121305"/>
                    <a:pt x="118904" y="98515"/>
                    <a:pt x="90892" y="98515"/>
                  </a:cubicBezTo>
                  <a:cubicBezTo>
                    <a:pt x="83889" y="98515"/>
                    <a:pt x="77212" y="99940"/>
                    <a:pt x="71136" y="102514"/>
                  </a:cubicBezTo>
                  <a:lnTo>
                    <a:pt x="64723" y="106841"/>
                  </a:lnTo>
                  <a:lnTo>
                    <a:pt x="69450" y="83551"/>
                  </a:lnTo>
                  <a:lnTo>
                    <a:pt x="96316" y="73069"/>
                  </a:lnTo>
                  <a:close/>
                </a:path>
              </a:pathLst>
            </a:custGeom>
            <a:solidFill>
              <a:schemeClr val="bg1">
                <a:lumMod val="85000"/>
              </a:schemeClr>
            </a:solidFill>
            <a:ln w="9525" cap="flat">
              <a:noFill/>
              <a:prstDash val="solid"/>
              <a:miter/>
            </a:ln>
          </p:spPr>
          <p:txBody>
            <a:bodyPr wrap="square" rtlCol="0" anchor="ctr">
              <a:noAutofit/>
            </a:bodyPr>
            <a:lstStyle/>
            <a:p>
              <a:endParaRPr lang="en-GB" dirty="0"/>
            </a:p>
          </p:txBody>
        </p:sp>
        <p:sp>
          <p:nvSpPr>
            <p:cNvPr id="52" name="Vrije vorm: vorm 51">
              <a:extLst>
                <a:ext uri="{FF2B5EF4-FFF2-40B4-BE49-F238E27FC236}">
                  <a16:creationId xmlns:a16="http://schemas.microsoft.com/office/drawing/2014/main" id="{176431F3-1CAA-396B-0631-DC416DE1E162}"/>
                </a:ext>
              </a:extLst>
            </p:cNvPr>
            <p:cNvSpPr/>
            <p:nvPr/>
          </p:nvSpPr>
          <p:spPr>
            <a:xfrm>
              <a:off x="2756323" y="4639497"/>
              <a:ext cx="514236" cy="152404"/>
            </a:xfrm>
            <a:custGeom>
              <a:avLst/>
              <a:gdLst>
                <a:gd name="connsiteX0" fmla="*/ 141692 w 514236"/>
                <a:gd name="connsiteY0" fmla="*/ 0 h 152404"/>
                <a:gd name="connsiteX1" fmla="*/ 514236 w 514236"/>
                <a:gd name="connsiteY1" fmla="*/ 0 h 152404"/>
                <a:gd name="connsiteX2" fmla="*/ 463435 w 514236"/>
                <a:gd name="connsiteY2" fmla="*/ 50802 h 152404"/>
                <a:gd name="connsiteX3" fmla="*/ 234557 w 514236"/>
                <a:gd name="connsiteY3" fmla="*/ 50802 h 152404"/>
                <a:gd name="connsiteX4" fmla="*/ 90891 w 514236"/>
                <a:gd name="connsiteY4" fmla="*/ 152404 h 152404"/>
                <a:gd name="connsiteX5" fmla="*/ 2086 w 514236"/>
                <a:gd name="connsiteY5" fmla="*/ 123776 h 152404"/>
                <a:gd name="connsiteX6" fmla="*/ 0 w 514236"/>
                <a:gd name="connsiteY6" fmla="*/ 121736 h 152404"/>
                <a:gd name="connsiteX7" fmla="*/ 9969 w 514236"/>
                <a:gd name="connsiteY7" fmla="*/ 71991 h 152404"/>
                <a:gd name="connsiteX8" fmla="*/ 45006 w 514236"/>
                <a:gd name="connsiteY8" fmla="*/ 54682 h 152404"/>
                <a:gd name="connsiteX9" fmla="*/ 50843 w 514236"/>
                <a:gd name="connsiteY9" fmla="*/ 25920 h 152404"/>
                <a:gd name="connsiteX10" fmla="*/ 54985 w 514236"/>
                <a:gd name="connsiteY10" fmla="*/ 35906 h 152404"/>
                <a:gd name="connsiteX11" fmla="*/ 90891 w 514236"/>
                <a:gd name="connsiteY11" fmla="*/ 50802 h 152404"/>
                <a:gd name="connsiteX12" fmla="*/ 141692 w 514236"/>
                <a:gd name="connsiteY12" fmla="*/ 0 h 15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4236" h="152404">
                  <a:moveTo>
                    <a:pt x="141692" y="0"/>
                  </a:moveTo>
                  <a:lnTo>
                    <a:pt x="514236" y="0"/>
                  </a:lnTo>
                  <a:cubicBezTo>
                    <a:pt x="514236" y="28056"/>
                    <a:pt x="491491" y="50802"/>
                    <a:pt x="463435" y="50802"/>
                  </a:cubicBezTo>
                  <a:lnTo>
                    <a:pt x="234557" y="50802"/>
                  </a:lnTo>
                  <a:cubicBezTo>
                    <a:pt x="213586" y="109931"/>
                    <a:pt x="157119" y="152404"/>
                    <a:pt x="90891" y="152404"/>
                  </a:cubicBezTo>
                  <a:cubicBezTo>
                    <a:pt x="57777" y="152404"/>
                    <a:pt x="27103" y="141786"/>
                    <a:pt x="2086" y="123776"/>
                  </a:cubicBezTo>
                  <a:lnTo>
                    <a:pt x="0" y="121736"/>
                  </a:lnTo>
                  <a:lnTo>
                    <a:pt x="9969" y="71991"/>
                  </a:lnTo>
                  <a:lnTo>
                    <a:pt x="45006" y="54682"/>
                  </a:lnTo>
                  <a:lnTo>
                    <a:pt x="50843" y="25920"/>
                  </a:lnTo>
                  <a:lnTo>
                    <a:pt x="54985" y="35906"/>
                  </a:lnTo>
                  <a:cubicBezTo>
                    <a:pt x="64184" y="45104"/>
                    <a:pt x="76885" y="50802"/>
                    <a:pt x="90891" y="50802"/>
                  </a:cubicBezTo>
                  <a:cubicBezTo>
                    <a:pt x="118903" y="50802"/>
                    <a:pt x="141692" y="28012"/>
                    <a:pt x="141692" y="0"/>
                  </a:cubicBezTo>
                  <a:close/>
                </a:path>
              </a:pathLst>
            </a:custGeom>
            <a:solidFill>
              <a:schemeClr val="bg1">
                <a:lumMod val="75000"/>
              </a:schemeClr>
            </a:solidFill>
            <a:ln w="9525" cap="flat">
              <a:noFill/>
              <a:prstDash val="solid"/>
              <a:miter/>
            </a:ln>
          </p:spPr>
          <p:txBody>
            <a:bodyPr wrap="square" rtlCol="0" anchor="ctr">
              <a:noAutofit/>
            </a:bodyPr>
            <a:lstStyle/>
            <a:p>
              <a:endParaRPr lang="en-GB" dirty="0"/>
            </a:p>
          </p:txBody>
        </p:sp>
      </p:grpSp>
      <p:grpSp>
        <p:nvGrpSpPr>
          <p:cNvPr id="49" name="Groep 48">
            <a:extLst>
              <a:ext uri="{FF2B5EF4-FFF2-40B4-BE49-F238E27FC236}">
                <a16:creationId xmlns:a16="http://schemas.microsoft.com/office/drawing/2014/main" id="{08689E1B-5D3D-CE5F-7EBD-B37AFFD20E4E}"/>
              </a:ext>
            </a:extLst>
          </p:cNvPr>
          <p:cNvGrpSpPr/>
          <p:nvPr/>
        </p:nvGrpSpPr>
        <p:grpSpPr>
          <a:xfrm>
            <a:off x="1713557" y="5405195"/>
            <a:ext cx="551744" cy="286556"/>
            <a:chOff x="2339199" y="4487093"/>
            <a:chExt cx="551744" cy="286556"/>
          </a:xfrm>
        </p:grpSpPr>
        <p:sp>
          <p:nvSpPr>
            <p:cNvPr id="48" name="Vrije vorm: vorm 47">
              <a:extLst>
                <a:ext uri="{FF2B5EF4-FFF2-40B4-BE49-F238E27FC236}">
                  <a16:creationId xmlns:a16="http://schemas.microsoft.com/office/drawing/2014/main" id="{2EB5B836-70AF-E0C9-2C75-085B3786EEE9}"/>
                </a:ext>
              </a:extLst>
            </p:cNvPr>
            <p:cNvSpPr/>
            <p:nvPr/>
          </p:nvSpPr>
          <p:spPr>
            <a:xfrm>
              <a:off x="2339199" y="4487093"/>
              <a:ext cx="551744" cy="286556"/>
            </a:xfrm>
            <a:custGeom>
              <a:avLst/>
              <a:gdLst>
                <a:gd name="connsiteX0" fmla="*/ 508015 w 551744"/>
                <a:gd name="connsiteY0" fmla="*/ 0 h 286556"/>
                <a:gd name="connsiteX1" fmla="*/ 551744 w 551744"/>
                <a:gd name="connsiteY1" fmla="*/ 6969 h 286556"/>
                <a:gd name="connsiteX2" fmla="*/ 536085 w 551744"/>
                <a:gd name="connsiteY2" fmla="*/ 85103 h 286556"/>
                <a:gd name="connsiteX3" fmla="*/ 501049 w 551744"/>
                <a:gd name="connsiteY3" fmla="*/ 102412 h 286556"/>
                <a:gd name="connsiteX4" fmla="*/ 500921 w 551744"/>
                <a:gd name="connsiteY4" fmla="*/ 103039 h 286556"/>
                <a:gd name="connsiteX5" fmla="*/ 488259 w 551744"/>
                <a:gd name="connsiteY5" fmla="*/ 105602 h 286556"/>
                <a:gd name="connsiteX6" fmla="*/ 457213 w 551744"/>
                <a:gd name="connsiteY6" fmla="*/ 152405 h 286556"/>
                <a:gd name="connsiteX7" fmla="*/ 472110 w 551744"/>
                <a:gd name="connsiteY7" fmla="*/ 188310 h 286556"/>
                <a:gd name="connsiteX8" fmla="*/ 482231 w 551744"/>
                <a:gd name="connsiteY8" fmla="*/ 195140 h 286556"/>
                <a:gd name="connsiteX9" fmla="*/ 476605 w 551744"/>
                <a:gd name="connsiteY9" fmla="*/ 222858 h 286556"/>
                <a:gd name="connsiteX10" fmla="*/ 449740 w 551744"/>
                <a:gd name="connsiteY10" fmla="*/ 233340 h 286556"/>
                <a:gd name="connsiteX11" fmla="*/ 439580 w 551744"/>
                <a:gd name="connsiteY11" fmla="*/ 286556 h 286556"/>
                <a:gd name="connsiteX12" fmla="*/ 419210 w 551744"/>
                <a:gd name="connsiteY12" fmla="*/ 276181 h 286556"/>
                <a:gd name="connsiteX13" fmla="*/ 364348 w 551744"/>
                <a:gd name="connsiteY13" fmla="*/ 203206 h 286556"/>
                <a:gd name="connsiteX14" fmla="*/ 0 w 551744"/>
                <a:gd name="connsiteY14" fmla="*/ 203206 h 286556"/>
                <a:gd name="connsiteX15" fmla="*/ 0 w 551744"/>
                <a:gd name="connsiteY15" fmla="*/ 101603 h 286556"/>
                <a:gd name="connsiteX16" fmla="*/ 364348 w 551744"/>
                <a:gd name="connsiteY16" fmla="*/ 101603 h 286556"/>
                <a:gd name="connsiteX17" fmla="*/ 508015 w 551744"/>
                <a:gd name="connsiteY17" fmla="*/ 0 h 28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1744" h="286556">
                  <a:moveTo>
                    <a:pt x="508015" y="0"/>
                  </a:moveTo>
                  <a:lnTo>
                    <a:pt x="551744" y="6969"/>
                  </a:lnTo>
                  <a:lnTo>
                    <a:pt x="536085" y="85103"/>
                  </a:lnTo>
                  <a:lnTo>
                    <a:pt x="501049" y="102412"/>
                  </a:lnTo>
                  <a:lnTo>
                    <a:pt x="500921" y="103039"/>
                  </a:lnTo>
                  <a:lnTo>
                    <a:pt x="488259" y="105602"/>
                  </a:lnTo>
                  <a:cubicBezTo>
                    <a:pt x="470032" y="113324"/>
                    <a:pt x="457213" y="131396"/>
                    <a:pt x="457213" y="152405"/>
                  </a:cubicBezTo>
                  <a:cubicBezTo>
                    <a:pt x="457213" y="166411"/>
                    <a:pt x="462911" y="179111"/>
                    <a:pt x="472110" y="188310"/>
                  </a:cubicBezTo>
                  <a:lnTo>
                    <a:pt x="482231" y="195140"/>
                  </a:lnTo>
                  <a:lnTo>
                    <a:pt x="476605" y="222858"/>
                  </a:lnTo>
                  <a:lnTo>
                    <a:pt x="449740" y="233340"/>
                  </a:lnTo>
                  <a:lnTo>
                    <a:pt x="439580" y="286556"/>
                  </a:lnTo>
                  <a:lnTo>
                    <a:pt x="419210" y="276181"/>
                  </a:lnTo>
                  <a:cubicBezTo>
                    <a:pt x="394193" y="258172"/>
                    <a:pt x="374834" y="232771"/>
                    <a:pt x="364348" y="203206"/>
                  </a:cubicBezTo>
                  <a:lnTo>
                    <a:pt x="0" y="203206"/>
                  </a:lnTo>
                  <a:lnTo>
                    <a:pt x="0" y="101603"/>
                  </a:lnTo>
                  <a:lnTo>
                    <a:pt x="364348" y="101603"/>
                  </a:lnTo>
                  <a:cubicBezTo>
                    <a:pt x="385319" y="42474"/>
                    <a:pt x="441787" y="0"/>
                    <a:pt x="508015" y="0"/>
                  </a:cubicBezTo>
                  <a:close/>
                </a:path>
              </a:pathLst>
            </a:custGeom>
            <a:solidFill>
              <a:schemeClr val="bg1">
                <a:lumMod val="85000"/>
              </a:schemeClr>
            </a:solidFill>
            <a:ln w="9525" cap="flat">
              <a:noFill/>
              <a:prstDash val="solid"/>
              <a:miter/>
            </a:ln>
          </p:spPr>
          <p:txBody>
            <a:bodyPr wrap="square" rtlCol="0" anchor="ctr">
              <a:noAutofit/>
            </a:bodyPr>
            <a:lstStyle/>
            <a:p>
              <a:endParaRPr lang="en-GB" dirty="0"/>
            </a:p>
          </p:txBody>
        </p:sp>
        <p:sp>
          <p:nvSpPr>
            <p:cNvPr id="47" name="Vrije vorm: vorm 46">
              <a:extLst>
                <a:ext uri="{FF2B5EF4-FFF2-40B4-BE49-F238E27FC236}">
                  <a16:creationId xmlns:a16="http://schemas.microsoft.com/office/drawing/2014/main" id="{63233847-E037-0502-6D4F-F4173A2F78FF}"/>
                </a:ext>
              </a:extLst>
            </p:cNvPr>
            <p:cNvSpPr/>
            <p:nvPr/>
          </p:nvSpPr>
          <p:spPr>
            <a:xfrm>
              <a:off x="2339200" y="4639498"/>
              <a:ext cx="482231" cy="134151"/>
            </a:xfrm>
            <a:custGeom>
              <a:avLst/>
              <a:gdLst>
                <a:gd name="connsiteX0" fmla="*/ 0 w 482231"/>
                <a:gd name="connsiteY0" fmla="*/ 0 h 134151"/>
                <a:gd name="connsiteX1" fmla="*/ 457213 w 482231"/>
                <a:gd name="connsiteY1" fmla="*/ 0 h 134151"/>
                <a:gd name="connsiteX2" fmla="*/ 472110 w 482231"/>
                <a:gd name="connsiteY2" fmla="*/ 35906 h 134151"/>
                <a:gd name="connsiteX3" fmla="*/ 482231 w 482231"/>
                <a:gd name="connsiteY3" fmla="*/ 42735 h 134151"/>
                <a:gd name="connsiteX4" fmla="*/ 476605 w 482231"/>
                <a:gd name="connsiteY4" fmla="*/ 70455 h 134151"/>
                <a:gd name="connsiteX5" fmla="*/ 449740 w 482231"/>
                <a:gd name="connsiteY5" fmla="*/ 80937 h 134151"/>
                <a:gd name="connsiteX6" fmla="*/ 439580 w 482231"/>
                <a:gd name="connsiteY6" fmla="*/ 134151 h 134151"/>
                <a:gd name="connsiteX7" fmla="*/ 419210 w 482231"/>
                <a:gd name="connsiteY7" fmla="*/ 123776 h 134151"/>
                <a:gd name="connsiteX8" fmla="*/ 364348 w 482231"/>
                <a:gd name="connsiteY8" fmla="*/ 50802 h 134151"/>
                <a:gd name="connsiteX9" fmla="*/ 0 w 482231"/>
                <a:gd name="connsiteY9" fmla="*/ 50802 h 134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2231" h="134151">
                  <a:moveTo>
                    <a:pt x="0" y="0"/>
                  </a:moveTo>
                  <a:lnTo>
                    <a:pt x="457213" y="0"/>
                  </a:lnTo>
                  <a:cubicBezTo>
                    <a:pt x="457213" y="14006"/>
                    <a:pt x="462911" y="26707"/>
                    <a:pt x="472110" y="35906"/>
                  </a:cubicBezTo>
                  <a:lnTo>
                    <a:pt x="482231" y="42735"/>
                  </a:lnTo>
                  <a:lnTo>
                    <a:pt x="476605" y="70455"/>
                  </a:lnTo>
                  <a:lnTo>
                    <a:pt x="449740" y="80937"/>
                  </a:lnTo>
                  <a:lnTo>
                    <a:pt x="439580" y="134151"/>
                  </a:lnTo>
                  <a:lnTo>
                    <a:pt x="419210" y="123776"/>
                  </a:lnTo>
                  <a:cubicBezTo>
                    <a:pt x="394193" y="105767"/>
                    <a:pt x="374834" y="80366"/>
                    <a:pt x="364348" y="50802"/>
                  </a:cubicBezTo>
                  <a:lnTo>
                    <a:pt x="0" y="50802"/>
                  </a:lnTo>
                  <a:close/>
                </a:path>
              </a:pathLst>
            </a:custGeom>
            <a:solidFill>
              <a:schemeClr val="bg1">
                <a:lumMod val="75000"/>
              </a:schemeClr>
            </a:solidFill>
            <a:ln w="9525" cap="flat">
              <a:noFill/>
              <a:prstDash val="solid"/>
              <a:miter/>
            </a:ln>
          </p:spPr>
          <p:txBody>
            <a:bodyPr wrap="square" rtlCol="0" anchor="ctr">
              <a:noAutofit/>
            </a:bodyPr>
            <a:lstStyle/>
            <a:p>
              <a:endParaRPr lang="en-GB" dirty="0"/>
            </a:p>
          </p:txBody>
        </p:sp>
      </p:grpSp>
    </p:spTree>
    <p:extLst>
      <p:ext uri="{BB962C8B-B14F-4D97-AF65-F5344CB8AC3E}">
        <p14:creationId xmlns:p14="http://schemas.microsoft.com/office/powerpoint/2010/main" val="108346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8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par>
                                <p:cTn id="17" presetID="42" presetClass="path" presetSubtype="0" accel="50000" decel="50000" fill="hold" nodeType="withEffect">
                                  <p:stCondLst>
                                    <p:cond delay="250"/>
                                  </p:stCondLst>
                                  <p:childTnLst>
                                    <p:animMotion origin="layout" path="M -3.33333E-6 1.85185E-6 L 0.01185 0.00254 " pathEditMode="relative" rAng="0" ptsTypes="AA">
                                      <p:cBhvr>
                                        <p:cTn id="18" dur="750" fill="hold"/>
                                        <p:tgtEl>
                                          <p:spTgt spid="284"/>
                                        </p:tgtEl>
                                        <p:attrNameLst>
                                          <p:attrName>ppt_x</p:attrName>
                                          <p:attrName>ppt_y</p:attrName>
                                        </p:attrNameLst>
                                      </p:cBhvr>
                                      <p:rCtr x="58600" y="11600"/>
                                    </p:animMotion>
                                  </p:childTnLst>
                                </p:cTn>
                              </p:par>
                              <p:par>
                                <p:cTn id="19" presetID="42" presetClass="path" presetSubtype="0" accel="50000" decel="50000" fill="hold" nodeType="withEffect">
                                  <p:stCondLst>
                                    <p:cond delay="250"/>
                                  </p:stCondLst>
                                  <p:childTnLst>
                                    <p:animMotion origin="layout" path="M -3.33333E-6 1.85185E-6 L 0.01185 0.00254 " pathEditMode="relative" rAng="0" ptsTypes="AA">
                                      <p:cBhvr>
                                        <p:cTn id="20" dur="750" fill="hold"/>
                                        <p:tgtEl>
                                          <p:spTgt spid="287"/>
                                        </p:tgtEl>
                                        <p:attrNameLst>
                                          <p:attrName>ppt_x</p:attrName>
                                          <p:attrName>ppt_y</p:attrName>
                                        </p:attrNameLst>
                                      </p:cBhvr>
                                      <p:rCtr x="58600" y="11600"/>
                                    </p:animMotion>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A1B526-EF39-A927-BF8B-A7816E8FD2E1}"/>
              </a:ext>
            </a:extLst>
          </p:cNvPr>
          <p:cNvSpPr>
            <a:spLocks noGrp="1"/>
          </p:cNvSpPr>
          <p:nvPr>
            <p:ph type="title"/>
          </p:nvPr>
        </p:nvSpPr>
        <p:spPr/>
        <p:txBody>
          <a:bodyPr>
            <a:normAutofit/>
          </a:bodyPr>
          <a:lstStyle/>
          <a:p>
            <a:r>
              <a:rPr lang="en-GB" sz="4800" dirty="0"/>
              <a:t>Stakeholder Incentives</a:t>
            </a:r>
          </a:p>
        </p:txBody>
      </p:sp>
      <p:sp>
        <p:nvSpPr>
          <p:cNvPr id="5" name="Tijdelijke aanduiding voor tekst 4">
            <a:extLst>
              <a:ext uri="{FF2B5EF4-FFF2-40B4-BE49-F238E27FC236}">
                <a16:creationId xmlns:a16="http://schemas.microsoft.com/office/drawing/2014/main" id="{8AE22AB7-40C2-57CA-70E8-965BAAAC2FC9}"/>
              </a:ext>
            </a:extLst>
          </p:cNvPr>
          <p:cNvSpPr>
            <a:spLocks noGrp="1"/>
          </p:cNvSpPr>
          <p:nvPr>
            <p:ph type="body" sz="quarter" idx="10"/>
          </p:nvPr>
        </p:nvSpPr>
        <p:spPr/>
        <p:txBody>
          <a:bodyPr/>
          <a:lstStyle/>
          <a:p>
            <a:r>
              <a:rPr lang="en-US" dirty="0"/>
              <a:t>3</a:t>
            </a:r>
            <a:endParaRPr lang="en-GB" dirty="0"/>
          </a:p>
        </p:txBody>
      </p:sp>
    </p:spTree>
    <p:extLst>
      <p:ext uri="{BB962C8B-B14F-4D97-AF65-F5344CB8AC3E}">
        <p14:creationId xmlns:p14="http://schemas.microsoft.com/office/powerpoint/2010/main" val="305027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0">
            <a:extLst>
              <a:ext uri="{FF2B5EF4-FFF2-40B4-BE49-F238E27FC236}">
                <a16:creationId xmlns:a16="http://schemas.microsoft.com/office/drawing/2014/main" id="{778226D6-40CF-E279-9D81-F0C413ADC53D}"/>
              </a:ext>
            </a:extLst>
          </p:cNvPr>
          <p:cNvSpPr/>
          <p:nvPr/>
        </p:nvSpPr>
        <p:spPr>
          <a:xfrm>
            <a:off x="627130" y="643427"/>
            <a:ext cx="10874375" cy="2636030"/>
          </a:xfrm>
          <a:prstGeom prst="round2SameRect">
            <a:avLst>
              <a:gd name="adj1" fmla="val 6591"/>
              <a:gd name="adj2" fmla="val 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ea typeface="+mn-ea"/>
              <a:cs typeface="+mn-cs"/>
            </a:endParaRPr>
          </a:p>
        </p:txBody>
      </p:sp>
      <p:sp>
        <p:nvSpPr>
          <p:cNvPr id="52" name="Rectangle 60">
            <a:extLst>
              <a:ext uri="{FF2B5EF4-FFF2-40B4-BE49-F238E27FC236}">
                <a16:creationId xmlns:a16="http://schemas.microsoft.com/office/drawing/2014/main" id="{5894BFF6-1E19-0BF6-5DC7-A010F411EE3A}"/>
              </a:ext>
            </a:extLst>
          </p:cNvPr>
          <p:cNvSpPr/>
          <p:nvPr/>
        </p:nvSpPr>
        <p:spPr>
          <a:xfrm>
            <a:off x="627130" y="4219952"/>
            <a:ext cx="10874375" cy="1855984"/>
          </a:xfrm>
          <a:prstGeom prst="round2SameRect">
            <a:avLst>
              <a:gd name="adj1" fmla="val 0"/>
              <a:gd name="adj2" fmla="val 10804"/>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ea typeface="+mn-ea"/>
              <a:cs typeface="+mn-cs"/>
            </a:endParaRPr>
          </a:p>
        </p:txBody>
      </p:sp>
      <p:grpSp>
        <p:nvGrpSpPr>
          <p:cNvPr id="3" name="Groep 2">
            <a:extLst>
              <a:ext uri="{FF2B5EF4-FFF2-40B4-BE49-F238E27FC236}">
                <a16:creationId xmlns:a16="http://schemas.microsoft.com/office/drawing/2014/main" id="{E8714A46-6AEF-700F-E9FA-77444A382E0F}"/>
              </a:ext>
            </a:extLst>
          </p:cNvPr>
          <p:cNvGrpSpPr/>
          <p:nvPr/>
        </p:nvGrpSpPr>
        <p:grpSpPr>
          <a:xfrm>
            <a:off x="627131" y="2671889"/>
            <a:ext cx="10906057" cy="1547864"/>
            <a:chOff x="658814" y="2401441"/>
            <a:chExt cx="10906057" cy="1547864"/>
          </a:xfrm>
        </p:grpSpPr>
        <p:grpSp>
          <p:nvGrpSpPr>
            <p:cNvPr id="75" name="Groep 74">
              <a:extLst>
                <a:ext uri="{FF2B5EF4-FFF2-40B4-BE49-F238E27FC236}">
                  <a16:creationId xmlns:a16="http://schemas.microsoft.com/office/drawing/2014/main" id="{868815E4-94C5-70B9-7EB7-348EA29B91EE}"/>
                </a:ext>
              </a:extLst>
            </p:cNvPr>
            <p:cNvGrpSpPr/>
            <p:nvPr/>
          </p:nvGrpSpPr>
          <p:grpSpPr>
            <a:xfrm>
              <a:off x="3243326" y="3021493"/>
              <a:ext cx="2772000" cy="864704"/>
              <a:chOff x="3243326" y="3030632"/>
              <a:chExt cx="2739956" cy="655658"/>
            </a:xfrm>
          </p:grpSpPr>
          <p:sp>
            <p:nvSpPr>
              <p:cNvPr id="55" name="Rectangle 18">
                <a:extLst>
                  <a:ext uri="{FF2B5EF4-FFF2-40B4-BE49-F238E27FC236}">
                    <a16:creationId xmlns:a16="http://schemas.microsoft.com/office/drawing/2014/main" id="{C50914EC-B4BD-64B4-D853-3DDBC38CC27B}"/>
                  </a:ext>
                </a:extLst>
              </p:cNvPr>
              <p:cNvSpPr/>
              <p:nvPr/>
            </p:nvSpPr>
            <p:spPr>
              <a:xfrm>
                <a:off x="3243326" y="3030632"/>
                <a:ext cx="2739956" cy="655658"/>
              </a:xfrm>
              <a:prstGeom prst="rect">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accent1"/>
                  </a:solidFill>
                  <a:effectLst/>
                  <a:uLnTx/>
                  <a:uFillTx/>
                  <a:ea typeface="+mn-ea"/>
                  <a:cs typeface="+mn-cs"/>
                </a:endParaRPr>
              </a:p>
            </p:txBody>
          </p:sp>
          <p:sp>
            <p:nvSpPr>
              <p:cNvPr id="58" name="TextBox 22">
                <a:extLst>
                  <a:ext uri="{FF2B5EF4-FFF2-40B4-BE49-F238E27FC236}">
                    <a16:creationId xmlns:a16="http://schemas.microsoft.com/office/drawing/2014/main" id="{26C44481-CF36-B43B-A6B5-C37F3B6FE95E}"/>
                  </a:ext>
                </a:extLst>
              </p:cNvPr>
              <p:cNvSpPr txBox="1"/>
              <p:nvPr/>
            </p:nvSpPr>
            <p:spPr>
              <a:xfrm>
                <a:off x="3893304" y="3204326"/>
                <a:ext cx="1440000" cy="338554"/>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ea typeface="+mn-ea"/>
                    <a:cs typeface="Gotham Medium" pitchFamily="2" charset="0"/>
                  </a:rPr>
                  <a:t>Human rights</a:t>
                </a:r>
              </a:p>
            </p:txBody>
          </p:sp>
        </p:grpSp>
        <p:grpSp>
          <p:nvGrpSpPr>
            <p:cNvPr id="77" name="Groep 76">
              <a:extLst>
                <a:ext uri="{FF2B5EF4-FFF2-40B4-BE49-F238E27FC236}">
                  <a16:creationId xmlns:a16="http://schemas.microsoft.com/office/drawing/2014/main" id="{EA215E39-F0BC-CE94-71E0-7E6FDBB7B31A}"/>
                </a:ext>
              </a:extLst>
            </p:cNvPr>
            <p:cNvGrpSpPr/>
            <p:nvPr/>
          </p:nvGrpSpPr>
          <p:grpSpPr>
            <a:xfrm>
              <a:off x="8792871" y="3066154"/>
              <a:ext cx="2772000" cy="820045"/>
              <a:chOff x="8792871" y="3072497"/>
              <a:chExt cx="2739956" cy="621795"/>
            </a:xfrm>
          </p:grpSpPr>
          <p:sp>
            <p:nvSpPr>
              <p:cNvPr id="57" name="Rectangle 20">
                <a:extLst>
                  <a:ext uri="{FF2B5EF4-FFF2-40B4-BE49-F238E27FC236}">
                    <a16:creationId xmlns:a16="http://schemas.microsoft.com/office/drawing/2014/main" id="{5B4A8D83-E516-ACAF-45C7-DC606C83F860}"/>
                  </a:ext>
                </a:extLst>
              </p:cNvPr>
              <p:cNvSpPr/>
              <p:nvPr/>
            </p:nvSpPr>
            <p:spPr>
              <a:xfrm>
                <a:off x="8792871" y="3072497"/>
                <a:ext cx="2739956" cy="621795"/>
              </a:xfrm>
              <a:prstGeom prst="rect">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accent1"/>
                  </a:solidFill>
                  <a:effectLst/>
                  <a:uLnTx/>
                  <a:uFillTx/>
                  <a:ea typeface="+mn-ea"/>
                  <a:cs typeface="+mn-cs"/>
                </a:endParaRPr>
              </a:p>
            </p:txBody>
          </p:sp>
          <p:sp>
            <p:nvSpPr>
              <p:cNvPr id="60" name="TextBox 34">
                <a:extLst>
                  <a:ext uri="{FF2B5EF4-FFF2-40B4-BE49-F238E27FC236}">
                    <a16:creationId xmlns:a16="http://schemas.microsoft.com/office/drawing/2014/main" id="{1B7B8395-90EA-3CB5-1737-6D31E5ABCE08}"/>
                  </a:ext>
                </a:extLst>
              </p:cNvPr>
              <p:cNvSpPr txBox="1"/>
              <p:nvPr/>
            </p:nvSpPr>
            <p:spPr>
              <a:xfrm>
                <a:off x="9442849" y="3204326"/>
                <a:ext cx="1440000" cy="338554"/>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1"/>
                    </a:solidFill>
                    <a:effectLst/>
                    <a:uLnTx/>
                    <a:uFillTx/>
                    <a:ea typeface="+mn-ea"/>
                    <a:cs typeface="Gotham Medium" pitchFamily="2" charset="0"/>
                  </a:rPr>
                  <a:t>Supply security</a:t>
                </a:r>
                <a:endParaRPr kumimoji="0" lang="en-GB" sz="1200" b="1" i="0" u="none" strike="noStrike" kern="1200" cap="none" spc="0" normalizeH="0" baseline="0" noProof="0" dirty="0">
                  <a:ln>
                    <a:noFill/>
                  </a:ln>
                  <a:solidFill>
                    <a:schemeClr val="accent1"/>
                  </a:solidFill>
                  <a:effectLst/>
                  <a:uLnTx/>
                  <a:uFillTx/>
                  <a:ea typeface="+mn-ea"/>
                  <a:cs typeface="Gotham Medium" pitchFamily="2" charset="0"/>
                </a:endParaRPr>
              </a:p>
            </p:txBody>
          </p:sp>
        </p:grpSp>
        <p:grpSp>
          <p:nvGrpSpPr>
            <p:cNvPr id="76" name="Groep 75">
              <a:extLst>
                <a:ext uri="{FF2B5EF4-FFF2-40B4-BE49-F238E27FC236}">
                  <a16:creationId xmlns:a16="http://schemas.microsoft.com/office/drawing/2014/main" id="{3FD58035-8DAD-8CF4-1882-23B97914A572}"/>
                </a:ext>
              </a:extLst>
            </p:cNvPr>
            <p:cNvGrpSpPr/>
            <p:nvPr/>
          </p:nvGrpSpPr>
          <p:grpSpPr>
            <a:xfrm>
              <a:off x="6003236" y="3038294"/>
              <a:ext cx="2786864" cy="847903"/>
              <a:chOff x="5968590" y="3043368"/>
              <a:chExt cx="2754648" cy="642918"/>
            </a:xfrm>
          </p:grpSpPr>
          <p:sp>
            <p:nvSpPr>
              <p:cNvPr id="56" name="Rectangle 19">
                <a:extLst>
                  <a:ext uri="{FF2B5EF4-FFF2-40B4-BE49-F238E27FC236}">
                    <a16:creationId xmlns:a16="http://schemas.microsoft.com/office/drawing/2014/main" id="{8425E5CB-0ED6-2F10-3FF7-0A637756EB40}"/>
                  </a:ext>
                </a:extLst>
              </p:cNvPr>
              <p:cNvSpPr/>
              <p:nvPr/>
            </p:nvSpPr>
            <p:spPr>
              <a:xfrm>
                <a:off x="5968590" y="3043368"/>
                <a:ext cx="2754648" cy="642918"/>
              </a:xfrm>
              <a:prstGeom prst="rect">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accent1"/>
                  </a:solidFill>
                  <a:effectLst/>
                  <a:uLnTx/>
                  <a:uFillTx/>
                  <a:ea typeface="+mn-ea"/>
                  <a:cs typeface="+mn-cs"/>
                </a:endParaRPr>
              </a:p>
            </p:txBody>
          </p:sp>
          <p:sp>
            <p:nvSpPr>
              <p:cNvPr id="59" name="TextBox 23">
                <a:extLst>
                  <a:ext uri="{FF2B5EF4-FFF2-40B4-BE49-F238E27FC236}">
                    <a16:creationId xmlns:a16="http://schemas.microsoft.com/office/drawing/2014/main" id="{C2A9272C-627D-2FF8-0C2F-B335BC6FE3A7}"/>
                  </a:ext>
                </a:extLst>
              </p:cNvPr>
              <p:cNvSpPr txBox="1"/>
              <p:nvPr/>
            </p:nvSpPr>
            <p:spPr>
              <a:xfrm>
                <a:off x="6633260" y="3288965"/>
                <a:ext cx="1440000" cy="16927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ea typeface="+mn-ea"/>
                    <a:cs typeface="Gotham Medium" pitchFamily="2" charset="0"/>
                  </a:rPr>
                  <a:t>Reputation</a:t>
                </a:r>
              </a:p>
            </p:txBody>
          </p:sp>
        </p:grpSp>
        <p:grpSp>
          <p:nvGrpSpPr>
            <p:cNvPr id="61" name="Group 45">
              <a:extLst>
                <a:ext uri="{FF2B5EF4-FFF2-40B4-BE49-F238E27FC236}">
                  <a16:creationId xmlns:a16="http://schemas.microsoft.com/office/drawing/2014/main" id="{FEDB3A84-D9F2-AEE8-1B98-871653303928}"/>
                </a:ext>
              </a:extLst>
            </p:cNvPr>
            <p:cNvGrpSpPr/>
            <p:nvPr/>
          </p:nvGrpSpPr>
          <p:grpSpPr>
            <a:xfrm>
              <a:off x="674687" y="2401441"/>
              <a:ext cx="2421124" cy="742882"/>
              <a:chOff x="4978502" y="3317579"/>
              <a:chExt cx="2530716" cy="742882"/>
            </a:xfrm>
            <a:solidFill>
              <a:schemeClr val="tx2"/>
            </a:solidFill>
          </p:grpSpPr>
          <p:pic>
            <p:nvPicPr>
              <p:cNvPr id="63" name="Graphic 62">
                <a:extLst>
                  <a:ext uri="{FF2B5EF4-FFF2-40B4-BE49-F238E27FC236}">
                    <a16:creationId xmlns:a16="http://schemas.microsoft.com/office/drawing/2014/main" id="{A6B63164-3CBA-B542-6958-333C5C05B15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48652" y="3427646"/>
                <a:ext cx="560471" cy="560471"/>
              </a:xfrm>
              <a:prstGeom prst="rect">
                <a:avLst/>
              </a:prstGeom>
            </p:spPr>
          </p:pic>
          <p:pic>
            <p:nvPicPr>
              <p:cNvPr id="64" name="Graphic 63">
                <a:extLst>
                  <a:ext uri="{FF2B5EF4-FFF2-40B4-BE49-F238E27FC236}">
                    <a16:creationId xmlns:a16="http://schemas.microsoft.com/office/drawing/2014/main" id="{0F5DB412-27C5-36B0-D02D-C6770FF7079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78502" y="3422047"/>
                <a:ext cx="638414" cy="638414"/>
              </a:xfrm>
              <a:prstGeom prst="rect">
                <a:avLst/>
              </a:prstGeom>
            </p:spPr>
          </p:pic>
          <p:pic>
            <p:nvPicPr>
              <p:cNvPr id="65" name="Graphic 64">
                <a:extLst>
                  <a:ext uri="{FF2B5EF4-FFF2-40B4-BE49-F238E27FC236}">
                    <a16:creationId xmlns:a16="http://schemas.microsoft.com/office/drawing/2014/main" id="{8087F76B-CBBE-9F00-7C36-962409C3633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678472" y="3488861"/>
                <a:ext cx="497253" cy="497253"/>
              </a:xfrm>
              <a:prstGeom prst="rect">
                <a:avLst/>
              </a:prstGeom>
            </p:spPr>
          </p:pic>
          <p:pic>
            <p:nvPicPr>
              <p:cNvPr id="66" name="Graphic 65">
                <a:extLst>
                  <a:ext uri="{FF2B5EF4-FFF2-40B4-BE49-F238E27FC236}">
                    <a16:creationId xmlns:a16="http://schemas.microsoft.com/office/drawing/2014/main" id="{FBF29E91-6DB0-EBE8-76F0-FFA55F11564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46527" y="3317579"/>
                <a:ext cx="684417" cy="684417"/>
              </a:xfrm>
              <a:prstGeom prst="rect">
                <a:avLst/>
              </a:prstGeom>
            </p:spPr>
          </p:pic>
          <p:pic>
            <p:nvPicPr>
              <p:cNvPr id="67" name="Graphic 66">
                <a:extLst>
                  <a:ext uri="{FF2B5EF4-FFF2-40B4-BE49-F238E27FC236}">
                    <a16:creationId xmlns:a16="http://schemas.microsoft.com/office/drawing/2014/main" id="{C76C9B71-9C51-05F9-359B-94E5626F09AA}"/>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345611" y="3481576"/>
                <a:ext cx="570673" cy="570673"/>
              </a:xfrm>
              <a:prstGeom prst="rect">
                <a:avLst/>
              </a:prstGeom>
            </p:spPr>
          </p:pic>
          <p:pic>
            <p:nvPicPr>
              <p:cNvPr id="68" name="Graphic 67">
                <a:extLst>
                  <a:ext uri="{FF2B5EF4-FFF2-40B4-BE49-F238E27FC236}">
                    <a16:creationId xmlns:a16="http://schemas.microsoft.com/office/drawing/2014/main" id="{339C70FA-53A0-F50D-14DF-9435F60DCEDD}"/>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964734" y="3443633"/>
                <a:ext cx="544484" cy="544484"/>
              </a:xfrm>
              <a:prstGeom prst="rect">
                <a:avLst/>
              </a:prstGeom>
            </p:spPr>
          </p:pic>
          <p:pic>
            <p:nvPicPr>
              <p:cNvPr id="69" name="Graphic 68">
                <a:extLst>
                  <a:ext uri="{FF2B5EF4-FFF2-40B4-BE49-F238E27FC236}">
                    <a16:creationId xmlns:a16="http://schemas.microsoft.com/office/drawing/2014/main" id="{9FAF9C76-8555-F2BC-DE81-DC72B4AE486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655949" y="3380795"/>
                <a:ext cx="607322" cy="607322"/>
              </a:xfrm>
              <a:prstGeom prst="rect">
                <a:avLst/>
              </a:prstGeom>
            </p:spPr>
          </p:pic>
        </p:grpSp>
        <p:grpSp>
          <p:nvGrpSpPr>
            <p:cNvPr id="108" name="Groep 107">
              <a:extLst>
                <a:ext uri="{FF2B5EF4-FFF2-40B4-BE49-F238E27FC236}">
                  <a16:creationId xmlns:a16="http://schemas.microsoft.com/office/drawing/2014/main" id="{B0C5E253-E9FB-4F78-E5AC-FF9F7475D195}"/>
                </a:ext>
              </a:extLst>
            </p:cNvPr>
            <p:cNvGrpSpPr/>
            <p:nvPr/>
          </p:nvGrpSpPr>
          <p:grpSpPr>
            <a:xfrm>
              <a:off x="3250585" y="2994168"/>
              <a:ext cx="8282603" cy="261610"/>
              <a:chOff x="3250585" y="2994168"/>
              <a:chExt cx="8282603" cy="261610"/>
            </a:xfrm>
          </p:grpSpPr>
          <p:sp>
            <p:nvSpPr>
              <p:cNvPr id="70" name="Rectangle 11">
                <a:extLst>
                  <a:ext uri="{FF2B5EF4-FFF2-40B4-BE49-F238E27FC236}">
                    <a16:creationId xmlns:a16="http://schemas.microsoft.com/office/drawing/2014/main" id="{D4955647-2022-B098-8842-D2B6B7838E42}"/>
                  </a:ext>
                </a:extLst>
              </p:cNvPr>
              <p:cNvSpPr/>
              <p:nvPr/>
            </p:nvSpPr>
            <p:spPr>
              <a:xfrm>
                <a:off x="3250585" y="3001463"/>
                <a:ext cx="8282603" cy="2470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ea typeface="+mn-ea"/>
                  <a:cs typeface="+mn-cs"/>
                </a:endParaRPr>
              </a:p>
            </p:txBody>
          </p:sp>
          <p:sp>
            <p:nvSpPr>
              <p:cNvPr id="71" name="TextBox 24">
                <a:extLst>
                  <a:ext uri="{FF2B5EF4-FFF2-40B4-BE49-F238E27FC236}">
                    <a16:creationId xmlns:a16="http://schemas.microsoft.com/office/drawing/2014/main" id="{68340BAD-0271-4E4C-6296-C9C3F4D7CBF0}"/>
                  </a:ext>
                </a:extLst>
              </p:cNvPr>
              <p:cNvSpPr txBox="1"/>
              <p:nvPr/>
            </p:nvSpPr>
            <p:spPr>
              <a:xfrm>
                <a:off x="3250585" y="2994168"/>
                <a:ext cx="1740391" cy="261610"/>
              </a:xfrm>
              <a:prstGeom prst="rect">
                <a:avLst/>
              </a:prstGeom>
              <a:noFill/>
              <a:ln>
                <a:noFill/>
              </a:ln>
            </p:spPr>
            <p:txBody>
              <a:bodyPr wrap="square"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ea typeface="+mn-ea"/>
                    <a:cs typeface="Gotham Book" pitchFamily="2" charset="0"/>
                  </a:rPr>
                  <a:t>leverage opportunities</a:t>
                </a:r>
                <a:endParaRPr kumimoji="0" lang="en-GB" sz="1100" b="0" i="0" u="none" strike="noStrike" kern="1200" cap="none" spc="0" normalizeH="0" baseline="0" noProof="0" dirty="0">
                  <a:ln>
                    <a:noFill/>
                  </a:ln>
                  <a:solidFill>
                    <a:srgbClr val="FFFFFF"/>
                  </a:solidFill>
                  <a:effectLst/>
                  <a:uLnTx/>
                  <a:uFillTx/>
                  <a:ea typeface="+mn-ea"/>
                  <a:cs typeface="Gotham Book" pitchFamily="2" charset="0"/>
                </a:endParaRPr>
              </a:p>
            </p:txBody>
          </p:sp>
        </p:grpSp>
        <p:grpSp>
          <p:nvGrpSpPr>
            <p:cNvPr id="107" name="Groep 106">
              <a:extLst>
                <a:ext uri="{FF2B5EF4-FFF2-40B4-BE49-F238E27FC236}">
                  <a16:creationId xmlns:a16="http://schemas.microsoft.com/office/drawing/2014/main" id="{3345C0BC-1306-B6D7-2776-ACBD61921432}"/>
                </a:ext>
              </a:extLst>
            </p:cNvPr>
            <p:cNvGrpSpPr/>
            <p:nvPr/>
          </p:nvGrpSpPr>
          <p:grpSpPr>
            <a:xfrm>
              <a:off x="3257570" y="3683605"/>
              <a:ext cx="8275618" cy="265700"/>
              <a:chOff x="3257570" y="3683605"/>
              <a:chExt cx="8275618" cy="265700"/>
            </a:xfrm>
          </p:grpSpPr>
          <p:sp>
            <p:nvSpPr>
              <p:cNvPr id="72" name="Rectangle 61">
                <a:extLst>
                  <a:ext uri="{FF2B5EF4-FFF2-40B4-BE49-F238E27FC236}">
                    <a16:creationId xmlns:a16="http://schemas.microsoft.com/office/drawing/2014/main" id="{297A7F63-687D-855E-536A-89DD0415D5E7}"/>
                  </a:ext>
                </a:extLst>
              </p:cNvPr>
              <p:cNvSpPr/>
              <p:nvPr/>
            </p:nvSpPr>
            <p:spPr>
              <a:xfrm>
                <a:off x="3257570" y="3683605"/>
                <a:ext cx="8275618" cy="2657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ea typeface="+mn-ea"/>
                  <a:cs typeface="+mn-cs"/>
                </a:endParaRPr>
              </a:p>
            </p:txBody>
          </p:sp>
          <p:sp>
            <p:nvSpPr>
              <p:cNvPr id="73" name="TextBox 25">
                <a:extLst>
                  <a:ext uri="{FF2B5EF4-FFF2-40B4-BE49-F238E27FC236}">
                    <a16:creationId xmlns:a16="http://schemas.microsoft.com/office/drawing/2014/main" id="{CD6356CF-3638-14D6-4537-E045277B3262}"/>
                  </a:ext>
                </a:extLst>
              </p:cNvPr>
              <p:cNvSpPr txBox="1"/>
              <p:nvPr/>
            </p:nvSpPr>
            <p:spPr>
              <a:xfrm>
                <a:off x="3261845" y="3685650"/>
                <a:ext cx="1415742" cy="261610"/>
              </a:xfrm>
              <a:prstGeom prst="rect">
                <a:avLst/>
              </a:prstGeom>
              <a:noFill/>
            </p:spPr>
            <p:txBody>
              <a:bodyPr wrap="square"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ea typeface="+mn-ea"/>
                    <a:cs typeface="Gotham Book" pitchFamily="2" charset="0"/>
                  </a:rPr>
                  <a:t>mitigate risks</a:t>
                </a:r>
                <a:endParaRPr kumimoji="0" lang="en-GB" sz="1100" b="0" i="0" u="none" strike="noStrike" kern="1200" cap="none" spc="0" normalizeH="0" baseline="0" noProof="0" dirty="0">
                  <a:ln>
                    <a:noFill/>
                  </a:ln>
                  <a:solidFill>
                    <a:srgbClr val="FFFFFF"/>
                  </a:solidFill>
                  <a:effectLst/>
                  <a:uLnTx/>
                  <a:uFillTx/>
                  <a:ea typeface="+mn-ea"/>
                  <a:cs typeface="Gotham Book" pitchFamily="2" charset="0"/>
                </a:endParaRPr>
              </a:p>
            </p:txBody>
          </p:sp>
        </p:grpSp>
        <p:grpSp>
          <p:nvGrpSpPr>
            <p:cNvPr id="78" name="Groep 77">
              <a:extLst>
                <a:ext uri="{FF2B5EF4-FFF2-40B4-BE49-F238E27FC236}">
                  <a16:creationId xmlns:a16="http://schemas.microsoft.com/office/drawing/2014/main" id="{EB06980B-6F60-34D7-65FD-7DEC2F0A0189}"/>
                </a:ext>
              </a:extLst>
            </p:cNvPr>
            <p:cNvGrpSpPr/>
            <p:nvPr/>
          </p:nvGrpSpPr>
          <p:grpSpPr>
            <a:xfrm>
              <a:off x="658814" y="2994168"/>
              <a:ext cx="2603030" cy="955137"/>
              <a:chOff x="658814" y="2994168"/>
              <a:chExt cx="2603030" cy="955137"/>
            </a:xfrm>
          </p:grpSpPr>
          <p:sp>
            <p:nvSpPr>
              <p:cNvPr id="54" name="Rectangle 17">
                <a:extLst>
                  <a:ext uri="{FF2B5EF4-FFF2-40B4-BE49-F238E27FC236}">
                    <a16:creationId xmlns:a16="http://schemas.microsoft.com/office/drawing/2014/main" id="{25DD13D2-5774-C9F4-A10A-A6C601183D23}"/>
                  </a:ext>
                </a:extLst>
              </p:cNvPr>
              <p:cNvSpPr/>
              <p:nvPr/>
            </p:nvSpPr>
            <p:spPr>
              <a:xfrm>
                <a:off x="658814" y="2994168"/>
                <a:ext cx="2603030" cy="955137"/>
              </a:xfrm>
              <a:prstGeom prst="rect">
                <a:avLst/>
              </a:prstGeom>
              <a:solidFill>
                <a:schemeClr val="tx2"/>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chemeClr val="accent1"/>
                  </a:solidFill>
                  <a:effectLst/>
                  <a:uLnTx/>
                  <a:uFillTx/>
                  <a:ea typeface="+mn-ea"/>
                  <a:cs typeface="+mn-cs"/>
                </a:endParaRPr>
              </a:p>
            </p:txBody>
          </p:sp>
          <p:sp>
            <p:nvSpPr>
              <p:cNvPr id="62" name="TextBox 21">
                <a:extLst>
                  <a:ext uri="{FF2B5EF4-FFF2-40B4-BE49-F238E27FC236}">
                    <a16:creationId xmlns:a16="http://schemas.microsoft.com/office/drawing/2014/main" id="{50516858-B225-3742-413D-BC9F48444A03}"/>
                  </a:ext>
                </a:extLst>
              </p:cNvPr>
              <p:cNvSpPr txBox="1"/>
              <p:nvPr/>
            </p:nvSpPr>
            <p:spPr>
              <a:xfrm>
                <a:off x="1134216" y="3309880"/>
                <a:ext cx="1652227" cy="338554"/>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ea typeface="+mn-ea"/>
                    <a:cs typeface="Gotham Bold" pitchFamily="2" charset="0"/>
                  </a:rPr>
                  <a:t>BUSIN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1"/>
                    </a:solidFill>
                    <a:effectLst/>
                    <a:uLnTx/>
                    <a:uFillTx/>
                    <a:ea typeface="+mn-ea"/>
                    <a:cs typeface="Gotham Bold" pitchFamily="2" charset="0"/>
                  </a:rPr>
                  <a:t>INCENTIVES</a:t>
                </a:r>
                <a:endParaRPr kumimoji="0" lang="en-GB" sz="1400" b="1" i="0" u="none" strike="noStrike" kern="1200" cap="none" spc="0" normalizeH="0" baseline="0" noProof="0" dirty="0">
                  <a:ln>
                    <a:noFill/>
                  </a:ln>
                  <a:solidFill>
                    <a:schemeClr val="bg1"/>
                  </a:solidFill>
                  <a:effectLst/>
                  <a:uLnTx/>
                  <a:uFillTx/>
                  <a:ea typeface="+mn-ea"/>
                  <a:cs typeface="Gotham Bold" pitchFamily="2" charset="0"/>
                </a:endParaRPr>
              </a:p>
            </p:txBody>
          </p:sp>
        </p:grpSp>
      </p:grpSp>
      <p:cxnSp>
        <p:nvCxnSpPr>
          <p:cNvPr id="80" name="Rechte verbindingslijn 79">
            <a:extLst>
              <a:ext uri="{FF2B5EF4-FFF2-40B4-BE49-F238E27FC236}">
                <a16:creationId xmlns:a16="http://schemas.microsoft.com/office/drawing/2014/main" id="{BD1AFFDE-FF1C-7174-EBE5-D6738C5F63E1}"/>
              </a:ext>
            </a:extLst>
          </p:cNvPr>
          <p:cNvCxnSpPr>
            <a:cxnSpLocks/>
            <a:stCxn id="58" idx="0"/>
            <a:endCxn id="28" idx="2"/>
          </p:cNvCxnSpPr>
          <p:nvPr/>
        </p:nvCxnSpPr>
        <p:spPr>
          <a:xfrm flipH="1" flipV="1">
            <a:off x="4597643" y="2297974"/>
            <a:ext cx="1" cy="1223043"/>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81" name="Rechte verbindingslijn 80">
            <a:extLst>
              <a:ext uri="{FF2B5EF4-FFF2-40B4-BE49-F238E27FC236}">
                <a16:creationId xmlns:a16="http://schemas.microsoft.com/office/drawing/2014/main" id="{1AB140E9-13C5-F39F-C251-CA24F4F15C4F}"/>
              </a:ext>
            </a:extLst>
          </p:cNvPr>
          <p:cNvCxnSpPr>
            <a:cxnSpLocks/>
            <a:endCxn id="38" idx="2"/>
          </p:cNvCxnSpPr>
          <p:nvPr/>
        </p:nvCxnSpPr>
        <p:spPr>
          <a:xfrm flipV="1">
            <a:off x="7372415" y="1128896"/>
            <a:ext cx="0" cy="237385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84" name="Rechte verbindingslijn 83">
            <a:extLst>
              <a:ext uri="{FF2B5EF4-FFF2-40B4-BE49-F238E27FC236}">
                <a16:creationId xmlns:a16="http://schemas.microsoft.com/office/drawing/2014/main" id="{B18641AE-98D9-5328-E700-DA8D77F8B990}"/>
              </a:ext>
            </a:extLst>
          </p:cNvPr>
          <p:cNvCxnSpPr>
            <a:cxnSpLocks/>
            <a:stCxn id="60" idx="0"/>
            <a:endCxn id="32" idx="2"/>
          </p:cNvCxnSpPr>
          <p:nvPr/>
        </p:nvCxnSpPr>
        <p:spPr>
          <a:xfrm flipH="1" flipV="1">
            <a:off x="10147188" y="2297974"/>
            <a:ext cx="1" cy="1212487"/>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7" name="TextBox 32">
            <a:extLst>
              <a:ext uri="{FF2B5EF4-FFF2-40B4-BE49-F238E27FC236}">
                <a16:creationId xmlns:a16="http://schemas.microsoft.com/office/drawing/2014/main" id="{9789A8BB-2923-1069-1202-6C68B8283F70}"/>
              </a:ext>
            </a:extLst>
          </p:cNvPr>
          <p:cNvSpPr txBox="1"/>
          <p:nvPr/>
        </p:nvSpPr>
        <p:spPr>
          <a:xfrm>
            <a:off x="3697643" y="2608335"/>
            <a:ext cx="1800000" cy="357025"/>
          </a:xfrm>
          <a:prstGeom prst="rect">
            <a:avLst/>
          </a:prstGeom>
          <a:solidFill>
            <a:schemeClr val="accent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Meet due diligence </a:t>
            </a:r>
            <a:br>
              <a:rPr kumimoji="0" lang="en-GB" sz="1000" b="0" i="0" u="none" strike="noStrike" kern="1200" cap="none" spc="0" normalizeH="0" baseline="0" noProof="0" dirty="0">
                <a:ln>
                  <a:noFill/>
                </a:ln>
                <a:solidFill>
                  <a:schemeClr val="accent1"/>
                </a:solidFill>
                <a:effectLst/>
                <a:uLnTx/>
                <a:uFillTx/>
                <a:ea typeface="+mn-ea"/>
                <a:cs typeface="Gotham Medium" pitchFamily="2" charset="0"/>
              </a:rPr>
            </a:b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and reporting requirements</a:t>
            </a:r>
          </a:p>
        </p:txBody>
      </p:sp>
      <p:sp>
        <p:nvSpPr>
          <p:cNvPr id="28" name="Rectangle 4">
            <a:extLst>
              <a:ext uri="{FF2B5EF4-FFF2-40B4-BE49-F238E27FC236}">
                <a16:creationId xmlns:a16="http://schemas.microsoft.com/office/drawing/2014/main" id="{94203C1A-B48F-71C2-2E71-7B9C8F460E31}"/>
              </a:ext>
            </a:extLst>
          </p:cNvPr>
          <p:cNvSpPr/>
          <p:nvPr/>
        </p:nvSpPr>
        <p:spPr>
          <a:xfrm>
            <a:off x="3697643" y="1940949"/>
            <a:ext cx="1800000" cy="357025"/>
          </a:xfrm>
          <a:prstGeom prst="rect">
            <a:avLst/>
          </a:prstGeom>
          <a:solidFill>
            <a:schemeClr val="accent2">
              <a:lumMod val="20000"/>
              <a:lumOff val="80000"/>
            </a:schemeClr>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Lead on SDGs </a:t>
            </a:r>
            <a:br>
              <a:rPr kumimoji="0" lang="en-GB" sz="1000" b="0" i="0" u="none" strike="noStrike" kern="1200" cap="none" spc="0" normalizeH="0" baseline="0" noProof="0" dirty="0">
                <a:ln>
                  <a:noFill/>
                </a:ln>
                <a:solidFill>
                  <a:schemeClr val="accent1"/>
                </a:solidFill>
                <a:effectLst/>
                <a:uLnTx/>
                <a:uFillTx/>
                <a:ea typeface="+mn-ea"/>
                <a:cs typeface="Gotham Medium" pitchFamily="2" charset="0"/>
              </a:rPr>
            </a:b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1, 2, 3, 4, 6, 7, 8, 11)</a:t>
            </a:r>
          </a:p>
        </p:txBody>
      </p:sp>
      <p:sp>
        <p:nvSpPr>
          <p:cNvPr id="31" name="TextBox 35">
            <a:extLst>
              <a:ext uri="{FF2B5EF4-FFF2-40B4-BE49-F238E27FC236}">
                <a16:creationId xmlns:a16="http://schemas.microsoft.com/office/drawing/2014/main" id="{78F7080C-694F-9388-E6C4-1E7866A386CC}"/>
              </a:ext>
            </a:extLst>
          </p:cNvPr>
          <p:cNvSpPr txBox="1"/>
          <p:nvPr/>
        </p:nvSpPr>
        <p:spPr>
          <a:xfrm>
            <a:off x="9247188" y="2664921"/>
            <a:ext cx="1800000" cy="243853"/>
          </a:xfrm>
          <a:prstGeom prst="rect">
            <a:avLst/>
          </a:prstGeom>
          <a:solidFill>
            <a:schemeClr val="accent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Incentivize </a:t>
            </a:r>
            <a:r>
              <a:rPr kumimoji="0" lang="en-GB" sz="1000" b="1" i="0" u="none" strike="noStrike" kern="1200" cap="none" spc="0" normalizeH="0" baseline="0" noProof="0" dirty="0">
                <a:ln>
                  <a:noFill/>
                </a:ln>
                <a:solidFill>
                  <a:schemeClr val="accent1"/>
                </a:solidFill>
                <a:effectLst/>
                <a:uLnTx/>
                <a:uFillTx/>
                <a:ea typeface="+mn-ea"/>
                <a:cs typeface="Gotham Medium" pitchFamily="2" charset="0"/>
              </a:rPr>
              <a:t>new producers</a:t>
            </a:r>
          </a:p>
        </p:txBody>
      </p:sp>
      <p:sp>
        <p:nvSpPr>
          <p:cNvPr id="32" name="TextBox 36">
            <a:extLst>
              <a:ext uri="{FF2B5EF4-FFF2-40B4-BE49-F238E27FC236}">
                <a16:creationId xmlns:a16="http://schemas.microsoft.com/office/drawing/2014/main" id="{AC43F6D9-A5D1-B99F-3AB0-E5D65BD20C81}"/>
              </a:ext>
            </a:extLst>
          </p:cNvPr>
          <p:cNvSpPr txBox="1"/>
          <p:nvPr/>
        </p:nvSpPr>
        <p:spPr>
          <a:xfrm>
            <a:off x="9247188" y="1940949"/>
            <a:ext cx="1800000" cy="357025"/>
          </a:xfrm>
          <a:prstGeom prst="rect">
            <a:avLst/>
          </a:prstGeom>
          <a:solidFill>
            <a:schemeClr val="accent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Improve </a:t>
            </a:r>
            <a:r>
              <a:rPr kumimoji="0" lang="en-GB" sz="1000" b="1" i="0" u="none" strike="noStrike" kern="1200" cap="none" spc="0" normalizeH="0" baseline="0" noProof="0" dirty="0">
                <a:ln>
                  <a:noFill/>
                </a:ln>
                <a:solidFill>
                  <a:schemeClr val="accent1"/>
                </a:solidFill>
                <a:effectLst/>
                <a:uLnTx/>
                <a:uFillTx/>
                <a:ea typeface="+mn-ea"/>
                <a:cs typeface="Gotham Medium" pitchFamily="2" charset="0"/>
              </a:rPr>
              <a:t>supply volumes and quality specifications</a:t>
            </a:r>
          </a:p>
        </p:txBody>
      </p:sp>
      <p:sp>
        <p:nvSpPr>
          <p:cNvPr id="35" name="TextBox 37">
            <a:extLst>
              <a:ext uri="{FF2B5EF4-FFF2-40B4-BE49-F238E27FC236}">
                <a16:creationId xmlns:a16="http://schemas.microsoft.com/office/drawing/2014/main" id="{C511EF2D-1DE4-D48D-BBED-8F321B08DB9C}"/>
              </a:ext>
            </a:extLst>
          </p:cNvPr>
          <p:cNvSpPr txBox="1"/>
          <p:nvPr/>
        </p:nvSpPr>
        <p:spPr>
          <a:xfrm>
            <a:off x="6283415" y="2525487"/>
            <a:ext cx="2178000" cy="522720"/>
          </a:xfrm>
          <a:prstGeom prst="rect">
            <a:avLst/>
          </a:prstGeom>
          <a:solidFill>
            <a:schemeClr val="accent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Receive more favourable financing terms from investors and unlock </a:t>
            </a:r>
            <a:br>
              <a:rPr kumimoji="0" lang="en-GB" sz="1000" b="0" i="0" u="none" strike="noStrike" kern="1200" cap="none" spc="0" normalizeH="0" baseline="0" noProof="0" dirty="0">
                <a:ln>
                  <a:noFill/>
                </a:ln>
                <a:solidFill>
                  <a:schemeClr val="accent1"/>
                </a:solidFill>
                <a:effectLst/>
                <a:uLnTx/>
                <a:uFillTx/>
                <a:ea typeface="+mn-ea"/>
                <a:cs typeface="Gotham Medium" pitchFamily="2" charset="0"/>
              </a:rPr>
            </a:b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new sources of financing</a:t>
            </a:r>
          </a:p>
        </p:txBody>
      </p:sp>
      <p:sp>
        <p:nvSpPr>
          <p:cNvPr id="36" name="TextBox 40">
            <a:extLst>
              <a:ext uri="{FF2B5EF4-FFF2-40B4-BE49-F238E27FC236}">
                <a16:creationId xmlns:a16="http://schemas.microsoft.com/office/drawing/2014/main" id="{BFBC4FAE-783C-1EC2-F49E-AC2F2FEA4FA4}"/>
              </a:ext>
            </a:extLst>
          </p:cNvPr>
          <p:cNvSpPr txBox="1"/>
          <p:nvPr/>
        </p:nvSpPr>
        <p:spPr>
          <a:xfrm>
            <a:off x="6472415" y="1940949"/>
            <a:ext cx="1800000" cy="357025"/>
          </a:xfrm>
          <a:prstGeom prst="rect">
            <a:avLst/>
          </a:prstGeom>
          <a:solidFill>
            <a:schemeClr val="accent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Increase market share and</a:t>
            </a:r>
            <a:br>
              <a:rPr kumimoji="0" lang="en-GB" sz="1000" b="0" i="0" u="none" strike="noStrike" kern="1200" cap="none" spc="0" normalizeH="0" baseline="0" noProof="0" dirty="0">
                <a:ln>
                  <a:noFill/>
                </a:ln>
                <a:solidFill>
                  <a:schemeClr val="accent1"/>
                </a:solidFill>
                <a:effectLst/>
                <a:uLnTx/>
                <a:uFillTx/>
                <a:ea typeface="+mn-ea"/>
                <a:cs typeface="Gotham Medium" pitchFamily="2" charset="0"/>
              </a:rPr>
            </a:b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command higher prices</a:t>
            </a:r>
          </a:p>
        </p:txBody>
      </p:sp>
      <p:sp>
        <p:nvSpPr>
          <p:cNvPr id="37" name="TextBox 42">
            <a:extLst>
              <a:ext uri="{FF2B5EF4-FFF2-40B4-BE49-F238E27FC236}">
                <a16:creationId xmlns:a16="http://schemas.microsoft.com/office/drawing/2014/main" id="{0B301B52-7B1F-77E6-B5C0-35D95262BC59}"/>
              </a:ext>
            </a:extLst>
          </p:cNvPr>
          <p:cNvSpPr txBox="1"/>
          <p:nvPr/>
        </p:nvSpPr>
        <p:spPr>
          <a:xfrm>
            <a:off x="6472415" y="1356410"/>
            <a:ext cx="1800000" cy="357025"/>
          </a:xfrm>
          <a:prstGeom prst="rect">
            <a:avLst/>
          </a:prstGeom>
          <a:solidFill>
            <a:schemeClr val="accent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Secure customer loyalty and</a:t>
            </a:r>
            <a:br>
              <a:rPr kumimoji="0" lang="en-GB" sz="1000" b="0" i="0" u="none" strike="noStrike" kern="1200" cap="none" spc="0" normalizeH="0" baseline="0" noProof="0" dirty="0">
                <a:ln>
                  <a:noFill/>
                </a:ln>
                <a:solidFill>
                  <a:schemeClr val="accent1"/>
                </a:solidFill>
                <a:effectLst/>
                <a:uLnTx/>
                <a:uFillTx/>
                <a:ea typeface="+mn-ea"/>
                <a:cs typeface="Gotham Medium" pitchFamily="2" charset="0"/>
              </a:rPr>
            </a:b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attract new customers</a:t>
            </a:r>
          </a:p>
        </p:txBody>
      </p:sp>
      <p:sp>
        <p:nvSpPr>
          <p:cNvPr id="38" name="TextBox 43">
            <a:extLst>
              <a:ext uri="{FF2B5EF4-FFF2-40B4-BE49-F238E27FC236}">
                <a16:creationId xmlns:a16="http://schemas.microsoft.com/office/drawing/2014/main" id="{92004923-737D-E2D7-E144-89201A43662D}"/>
              </a:ext>
            </a:extLst>
          </p:cNvPr>
          <p:cNvSpPr txBox="1"/>
          <p:nvPr/>
        </p:nvSpPr>
        <p:spPr>
          <a:xfrm>
            <a:off x="6472415" y="771871"/>
            <a:ext cx="1800000" cy="357025"/>
          </a:xfrm>
          <a:prstGeom prst="rect">
            <a:avLst/>
          </a:prstGeom>
          <a:solidFill>
            <a:schemeClr val="accent2">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Enhance brand value and build </a:t>
            </a:r>
            <a:br>
              <a:rPr kumimoji="0" lang="en-GB" sz="1000" b="0" i="0" u="none" strike="noStrike" kern="1200" cap="none" spc="0" normalizeH="0" baseline="0" noProof="0" dirty="0">
                <a:ln>
                  <a:noFill/>
                </a:ln>
                <a:solidFill>
                  <a:schemeClr val="accent1"/>
                </a:solidFill>
                <a:effectLst/>
                <a:uLnTx/>
                <a:uFillTx/>
                <a:ea typeface="+mn-ea"/>
                <a:cs typeface="Gotham Medium" pitchFamily="2" charset="0"/>
              </a:rPr>
            </a:b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stronger reputation</a:t>
            </a:r>
          </a:p>
        </p:txBody>
      </p:sp>
      <p:cxnSp>
        <p:nvCxnSpPr>
          <p:cNvPr id="93" name="Rechte verbindingslijn 92">
            <a:extLst>
              <a:ext uri="{FF2B5EF4-FFF2-40B4-BE49-F238E27FC236}">
                <a16:creationId xmlns:a16="http://schemas.microsoft.com/office/drawing/2014/main" id="{7AB39BEC-2732-4F70-AB9B-C7FC8CEC6DBA}"/>
              </a:ext>
            </a:extLst>
          </p:cNvPr>
          <p:cNvCxnSpPr>
            <a:cxnSpLocks/>
            <a:stCxn id="42" idx="0"/>
          </p:cNvCxnSpPr>
          <p:nvPr/>
        </p:nvCxnSpPr>
        <p:spPr>
          <a:xfrm flipH="1" flipV="1">
            <a:off x="4597642" y="4209076"/>
            <a:ext cx="1" cy="771312"/>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1" name="TextBox 33">
            <a:extLst>
              <a:ext uri="{FF2B5EF4-FFF2-40B4-BE49-F238E27FC236}">
                <a16:creationId xmlns:a16="http://schemas.microsoft.com/office/drawing/2014/main" id="{4FDDDFE0-5230-57F9-8EB4-FD3D16E58902}"/>
              </a:ext>
            </a:extLst>
          </p:cNvPr>
          <p:cNvSpPr txBox="1"/>
          <p:nvPr/>
        </p:nvSpPr>
        <p:spPr>
          <a:xfrm>
            <a:off x="3697643" y="4419414"/>
            <a:ext cx="1800000" cy="357025"/>
          </a:xfrm>
          <a:prstGeom prst="rect">
            <a:avLst/>
          </a:prstGeom>
          <a:solidFill>
            <a:schemeClr val="accent3">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Underpayment of farmers</a:t>
            </a:r>
            <a:br>
              <a:rPr kumimoji="0" lang="en-GB" sz="1000" b="0" i="0" u="none" strike="noStrike" kern="1200" cap="none" spc="0" normalizeH="0" baseline="0" noProof="0" dirty="0">
                <a:ln>
                  <a:noFill/>
                </a:ln>
                <a:solidFill>
                  <a:schemeClr val="accent1"/>
                </a:solidFill>
                <a:effectLst/>
                <a:uLnTx/>
                <a:uFillTx/>
                <a:ea typeface="+mn-ea"/>
                <a:cs typeface="Gotham Medium" pitchFamily="2" charset="0"/>
              </a:rPr>
            </a:b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and farm workers</a:t>
            </a:r>
          </a:p>
        </p:txBody>
      </p:sp>
      <p:sp>
        <p:nvSpPr>
          <p:cNvPr id="42" name="TextBox 56">
            <a:extLst>
              <a:ext uri="{FF2B5EF4-FFF2-40B4-BE49-F238E27FC236}">
                <a16:creationId xmlns:a16="http://schemas.microsoft.com/office/drawing/2014/main" id="{8815D30B-C534-EC7D-2417-668063AC0D93}"/>
              </a:ext>
            </a:extLst>
          </p:cNvPr>
          <p:cNvSpPr txBox="1"/>
          <p:nvPr/>
        </p:nvSpPr>
        <p:spPr>
          <a:xfrm>
            <a:off x="3697643" y="4980388"/>
            <a:ext cx="1800000" cy="357025"/>
          </a:xfrm>
          <a:prstGeom prst="rect">
            <a:avLst/>
          </a:prstGeom>
          <a:solidFill>
            <a:schemeClr val="accent3">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Use of forced </a:t>
            </a:r>
            <a:r>
              <a:rPr kumimoji="0" lang="en-GB" sz="1000" b="0" i="0" u="none" strike="noStrike" kern="1200" cap="none" spc="0" normalizeH="0" baseline="0" noProof="0" dirty="0" err="1">
                <a:ln>
                  <a:noFill/>
                </a:ln>
                <a:solidFill>
                  <a:schemeClr val="accent1"/>
                </a:solidFill>
                <a:effectLst/>
                <a:uLnTx/>
                <a:uFillTx/>
                <a:ea typeface="+mn-ea"/>
                <a:cs typeface="Gotham Medium" pitchFamily="2" charset="0"/>
              </a:rPr>
              <a:t>labor</a:t>
            </a: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 </a:t>
            </a:r>
            <a:br>
              <a:rPr kumimoji="0" lang="en-GB" sz="1000" b="0" i="0" u="none" strike="noStrike" kern="1200" cap="none" spc="0" normalizeH="0" baseline="0" noProof="0" dirty="0">
                <a:ln>
                  <a:noFill/>
                </a:ln>
                <a:solidFill>
                  <a:schemeClr val="accent1"/>
                </a:solidFill>
                <a:effectLst/>
                <a:uLnTx/>
                <a:uFillTx/>
                <a:ea typeface="+mn-ea"/>
                <a:cs typeface="Gotham Medium" pitchFamily="2" charset="0"/>
              </a:rPr>
            </a:b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or </a:t>
            </a:r>
            <a:r>
              <a:rPr kumimoji="0" lang="en-GB" sz="1000" b="0" i="0" u="none" strike="noStrike" kern="1200" cap="none" spc="0" normalizeH="0" baseline="0" noProof="0">
                <a:ln>
                  <a:noFill/>
                </a:ln>
                <a:solidFill>
                  <a:schemeClr val="accent1"/>
                </a:solidFill>
                <a:effectLst/>
                <a:uLnTx/>
                <a:uFillTx/>
                <a:ea typeface="+mn-ea"/>
                <a:cs typeface="Gotham Medium" pitchFamily="2" charset="0"/>
              </a:rPr>
              <a:t>child labor</a:t>
            </a:r>
            <a:endParaRPr kumimoji="0" lang="en-GB" sz="1000" b="0" i="0" u="none" strike="noStrike" kern="1200" cap="none" spc="0" normalizeH="0" baseline="0" noProof="0" dirty="0">
              <a:ln>
                <a:noFill/>
              </a:ln>
              <a:solidFill>
                <a:schemeClr val="accent1"/>
              </a:solidFill>
              <a:effectLst/>
              <a:uLnTx/>
              <a:uFillTx/>
              <a:ea typeface="+mn-ea"/>
              <a:cs typeface="Gotham Medium" pitchFamily="2" charset="0"/>
            </a:endParaRPr>
          </a:p>
        </p:txBody>
      </p:sp>
      <p:cxnSp>
        <p:nvCxnSpPr>
          <p:cNvPr id="96" name="Rechte verbindingslijn 95">
            <a:extLst>
              <a:ext uri="{FF2B5EF4-FFF2-40B4-BE49-F238E27FC236}">
                <a16:creationId xmlns:a16="http://schemas.microsoft.com/office/drawing/2014/main" id="{B8372FEF-8B15-563C-B945-0D69A3CCE66D}"/>
              </a:ext>
            </a:extLst>
          </p:cNvPr>
          <p:cNvCxnSpPr>
            <a:cxnSpLocks/>
            <a:endCxn id="72" idx="2"/>
          </p:cNvCxnSpPr>
          <p:nvPr/>
        </p:nvCxnSpPr>
        <p:spPr>
          <a:xfrm flipV="1">
            <a:off x="7360203" y="4219753"/>
            <a:ext cx="3493" cy="1321608"/>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5" name="TextBox 41">
            <a:extLst>
              <a:ext uri="{FF2B5EF4-FFF2-40B4-BE49-F238E27FC236}">
                <a16:creationId xmlns:a16="http://schemas.microsoft.com/office/drawing/2014/main" id="{6F322054-21EE-FF0C-D8AF-69A3DD52365C}"/>
              </a:ext>
            </a:extLst>
          </p:cNvPr>
          <p:cNvSpPr txBox="1"/>
          <p:nvPr/>
        </p:nvSpPr>
        <p:spPr>
          <a:xfrm>
            <a:off x="6472415" y="4419414"/>
            <a:ext cx="1800000" cy="357025"/>
          </a:xfrm>
          <a:prstGeom prst="rect">
            <a:avLst/>
          </a:prstGeom>
          <a:solidFill>
            <a:schemeClr val="accent3">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Controversy and</a:t>
            </a:r>
            <a:br>
              <a:rPr kumimoji="0" lang="en-GB" sz="1000" b="0" i="0" u="none" strike="noStrike" kern="1200" cap="none" spc="0" normalizeH="0" baseline="0" noProof="0" dirty="0">
                <a:ln>
                  <a:noFill/>
                </a:ln>
                <a:solidFill>
                  <a:schemeClr val="accent1"/>
                </a:solidFill>
                <a:effectLst/>
                <a:uLnTx/>
                <a:uFillTx/>
                <a:ea typeface="+mn-ea"/>
                <a:cs typeface="Gotham Medium" pitchFamily="2" charset="0"/>
              </a:rPr>
            </a:b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negative publicity</a:t>
            </a:r>
          </a:p>
        </p:txBody>
      </p:sp>
      <p:sp>
        <p:nvSpPr>
          <p:cNvPr id="46" name="TextBox 57">
            <a:extLst>
              <a:ext uri="{FF2B5EF4-FFF2-40B4-BE49-F238E27FC236}">
                <a16:creationId xmlns:a16="http://schemas.microsoft.com/office/drawing/2014/main" id="{EFE45650-0D58-C0B5-FE2B-90E2E001FB65}"/>
              </a:ext>
            </a:extLst>
          </p:cNvPr>
          <p:cNvSpPr txBox="1"/>
          <p:nvPr/>
        </p:nvSpPr>
        <p:spPr>
          <a:xfrm>
            <a:off x="6472415" y="5036974"/>
            <a:ext cx="1800000" cy="243853"/>
          </a:xfrm>
          <a:prstGeom prst="rect">
            <a:avLst/>
          </a:prstGeom>
          <a:solidFill>
            <a:schemeClr val="accent3">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Consumer boycotting</a:t>
            </a:r>
          </a:p>
        </p:txBody>
      </p:sp>
      <p:sp>
        <p:nvSpPr>
          <p:cNvPr id="47" name="TextBox 58">
            <a:extLst>
              <a:ext uri="{FF2B5EF4-FFF2-40B4-BE49-F238E27FC236}">
                <a16:creationId xmlns:a16="http://schemas.microsoft.com/office/drawing/2014/main" id="{645C266F-54EB-A2ED-91B7-69F39D9D2935}"/>
              </a:ext>
            </a:extLst>
          </p:cNvPr>
          <p:cNvSpPr txBox="1"/>
          <p:nvPr/>
        </p:nvSpPr>
        <p:spPr>
          <a:xfrm>
            <a:off x="6472415" y="5541361"/>
            <a:ext cx="1800000" cy="357025"/>
          </a:xfrm>
          <a:prstGeom prst="rect">
            <a:avLst/>
          </a:prstGeom>
          <a:solidFill>
            <a:schemeClr val="accent3">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Divestment and costlier</a:t>
            </a:r>
            <a:br>
              <a:rPr kumimoji="0" lang="en-GB" sz="1000" b="0" i="0" u="none" strike="noStrike" kern="1200" cap="none" spc="0" normalizeH="0" baseline="0" noProof="0" dirty="0">
                <a:ln>
                  <a:noFill/>
                </a:ln>
                <a:solidFill>
                  <a:schemeClr val="accent1"/>
                </a:solidFill>
                <a:effectLst/>
                <a:uLnTx/>
                <a:uFillTx/>
                <a:ea typeface="+mn-ea"/>
                <a:cs typeface="Gotham Medium" pitchFamily="2" charset="0"/>
              </a:rPr>
            </a:b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access </a:t>
            </a:r>
            <a:r>
              <a:rPr kumimoji="0" lang="en-GB" sz="1000" b="0" i="0" u="none" strike="noStrike" kern="1200" cap="none" spc="0" normalizeH="0" baseline="0" noProof="0">
                <a:ln>
                  <a:noFill/>
                </a:ln>
                <a:solidFill>
                  <a:schemeClr val="accent1"/>
                </a:solidFill>
                <a:effectLst/>
                <a:uLnTx/>
                <a:uFillTx/>
                <a:ea typeface="+mn-ea"/>
                <a:cs typeface="Gotham Medium" pitchFamily="2" charset="0"/>
              </a:rPr>
              <a:t>to credit</a:t>
            </a:r>
            <a:endParaRPr kumimoji="0" lang="en-GB" sz="1000" b="0" i="0" u="none" strike="noStrike" kern="1200" cap="none" spc="0" normalizeH="0" baseline="0" noProof="0" dirty="0">
              <a:ln>
                <a:noFill/>
              </a:ln>
              <a:solidFill>
                <a:schemeClr val="accent1"/>
              </a:solidFill>
              <a:effectLst/>
              <a:uLnTx/>
              <a:uFillTx/>
              <a:ea typeface="+mn-ea"/>
              <a:cs typeface="Gotham Medium" pitchFamily="2" charset="0"/>
            </a:endParaRPr>
          </a:p>
        </p:txBody>
      </p:sp>
      <p:cxnSp>
        <p:nvCxnSpPr>
          <p:cNvPr id="101" name="Rechte verbindingslijn 100">
            <a:extLst>
              <a:ext uri="{FF2B5EF4-FFF2-40B4-BE49-F238E27FC236}">
                <a16:creationId xmlns:a16="http://schemas.microsoft.com/office/drawing/2014/main" id="{BEF9EE5E-FA75-82B0-4C00-9683099C85FE}"/>
              </a:ext>
            </a:extLst>
          </p:cNvPr>
          <p:cNvCxnSpPr>
            <a:cxnSpLocks/>
            <a:stCxn id="51" idx="0"/>
          </p:cNvCxnSpPr>
          <p:nvPr/>
        </p:nvCxnSpPr>
        <p:spPr>
          <a:xfrm flipH="1" flipV="1">
            <a:off x="10147187" y="4209076"/>
            <a:ext cx="1" cy="771312"/>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50" name="TextBox 44">
            <a:extLst>
              <a:ext uri="{FF2B5EF4-FFF2-40B4-BE49-F238E27FC236}">
                <a16:creationId xmlns:a16="http://schemas.microsoft.com/office/drawing/2014/main" id="{6710ABA8-0BC1-9E81-797E-805A3B4A7DE3}"/>
              </a:ext>
            </a:extLst>
          </p:cNvPr>
          <p:cNvSpPr txBox="1"/>
          <p:nvPr/>
        </p:nvSpPr>
        <p:spPr>
          <a:xfrm>
            <a:off x="9058188" y="4419414"/>
            <a:ext cx="2178000" cy="357025"/>
          </a:xfrm>
          <a:prstGeom prst="rect">
            <a:avLst/>
          </a:prstGeom>
          <a:solidFill>
            <a:schemeClr val="accent3">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Destabilized supply chain actors undermine quality and delivery</a:t>
            </a:r>
          </a:p>
        </p:txBody>
      </p:sp>
      <p:sp>
        <p:nvSpPr>
          <p:cNvPr id="51" name="TextBox 59">
            <a:extLst>
              <a:ext uri="{FF2B5EF4-FFF2-40B4-BE49-F238E27FC236}">
                <a16:creationId xmlns:a16="http://schemas.microsoft.com/office/drawing/2014/main" id="{A1B8BD1D-DDCF-B48D-CB29-F202D70CE2F0}"/>
              </a:ext>
            </a:extLst>
          </p:cNvPr>
          <p:cNvSpPr txBox="1"/>
          <p:nvPr/>
        </p:nvSpPr>
        <p:spPr>
          <a:xfrm>
            <a:off x="9247188" y="4980388"/>
            <a:ext cx="1800000" cy="357025"/>
          </a:xfrm>
          <a:prstGeom prst="rect">
            <a:avLst/>
          </a:prstGeom>
          <a:solidFill>
            <a:schemeClr val="accent3">
              <a:lumMod val="20000"/>
              <a:lumOff val="8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accent1"/>
                </a:solidFill>
                <a:effectLst/>
                <a:uLnTx/>
                <a:uFillTx/>
                <a:ea typeface="+mn-ea"/>
                <a:cs typeface="Gotham Medium" pitchFamily="2" charset="0"/>
              </a:rPr>
              <a:t>Low return on </a:t>
            </a:r>
            <a:br>
              <a:rPr kumimoji="0" lang="en-GB" sz="1000" b="0" i="0" u="none" strike="noStrike" kern="1200" cap="none" spc="0" normalizeH="0" baseline="0" noProof="0" dirty="0">
                <a:ln>
                  <a:noFill/>
                </a:ln>
                <a:solidFill>
                  <a:schemeClr val="accent1"/>
                </a:solidFill>
                <a:effectLst/>
                <a:uLnTx/>
                <a:uFillTx/>
                <a:ea typeface="+mn-ea"/>
                <a:cs typeface="Gotham Medium" pitchFamily="2" charset="0"/>
              </a:rPr>
            </a:br>
            <a:r>
              <a:rPr kumimoji="0" lang="en-GB" sz="1000" b="0" i="0" u="none" strike="noStrike" kern="1200" cap="none" spc="0" normalizeH="0" baseline="0" noProof="0">
                <a:ln>
                  <a:noFill/>
                </a:ln>
                <a:solidFill>
                  <a:schemeClr val="accent1"/>
                </a:solidFill>
                <a:effectLst/>
                <a:uLnTx/>
                <a:uFillTx/>
                <a:ea typeface="+mn-ea"/>
                <a:cs typeface="Gotham Medium" pitchFamily="2" charset="0"/>
              </a:rPr>
              <a:t>sustainability investments</a:t>
            </a:r>
            <a:endParaRPr kumimoji="0" lang="en-GB" sz="1000" b="0" i="0" u="none" strike="noStrike" kern="1200" cap="none" spc="0" normalizeH="0" baseline="0" noProof="0" dirty="0">
              <a:ln>
                <a:noFill/>
              </a:ln>
              <a:solidFill>
                <a:schemeClr val="accent1"/>
              </a:solidFill>
              <a:effectLst/>
              <a:uLnTx/>
              <a:uFillTx/>
              <a:ea typeface="+mn-ea"/>
              <a:cs typeface="Gotham Medium" pitchFamily="2" charset="0"/>
            </a:endParaRPr>
          </a:p>
        </p:txBody>
      </p:sp>
    </p:spTree>
    <p:extLst>
      <p:ext uri="{BB962C8B-B14F-4D97-AF65-F5344CB8AC3E}">
        <p14:creationId xmlns:p14="http://schemas.microsoft.com/office/powerpoint/2010/main" val="1646068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Tijdelijke aanduiding voor afbeelding 17">
            <a:extLst>
              <a:ext uri="{FF2B5EF4-FFF2-40B4-BE49-F238E27FC236}">
                <a16:creationId xmlns:a16="http://schemas.microsoft.com/office/drawing/2014/main" id="{DD757651-DF9B-1F9F-D0E4-8E135BFD281F}"/>
              </a:ext>
            </a:extLst>
          </p:cNvPr>
          <p:cNvPicPr>
            <a:picLocks noGrp="1" noChangeAspect="1"/>
          </p:cNvPicPr>
          <p:nvPr>
            <p:ph type="pic" sz="quarter" idx="4294967295"/>
          </p:nvPr>
        </p:nvPicPr>
        <p:blipFill>
          <a:blip r:embed="rId3"/>
          <a:srcRect l="23" r="23"/>
          <a:stretch>
            <a:fillRect/>
          </a:stretch>
        </p:blipFill>
        <p:spPr>
          <a:xfrm>
            <a:off x="6705600" y="195003"/>
            <a:ext cx="5362575" cy="6053138"/>
          </a:xfrm>
          <a:prstGeom prst="rect">
            <a:avLst/>
          </a:prstGeom>
        </p:spPr>
      </p:pic>
      <p:sp>
        <p:nvSpPr>
          <p:cNvPr id="3" name="Tijdelijke aanduiding voor tekst 2">
            <a:extLst>
              <a:ext uri="{FF2B5EF4-FFF2-40B4-BE49-F238E27FC236}">
                <a16:creationId xmlns:a16="http://schemas.microsoft.com/office/drawing/2014/main" id="{1022BC2C-4FAE-88C4-D833-C194FC1D826D}"/>
              </a:ext>
            </a:extLst>
          </p:cNvPr>
          <p:cNvSpPr>
            <a:spLocks noGrp="1"/>
          </p:cNvSpPr>
          <p:nvPr>
            <p:ph type="body" sz="quarter" idx="16"/>
          </p:nvPr>
        </p:nvSpPr>
        <p:spPr>
          <a:xfrm>
            <a:off x="2350060" y="361506"/>
            <a:ext cx="4663653" cy="1102104"/>
          </a:xfrm>
        </p:spPr>
        <p:txBody>
          <a:bodyPr/>
          <a:lstStyle/>
          <a:p>
            <a:r>
              <a:rPr lang="en-GB" sz="3600" dirty="0"/>
              <a:t>Producing</a:t>
            </a:r>
            <a:br>
              <a:rPr lang="en-GB" sz="3600" dirty="0"/>
            </a:br>
            <a:r>
              <a:rPr lang="en-GB" sz="3600" dirty="0"/>
              <a:t>Country Incentives</a:t>
            </a:r>
          </a:p>
        </p:txBody>
      </p:sp>
      <p:sp>
        <p:nvSpPr>
          <p:cNvPr id="4" name="Tijdelijke aanduiding voor tekst 3">
            <a:extLst>
              <a:ext uri="{FF2B5EF4-FFF2-40B4-BE49-F238E27FC236}">
                <a16:creationId xmlns:a16="http://schemas.microsoft.com/office/drawing/2014/main" id="{93D3F08D-24AF-31FF-1904-4CC5B196F354}"/>
              </a:ext>
            </a:extLst>
          </p:cNvPr>
          <p:cNvSpPr>
            <a:spLocks noGrp="1"/>
          </p:cNvSpPr>
          <p:nvPr>
            <p:ph type="body" sz="quarter" idx="17"/>
          </p:nvPr>
        </p:nvSpPr>
        <p:spPr>
          <a:xfrm>
            <a:off x="228599" y="2045482"/>
            <a:ext cx="6052931" cy="4561576"/>
          </a:xfrm>
        </p:spPr>
        <p:txBody>
          <a:bodyPr/>
          <a:lstStyle/>
          <a:p>
            <a:pPr lvl="1"/>
            <a:r>
              <a:rPr lang="en-GB" sz="1600" b="1" dirty="0"/>
              <a:t>Higher savings, spending and investment and maximize contributions</a:t>
            </a:r>
            <a:r>
              <a:rPr lang="en-GB" sz="1600" dirty="0"/>
              <a:t> </a:t>
            </a:r>
            <a:r>
              <a:rPr lang="en-GB" sz="1600" b="1" dirty="0"/>
              <a:t>to state income</a:t>
            </a:r>
            <a:r>
              <a:rPr lang="en-GB" sz="1600" dirty="0"/>
              <a:t>, taxes, food security and overall economic development</a:t>
            </a:r>
          </a:p>
          <a:p>
            <a:pPr lvl="1"/>
            <a:r>
              <a:rPr lang="en-GB" sz="1600" b="1" dirty="0"/>
              <a:t>Lower public costs </a:t>
            </a:r>
            <a:r>
              <a:rPr lang="en-GB" sz="1600" b="1" dirty="0" err="1"/>
              <a:t>ie</a:t>
            </a:r>
            <a:r>
              <a:rPr lang="en-GB" sz="1600" b="1" dirty="0"/>
              <a:t> Reduction in cost of subsidies and other government </a:t>
            </a:r>
            <a:r>
              <a:rPr lang="en-GB" sz="1600" b="1" dirty="0" err="1"/>
              <a:t>inutrition</a:t>
            </a:r>
            <a:r>
              <a:rPr lang="en-GB" sz="1600" b="1" dirty="0"/>
              <a:t>, childhood morbidity, migration, etc.</a:t>
            </a:r>
          </a:p>
          <a:p>
            <a:pPr lvl="1"/>
            <a:r>
              <a:rPr lang="en-GB" sz="1600" dirty="0"/>
              <a:t>Higher farm investment can </a:t>
            </a:r>
            <a:r>
              <a:rPr lang="en-GB" sz="1600" b="1" dirty="0"/>
              <a:t>lead to higher production &amp; reduced supply risk</a:t>
            </a:r>
          </a:p>
          <a:p>
            <a:pPr lvl="1"/>
            <a:r>
              <a:rPr lang="en-GB" sz="1600" dirty="0"/>
              <a:t>Address other </a:t>
            </a:r>
            <a:r>
              <a:rPr lang="en-GB" sz="1600" b="1" dirty="0"/>
              <a:t>human right issues like Child </a:t>
            </a:r>
            <a:r>
              <a:rPr lang="en-GB" sz="1600" b="1" dirty="0" err="1"/>
              <a:t>labor</a:t>
            </a:r>
            <a:endParaRPr lang="en-GB" sz="1600" b="1" dirty="0"/>
          </a:p>
          <a:p>
            <a:pPr lvl="1"/>
            <a:r>
              <a:rPr lang="en-GB" sz="1600" dirty="0"/>
              <a:t>Help with environmental goals like </a:t>
            </a:r>
            <a:r>
              <a:rPr lang="en-GB" sz="1600" b="1" dirty="0"/>
              <a:t>adoption of sustainable agricultural practices and reduce</a:t>
            </a:r>
            <a:r>
              <a:rPr lang="en-GB" sz="1600" dirty="0"/>
              <a:t> undesirable coping strategies</a:t>
            </a:r>
            <a:r>
              <a:rPr lang="en-GB" sz="1600" b="1" dirty="0"/>
              <a:t> </a:t>
            </a:r>
            <a:r>
              <a:rPr lang="en-GB" sz="1600" dirty="0"/>
              <a:t>like </a:t>
            </a:r>
            <a:r>
              <a:rPr lang="en-GB" sz="1600" b="1" dirty="0"/>
              <a:t>deforestation</a:t>
            </a:r>
          </a:p>
          <a:p>
            <a:pPr lvl="1"/>
            <a:endParaRPr lang="en-GB" sz="1600" dirty="0"/>
          </a:p>
        </p:txBody>
      </p:sp>
      <p:sp>
        <p:nvSpPr>
          <p:cNvPr id="2" name="Tijdelijke aanduiding voor dianummer 1">
            <a:extLst>
              <a:ext uri="{FF2B5EF4-FFF2-40B4-BE49-F238E27FC236}">
                <a16:creationId xmlns:a16="http://schemas.microsoft.com/office/drawing/2014/main" id="{0E570C38-5A5E-61D2-6CED-8EA7823E3AED}"/>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4303E-A424-9540-91A8-53B791C91E8F}" type="slidenum">
              <a:rPr kumimoji="0" lang="en-GB" sz="1000" b="0" i="0" u="none" strike="noStrike" kern="1200" cap="none" spc="0" normalizeH="0" baseline="0" noProof="0" smtClean="0">
                <a:ln>
                  <a:noFill/>
                </a:ln>
                <a:solidFill>
                  <a:srgbClr val="00615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000" b="0" i="0" u="none" strike="noStrike" kern="1200" cap="none" spc="0" normalizeH="0" baseline="0" noProof="0">
              <a:ln>
                <a:noFill/>
              </a:ln>
              <a:solidFill>
                <a:srgbClr val="00615F"/>
              </a:solidFill>
              <a:effectLst/>
              <a:uLnTx/>
              <a:uFillTx/>
              <a:latin typeface="Arial" panose="020B0604020202020204"/>
              <a:ea typeface="+mn-ea"/>
              <a:cs typeface="+mn-cs"/>
            </a:endParaRPr>
          </a:p>
        </p:txBody>
      </p:sp>
      <p:pic>
        <p:nvPicPr>
          <p:cNvPr id="8" name="Picture 6" descr="A picture containing text&#10;&#10;Description automatically generated">
            <a:extLst>
              <a:ext uri="{FF2B5EF4-FFF2-40B4-BE49-F238E27FC236}">
                <a16:creationId xmlns:a16="http://schemas.microsoft.com/office/drawing/2014/main" id="{3357CAD6-5BA4-041B-80D2-8A1E7277C92C}"/>
              </a:ext>
            </a:extLst>
          </p:cNvPr>
          <p:cNvPicPr>
            <a:picLocks noChangeAspect="1"/>
          </p:cNvPicPr>
          <p:nvPr/>
        </p:nvPicPr>
        <p:blipFill>
          <a:blip r:embed="rId4"/>
          <a:stretch>
            <a:fillRect/>
          </a:stretch>
        </p:blipFill>
        <p:spPr>
          <a:xfrm>
            <a:off x="318052" y="278254"/>
            <a:ext cx="1829661" cy="1659460"/>
          </a:xfrm>
          <a:prstGeom prst="rect">
            <a:avLst/>
          </a:prstGeom>
        </p:spPr>
      </p:pic>
      <p:sp>
        <p:nvSpPr>
          <p:cNvPr id="5" name="TextBox 4">
            <a:extLst>
              <a:ext uri="{FF2B5EF4-FFF2-40B4-BE49-F238E27FC236}">
                <a16:creationId xmlns:a16="http://schemas.microsoft.com/office/drawing/2014/main" id="{D7776E5A-AB27-CC12-C470-27875E0E8745}"/>
              </a:ext>
            </a:extLst>
          </p:cNvPr>
          <p:cNvSpPr txBox="1"/>
          <p:nvPr/>
        </p:nvSpPr>
        <p:spPr>
          <a:xfrm>
            <a:off x="9582150" y="6119553"/>
            <a:ext cx="2609850" cy="257175"/>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600"/>
              </a:spcAft>
              <a:buClr>
                <a:srgbClr val="47D985"/>
              </a:buClr>
              <a:buSzTx/>
              <a:buFontTx/>
              <a:buNone/>
              <a:tabLst/>
              <a:defRPr/>
            </a:pPr>
            <a:r>
              <a:rPr kumimoji="0" lang="en-US" sz="1400" b="0" i="0" u="none" strike="noStrike" kern="1200" cap="none" spc="0" normalizeH="0" baseline="0" noProof="0" dirty="0">
                <a:ln>
                  <a:noFill/>
                </a:ln>
                <a:solidFill>
                  <a:srgbClr val="00615F"/>
                </a:solidFill>
                <a:effectLst/>
                <a:uLnTx/>
                <a:uFillTx/>
                <a:latin typeface="Arial" panose="020B0604020202020204"/>
                <a:ea typeface="+mn-ea"/>
                <a:cs typeface="Arial" panose="020B0604020202020204" pitchFamily="34" charset="0"/>
              </a:rPr>
              <a:t>Source: LICOP (2022)</a:t>
            </a:r>
            <a:endParaRPr kumimoji="0" lang="en-GB" sz="1400" b="0" i="0" u="none" strike="noStrike" kern="1200" cap="none" spc="0" normalizeH="0" baseline="0" noProof="0" dirty="0">
              <a:ln>
                <a:noFill/>
              </a:ln>
              <a:solidFill>
                <a:srgbClr val="00615F"/>
              </a:solidFill>
              <a:effectLst/>
              <a:uLnTx/>
              <a:uFillTx/>
              <a:latin typeface="Arial" panose="020B0604020202020204"/>
              <a:ea typeface="+mn-ea"/>
              <a:cs typeface="Arial" panose="020B0604020202020204" pitchFamily="34" charset="0"/>
            </a:endParaRPr>
          </a:p>
        </p:txBody>
      </p:sp>
    </p:spTree>
    <p:extLst>
      <p:ext uri="{BB962C8B-B14F-4D97-AF65-F5344CB8AC3E}">
        <p14:creationId xmlns:p14="http://schemas.microsoft.com/office/powerpoint/2010/main" val="298126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BF956294-8E91-8050-F303-146D98C7C6B0}"/>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4303E-A424-9540-91A8-53B791C91E8F}" type="slidenum">
              <a:rPr kumimoji="0" lang="en-GB" sz="1000" b="0" i="0" u="none" strike="noStrike" kern="1200" cap="none" spc="0" normalizeH="0" baseline="0" noProof="0" smtClean="0">
                <a:ln>
                  <a:noFill/>
                </a:ln>
                <a:solidFill>
                  <a:srgbClr val="00615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000" b="0" i="0" u="none" strike="noStrike" kern="1200" cap="none" spc="0" normalizeH="0" baseline="0" noProof="0">
              <a:ln>
                <a:noFill/>
              </a:ln>
              <a:solidFill>
                <a:srgbClr val="00615F"/>
              </a:solidFill>
              <a:effectLst/>
              <a:uLnTx/>
              <a:uFillTx/>
              <a:latin typeface="Arial" panose="020B0604020202020204"/>
              <a:ea typeface="+mn-ea"/>
              <a:cs typeface="+mn-cs"/>
            </a:endParaRPr>
          </a:p>
        </p:txBody>
      </p:sp>
      <p:sp>
        <p:nvSpPr>
          <p:cNvPr id="6" name="Titel 5">
            <a:extLst>
              <a:ext uri="{FF2B5EF4-FFF2-40B4-BE49-F238E27FC236}">
                <a16:creationId xmlns:a16="http://schemas.microsoft.com/office/drawing/2014/main" id="{ECE6E1E6-3697-D240-C654-E87440639DA3}"/>
              </a:ext>
            </a:extLst>
          </p:cNvPr>
          <p:cNvSpPr>
            <a:spLocks noGrp="1"/>
          </p:cNvSpPr>
          <p:nvPr>
            <p:ph type="title"/>
          </p:nvPr>
        </p:nvSpPr>
        <p:spPr/>
        <p:txBody>
          <a:bodyPr/>
          <a:lstStyle/>
          <a:p>
            <a:r>
              <a:rPr lang="en-GB"/>
              <a:t>Incentives for other stakeholders</a:t>
            </a:r>
          </a:p>
        </p:txBody>
      </p:sp>
      <p:sp>
        <p:nvSpPr>
          <p:cNvPr id="4" name="Tijdelijke aanduiding voor tekst 3">
            <a:extLst>
              <a:ext uri="{FF2B5EF4-FFF2-40B4-BE49-F238E27FC236}">
                <a16:creationId xmlns:a16="http://schemas.microsoft.com/office/drawing/2014/main" id="{1308112C-3E0B-ACC7-E4E1-4E8308AD7969}"/>
              </a:ext>
            </a:extLst>
          </p:cNvPr>
          <p:cNvSpPr>
            <a:spLocks noGrp="1"/>
          </p:cNvSpPr>
          <p:nvPr>
            <p:ph type="body" sz="quarter" idx="18"/>
          </p:nvPr>
        </p:nvSpPr>
        <p:spPr/>
        <p:txBody>
          <a:bodyPr/>
          <a:lstStyle/>
          <a:p>
            <a:endParaRPr lang="en-GB"/>
          </a:p>
        </p:txBody>
      </p:sp>
      <p:pic>
        <p:nvPicPr>
          <p:cNvPr id="8" name="Picture 6" descr="A picture containing text&#10;&#10;Description automatically generated">
            <a:extLst>
              <a:ext uri="{FF2B5EF4-FFF2-40B4-BE49-F238E27FC236}">
                <a16:creationId xmlns:a16="http://schemas.microsoft.com/office/drawing/2014/main" id="{9C86D861-4F71-B0FC-D80C-BD97E3C8FA8F}"/>
              </a:ext>
            </a:extLst>
          </p:cNvPr>
          <p:cNvPicPr>
            <a:picLocks noChangeAspect="1"/>
          </p:cNvPicPr>
          <p:nvPr/>
        </p:nvPicPr>
        <p:blipFill>
          <a:blip r:embed="rId3"/>
          <a:stretch>
            <a:fillRect/>
          </a:stretch>
        </p:blipFill>
        <p:spPr>
          <a:xfrm>
            <a:off x="670845" y="1828132"/>
            <a:ext cx="1154843" cy="1047416"/>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25F3484E-1306-9EF6-8953-3AF18C453577}"/>
              </a:ext>
            </a:extLst>
          </p:cNvPr>
          <p:cNvPicPr>
            <a:picLocks noChangeAspect="1"/>
          </p:cNvPicPr>
          <p:nvPr/>
        </p:nvPicPr>
        <p:blipFill>
          <a:blip r:embed="rId4"/>
          <a:stretch>
            <a:fillRect/>
          </a:stretch>
        </p:blipFill>
        <p:spPr>
          <a:xfrm>
            <a:off x="10375900" y="2729286"/>
            <a:ext cx="1145255" cy="1116623"/>
          </a:xfrm>
          <a:prstGeom prst="rect">
            <a:avLst/>
          </a:prstGeom>
        </p:spPr>
      </p:pic>
      <p:pic>
        <p:nvPicPr>
          <p:cNvPr id="10" name="Picture 7" descr="A picture containing text, clock&#10;&#10;Description automatically generated">
            <a:extLst>
              <a:ext uri="{FF2B5EF4-FFF2-40B4-BE49-F238E27FC236}">
                <a16:creationId xmlns:a16="http://schemas.microsoft.com/office/drawing/2014/main" id="{F9745488-70FA-618F-EF19-4B1F264EEDCB}"/>
              </a:ext>
            </a:extLst>
          </p:cNvPr>
          <p:cNvPicPr>
            <a:picLocks noChangeAspect="1"/>
          </p:cNvPicPr>
          <p:nvPr/>
        </p:nvPicPr>
        <p:blipFill>
          <a:blip r:embed="rId5"/>
          <a:stretch>
            <a:fillRect/>
          </a:stretch>
        </p:blipFill>
        <p:spPr>
          <a:xfrm>
            <a:off x="658813" y="3699647"/>
            <a:ext cx="1145255" cy="1130757"/>
          </a:xfrm>
          <a:prstGeom prst="rect">
            <a:avLst/>
          </a:prstGeom>
        </p:spPr>
      </p:pic>
      <p:pic>
        <p:nvPicPr>
          <p:cNvPr id="11" name="Picture 9" descr="A picture containing text&#10;&#10;Description automatically generated">
            <a:extLst>
              <a:ext uri="{FF2B5EF4-FFF2-40B4-BE49-F238E27FC236}">
                <a16:creationId xmlns:a16="http://schemas.microsoft.com/office/drawing/2014/main" id="{DD8C723F-D65A-C49E-0BC3-7B8FF05935C0}"/>
              </a:ext>
            </a:extLst>
          </p:cNvPr>
          <p:cNvPicPr>
            <a:picLocks noChangeAspect="1"/>
          </p:cNvPicPr>
          <p:nvPr/>
        </p:nvPicPr>
        <p:blipFill>
          <a:blip r:embed="rId6"/>
          <a:stretch>
            <a:fillRect/>
          </a:stretch>
        </p:blipFill>
        <p:spPr>
          <a:xfrm>
            <a:off x="10375901" y="4971260"/>
            <a:ext cx="1157287" cy="1121346"/>
          </a:xfrm>
          <a:prstGeom prst="rect">
            <a:avLst/>
          </a:prstGeom>
        </p:spPr>
      </p:pic>
      <p:sp>
        <p:nvSpPr>
          <p:cNvPr id="12" name="Tekstvak 11">
            <a:extLst>
              <a:ext uri="{FF2B5EF4-FFF2-40B4-BE49-F238E27FC236}">
                <a16:creationId xmlns:a16="http://schemas.microsoft.com/office/drawing/2014/main" id="{0DE6655F-71C6-D1D0-2839-B729122AAE0F}"/>
              </a:ext>
            </a:extLst>
          </p:cNvPr>
          <p:cNvSpPr txBox="1"/>
          <p:nvPr/>
        </p:nvSpPr>
        <p:spPr>
          <a:xfrm>
            <a:off x="2021304" y="1886496"/>
            <a:ext cx="8193507" cy="723617"/>
          </a:xfrm>
          <a:prstGeom prst="rect">
            <a:avLst/>
          </a:prstGeom>
        </p:spPr>
        <p:txBody>
          <a:bodyPr vert="horz" wrap="square" lIns="0" tIns="0" rIns="0" bIns="0" rtlCol="0" anchor="ctr">
            <a:noAutofit/>
          </a:bodyPr>
          <a:lstStyle/>
          <a:p>
            <a:pPr lvl="0">
              <a:spcAft>
                <a:spcPts val="600"/>
              </a:spcAft>
              <a:buClr>
                <a:srgbClr val="47D985"/>
              </a:buClr>
            </a:pPr>
            <a:r>
              <a:rPr kumimoji="0" lang="en-GB" sz="1600" b="1"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rPr>
              <a:t>Consuming countries </a:t>
            </a:r>
            <a:r>
              <a:rPr kumimoji="0" lang="en-GB" sz="1600" b="0"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rPr>
              <a:t>respond to </a:t>
            </a:r>
            <a:r>
              <a:rPr kumimoji="0" lang="en-GB" sz="1600" b="1"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rPr>
              <a:t>citizen pressure and seek access to affordable goods that fulfil social and environmental responsibilities</a:t>
            </a:r>
            <a:r>
              <a:rPr kumimoji="0" lang="en-GB" sz="1600" b="0"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rPr>
              <a:t>. Help </a:t>
            </a:r>
            <a:r>
              <a:rPr lang="en-GB" sz="1600" noProof="0" dirty="0">
                <a:solidFill>
                  <a:srgbClr val="00615F"/>
                </a:solidFill>
                <a:cs typeface="Arial" panose="020B0604020202020204" pitchFamily="34" charset="0"/>
              </a:rPr>
              <a:t>p</a:t>
            </a:r>
            <a:r>
              <a:rPr lang="en-GB" sz="1600" dirty="0" err="1">
                <a:solidFill>
                  <a:srgbClr val="00615F"/>
                </a:solidFill>
                <a:cs typeface="Arial" panose="020B0604020202020204" pitchFamily="34" charset="0"/>
              </a:rPr>
              <a:t>olitical</a:t>
            </a:r>
            <a:r>
              <a:rPr lang="en-GB" sz="1600" dirty="0">
                <a:solidFill>
                  <a:srgbClr val="00615F"/>
                </a:solidFill>
                <a:cs typeface="Arial" panose="020B0604020202020204" pitchFamily="34" charset="0"/>
              </a:rPr>
              <a:t> </a:t>
            </a:r>
            <a:r>
              <a:rPr lang="en-GB" sz="1600" b="1" dirty="0">
                <a:solidFill>
                  <a:srgbClr val="00615F"/>
                </a:solidFill>
                <a:cs typeface="Arial" panose="020B0604020202020204" pitchFamily="34" charset="0"/>
              </a:rPr>
              <a:t>commitment to SDGs</a:t>
            </a:r>
            <a:r>
              <a:rPr lang="en-GB" sz="1600" dirty="0">
                <a:solidFill>
                  <a:srgbClr val="00615F"/>
                </a:solidFill>
                <a:cs typeface="Arial" panose="020B0604020202020204" pitchFamily="34" charset="0"/>
              </a:rPr>
              <a:t>. </a:t>
            </a:r>
            <a:endParaRPr kumimoji="0" lang="en-GB" sz="1600" b="0"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endParaRPr>
          </a:p>
        </p:txBody>
      </p:sp>
      <p:sp>
        <p:nvSpPr>
          <p:cNvPr id="14" name="Tekstvak 13">
            <a:extLst>
              <a:ext uri="{FF2B5EF4-FFF2-40B4-BE49-F238E27FC236}">
                <a16:creationId xmlns:a16="http://schemas.microsoft.com/office/drawing/2014/main" id="{86C1AC20-8DA5-318A-1A0D-2A5A060E55AF}"/>
              </a:ext>
            </a:extLst>
          </p:cNvPr>
          <p:cNvSpPr txBox="1"/>
          <p:nvPr/>
        </p:nvSpPr>
        <p:spPr>
          <a:xfrm>
            <a:off x="2477386" y="2851050"/>
            <a:ext cx="7713361" cy="762668"/>
          </a:xfrm>
          <a:prstGeom prst="rect">
            <a:avLst/>
          </a:prstGeom>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600"/>
              </a:spcAft>
              <a:buClr>
                <a:srgbClr val="47D985"/>
              </a:buClr>
              <a:buSzTx/>
              <a:buFontTx/>
              <a:buNone/>
              <a:tabLst/>
              <a:defRPr/>
            </a:pPr>
            <a:r>
              <a:rPr kumimoji="0" lang="en-GB" sz="1600" b="0" i="0" u="none" strike="noStrike" kern="1200" cap="none" spc="0" normalizeH="0" baseline="0" noProof="0" dirty="0">
                <a:ln>
                  <a:noFill/>
                </a:ln>
                <a:solidFill>
                  <a:srgbClr val="00615F"/>
                </a:solidFill>
                <a:effectLst/>
                <a:uLnTx/>
                <a:uFillTx/>
                <a:latin typeface="Arial" panose="020B0604020202020204"/>
                <a:ea typeface="+mn-ea"/>
                <a:cs typeface="Arial" panose="020B0604020202020204" pitchFamily="34" charset="0"/>
              </a:rPr>
              <a:t>The </a:t>
            </a:r>
            <a:r>
              <a:rPr kumimoji="0" lang="en-GB" sz="1600" b="1" i="0" u="none" strike="noStrike" kern="1200" cap="none" spc="0" normalizeH="0" baseline="0" noProof="0" dirty="0">
                <a:ln>
                  <a:noFill/>
                </a:ln>
                <a:solidFill>
                  <a:srgbClr val="00615F"/>
                </a:solidFill>
                <a:effectLst/>
                <a:uLnTx/>
                <a:uFillTx/>
                <a:latin typeface="Arial" panose="020B0604020202020204"/>
                <a:ea typeface="+mn-ea"/>
                <a:cs typeface="Arial" panose="020B0604020202020204" pitchFamily="34" charset="0"/>
              </a:rPr>
              <a:t>financial sector </a:t>
            </a:r>
            <a:r>
              <a:rPr kumimoji="0" lang="en-GB" sz="1600" b="0" i="0" u="none" strike="noStrike" kern="1200" cap="none" spc="0" normalizeH="0" baseline="0" noProof="0" dirty="0">
                <a:ln>
                  <a:noFill/>
                </a:ln>
                <a:solidFill>
                  <a:srgbClr val="00615F"/>
                </a:solidFill>
                <a:effectLst/>
                <a:uLnTx/>
                <a:uFillTx/>
                <a:latin typeface="Arial" panose="020B0604020202020204"/>
                <a:ea typeface="+mn-ea"/>
                <a:cs typeface="Arial" panose="020B0604020202020204" pitchFamily="34" charset="0"/>
              </a:rPr>
              <a:t>has a unique opportunity to create a </a:t>
            </a:r>
            <a:r>
              <a:rPr kumimoji="0" lang="en-GB" sz="1600" b="1" i="0" u="none" strike="noStrike" kern="1200" cap="none" spc="0" normalizeH="0" baseline="0" noProof="0" dirty="0">
                <a:ln>
                  <a:noFill/>
                </a:ln>
                <a:solidFill>
                  <a:srgbClr val="00615F"/>
                </a:solidFill>
                <a:effectLst/>
                <a:uLnTx/>
                <a:uFillTx/>
                <a:latin typeface="Arial" panose="020B0604020202020204"/>
                <a:ea typeface="+mn-ea"/>
                <a:cs typeface="Arial" panose="020B0604020202020204" pitchFamily="34" charset="0"/>
              </a:rPr>
              <a:t>new investor class among smallholders</a:t>
            </a:r>
            <a:r>
              <a:rPr kumimoji="0" lang="en-GB" sz="1600" b="0" i="0" u="none" strike="noStrike" kern="1200" cap="none" spc="0" normalizeH="0" baseline="0" noProof="0" dirty="0">
                <a:ln>
                  <a:noFill/>
                </a:ln>
                <a:solidFill>
                  <a:srgbClr val="00615F"/>
                </a:solidFill>
                <a:effectLst/>
                <a:uLnTx/>
                <a:uFillTx/>
                <a:latin typeface="Arial" panose="020B0604020202020204"/>
                <a:ea typeface="+mn-ea"/>
                <a:cs typeface="Arial" panose="020B0604020202020204" pitchFamily="34" charset="0"/>
              </a:rPr>
              <a:t>; while </a:t>
            </a:r>
            <a:r>
              <a:rPr kumimoji="0" lang="en-GB" sz="1600" b="1" i="0" u="none" strike="noStrike" kern="1200" cap="none" spc="0" normalizeH="0" baseline="0" noProof="0" dirty="0">
                <a:ln>
                  <a:noFill/>
                </a:ln>
                <a:solidFill>
                  <a:srgbClr val="00615F"/>
                </a:solidFill>
                <a:effectLst/>
                <a:uLnTx/>
                <a:uFillTx/>
                <a:latin typeface="Arial" panose="020B0604020202020204"/>
                <a:ea typeface="+mn-ea"/>
                <a:cs typeface="Arial" panose="020B0604020202020204" pitchFamily="34" charset="0"/>
              </a:rPr>
              <a:t>investors’</a:t>
            </a:r>
            <a:r>
              <a:rPr kumimoji="0" lang="en-GB" sz="1600" b="0" i="0" u="none" strike="noStrike" kern="1200" cap="none" spc="0" normalizeH="0" baseline="0" noProof="0" dirty="0">
                <a:ln>
                  <a:noFill/>
                </a:ln>
                <a:solidFill>
                  <a:srgbClr val="00615F"/>
                </a:solidFill>
                <a:effectLst/>
                <a:uLnTx/>
                <a:uFillTx/>
                <a:latin typeface="Arial" panose="020B0604020202020204"/>
                <a:ea typeface="+mn-ea"/>
                <a:cs typeface="Arial" panose="020B0604020202020204" pitchFamily="34" charset="0"/>
              </a:rPr>
              <a:t> are </a:t>
            </a:r>
            <a:r>
              <a:rPr kumimoji="0" lang="en-GB" sz="1600" b="1" i="0" u="none" strike="noStrike" kern="1200" cap="none" spc="0" normalizeH="0" baseline="0" noProof="0" dirty="0">
                <a:ln>
                  <a:noFill/>
                </a:ln>
                <a:solidFill>
                  <a:srgbClr val="00615F"/>
                </a:solidFill>
                <a:effectLst/>
                <a:uLnTx/>
                <a:uFillTx/>
                <a:latin typeface="Arial" panose="020B0604020202020204"/>
                <a:ea typeface="+mn-ea"/>
                <a:cs typeface="Arial" panose="020B0604020202020204" pitchFamily="34" charset="0"/>
              </a:rPr>
              <a:t>seeking ESG and financial returns that actively mitigate human rights and environmental risks </a:t>
            </a:r>
            <a:r>
              <a:rPr kumimoji="0" lang="en-GB" sz="1600" b="0" i="0" u="none" strike="noStrike" kern="1200" cap="none" spc="0" normalizeH="0" baseline="0" noProof="0" dirty="0">
                <a:ln>
                  <a:noFill/>
                </a:ln>
                <a:solidFill>
                  <a:srgbClr val="00615F"/>
                </a:solidFill>
                <a:effectLst/>
                <a:uLnTx/>
                <a:uFillTx/>
                <a:latin typeface="Arial" panose="020B0604020202020204"/>
                <a:ea typeface="+mn-ea"/>
                <a:cs typeface="Arial" panose="020B0604020202020204" pitchFamily="34" charset="0"/>
              </a:rPr>
              <a:t>that attract consumers.</a:t>
            </a:r>
          </a:p>
        </p:txBody>
      </p:sp>
      <p:sp>
        <p:nvSpPr>
          <p:cNvPr id="15" name="Tekstvak 14">
            <a:extLst>
              <a:ext uri="{FF2B5EF4-FFF2-40B4-BE49-F238E27FC236}">
                <a16:creationId xmlns:a16="http://schemas.microsoft.com/office/drawing/2014/main" id="{54BCA8E3-22FF-3ACE-512F-0B28EA6043C6}"/>
              </a:ext>
            </a:extLst>
          </p:cNvPr>
          <p:cNvSpPr txBox="1"/>
          <p:nvPr/>
        </p:nvSpPr>
        <p:spPr>
          <a:xfrm>
            <a:off x="2021304" y="3929491"/>
            <a:ext cx="7154594" cy="723617"/>
          </a:xfrm>
          <a:prstGeom prst="rect">
            <a:avLst/>
          </a:prstGeom>
        </p:spPr>
        <p:txBody>
          <a:bodyPr vert="horz" wrap="square" lIns="0" tIns="0" rIns="0" bIns="0" rtlCol="0" anchor="ctr">
            <a:noAutofit/>
          </a:bodyPr>
          <a:lstStyle/>
          <a:p>
            <a:pPr lvl="0">
              <a:spcAft>
                <a:spcPts val="600"/>
              </a:spcAft>
              <a:buClr>
                <a:srgbClr val="47D985"/>
              </a:buClr>
            </a:pPr>
            <a:r>
              <a:rPr kumimoji="0" lang="en-GB" sz="1600" b="1"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rPr>
              <a:t>NGOs </a:t>
            </a:r>
            <a:r>
              <a:rPr kumimoji="0" lang="en-GB" sz="1600"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rPr>
              <a:t>can</a:t>
            </a:r>
            <a:r>
              <a:rPr kumimoji="0" lang="en-GB" sz="1600" b="1"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rPr>
              <a:t> </a:t>
            </a:r>
            <a:r>
              <a:rPr lang="en-GB" sz="1600" b="1" dirty="0">
                <a:solidFill>
                  <a:srgbClr val="00615F"/>
                </a:solidFill>
                <a:cs typeface="Arial" panose="020B0604020202020204" pitchFamily="34" charset="0"/>
              </a:rPr>
              <a:t>deliver better on sustainability and human rights goals</a:t>
            </a:r>
            <a:r>
              <a:rPr lang="en-GB" sz="1600" b="1" dirty="0">
                <a:solidFill>
                  <a:srgbClr val="00615F"/>
                </a:solidFill>
                <a:latin typeface="Arial" panose="020B0604020202020204"/>
                <a:cs typeface="Arial" panose="020B0604020202020204" pitchFamily="34" charset="0"/>
              </a:rPr>
              <a:t> </a:t>
            </a:r>
            <a:r>
              <a:rPr lang="en-GB" sz="1600" dirty="0">
                <a:solidFill>
                  <a:srgbClr val="00615F"/>
                </a:solidFill>
                <a:latin typeface="Arial" panose="020B0604020202020204"/>
                <a:cs typeface="Arial" panose="020B0604020202020204" pitchFamily="34" charset="0"/>
              </a:rPr>
              <a:t>while also</a:t>
            </a:r>
            <a:r>
              <a:rPr lang="en-GB" sz="1600" b="1" dirty="0">
                <a:solidFill>
                  <a:srgbClr val="00615F"/>
                </a:solidFill>
                <a:latin typeface="Arial" panose="020B0604020202020204"/>
                <a:cs typeface="Arial" panose="020B0604020202020204" pitchFamily="34" charset="0"/>
              </a:rPr>
              <a:t> </a:t>
            </a:r>
            <a:r>
              <a:rPr kumimoji="0" lang="en-GB" sz="1600" b="1"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rPr>
              <a:t>advocate, educate and influence decision-makers </a:t>
            </a:r>
            <a:r>
              <a:rPr kumimoji="0" lang="en-GB" sz="1600" b="0"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rPr>
              <a:t>at macro and micro levels about their </a:t>
            </a:r>
            <a:r>
              <a:rPr kumimoji="0" lang="en-GB" sz="1600"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rPr>
              <a:t>policies, investments and purchasing decisions </a:t>
            </a:r>
            <a:r>
              <a:rPr kumimoji="0" lang="en-GB" sz="1600" b="0"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rPr>
              <a:t>to.</a:t>
            </a:r>
          </a:p>
        </p:txBody>
      </p:sp>
      <p:sp>
        <p:nvSpPr>
          <p:cNvPr id="16" name="Tekstvak 15">
            <a:extLst>
              <a:ext uri="{FF2B5EF4-FFF2-40B4-BE49-F238E27FC236}">
                <a16:creationId xmlns:a16="http://schemas.microsoft.com/office/drawing/2014/main" id="{77B4A02D-5265-E310-4521-81B034AFCD10}"/>
              </a:ext>
            </a:extLst>
          </p:cNvPr>
          <p:cNvSpPr txBox="1"/>
          <p:nvPr/>
        </p:nvSpPr>
        <p:spPr>
          <a:xfrm>
            <a:off x="4848447" y="5141818"/>
            <a:ext cx="5342300" cy="762668"/>
          </a:xfrm>
          <a:prstGeom prst="rect">
            <a:avLst/>
          </a:prstGeom>
        </p:spPr>
        <p:txBody>
          <a:bodyPr vert="horz" wrap="square" lIns="0" tIns="0" rIns="0" bIns="0" rtlCol="0" anchor="ctr">
            <a:noAutofit/>
          </a:bodyPr>
          <a:lstStyle/>
          <a:p>
            <a:pPr lvl="0" algn="r">
              <a:spcAft>
                <a:spcPts val="600"/>
              </a:spcAft>
              <a:buClr>
                <a:srgbClr val="47D985"/>
              </a:buClr>
            </a:pPr>
            <a:r>
              <a:rPr kumimoji="0" lang="en-GB" sz="1600" b="1"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rPr>
              <a:t>Producer groups can </a:t>
            </a:r>
            <a:r>
              <a:rPr lang="en-GB" sz="1600" b="1" dirty="0">
                <a:solidFill>
                  <a:srgbClr val="00615F"/>
                </a:solidFill>
                <a:cs typeface="Arial" panose="020B0604020202020204" pitchFamily="34" charset="0"/>
              </a:rPr>
              <a:t>retain and grow membership by serving member needs better </a:t>
            </a:r>
            <a:r>
              <a:rPr lang="en-GB" sz="1600" dirty="0">
                <a:solidFill>
                  <a:srgbClr val="00615F"/>
                </a:solidFill>
                <a:cs typeface="Arial" panose="020B0604020202020204" pitchFamily="34" charset="0"/>
              </a:rPr>
              <a:t>as they are </a:t>
            </a:r>
            <a:r>
              <a:rPr kumimoji="0" lang="en-GB" sz="1600" b="0" i="0" u="none" strike="noStrike" kern="1200" cap="none" spc="0" normalizeH="0" baseline="0" noProof="0" dirty="0">
                <a:ln>
                  <a:noFill/>
                </a:ln>
                <a:solidFill>
                  <a:srgbClr val="00615F"/>
                </a:solidFill>
                <a:effectLst/>
                <a:uLnTx/>
                <a:uFillTx/>
                <a:latin typeface="Arial" panose="020B0604020202020204"/>
                <a:cs typeface="Arial" panose="020B0604020202020204" pitchFamily="34" charset="0"/>
              </a:rPr>
              <a:t>critical link to markets and services for their members; </a:t>
            </a:r>
          </a:p>
        </p:txBody>
      </p:sp>
      <p:grpSp>
        <p:nvGrpSpPr>
          <p:cNvPr id="19" name="Groep 18">
            <a:extLst>
              <a:ext uri="{FF2B5EF4-FFF2-40B4-BE49-F238E27FC236}">
                <a16:creationId xmlns:a16="http://schemas.microsoft.com/office/drawing/2014/main" id="{B3103A2D-B0F8-6834-1A22-19A34C710E68}"/>
              </a:ext>
            </a:extLst>
          </p:cNvPr>
          <p:cNvGrpSpPr/>
          <p:nvPr/>
        </p:nvGrpSpPr>
        <p:grpSpPr>
          <a:xfrm>
            <a:off x="9428463" y="529784"/>
            <a:ext cx="2161958" cy="1074151"/>
            <a:chOff x="10030042" y="0"/>
            <a:chExt cx="2161958" cy="1074151"/>
          </a:xfrm>
        </p:grpSpPr>
        <p:pic>
          <p:nvPicPr>
            <p:cNvPr id="17" name="Picture 10">
              <a:extLst>
                <a:ext uri="{FF2B5EF4-FFF2-40B4-BE49-F238E27FC236}">
                  <a16:creationId xmlns:a16="http://schemas.microsoft.com/office/drawing/2014/main" id="{B57D7393-6E55-35A3-BFF7-5E62DB0187D3}"/>
                </a:ext>
              </a:extLst>
            </p:cNvPr>
            <p:cNvPicPr>
              <a:picLocks noChangeAspect="1"/>
            </p:cNvPicPr>
            <p:nvPr/>
          </p:nvPicPr>
          <p:blipFill rotWithShape="1">
            <a:blip r:embed="rId7"/>
            <a:srcRect l="15000" t="56944" r="60860" b="32500"/>
            <a:stretch/>
          </p:blipFill>
          <p:spPr>
            <a:xfrm>
              <a:off x="10030042" y="542401"/>
              <a:ext cx="2161958" cy="531750"/>
            </a:xfrm>
            <a:prstGeom prst="rect">
              <a:avLst/>
            </a:prstGeom>
          </p:spPr>
        </p:pic>
        <p:pic>
          <p:nvPicPr>
            <p:cNvPr id="18" name="Picture 11">
              <a:extLst>
                <a:ext uri="{FF2B5EF4-FFF2-40B4-BE49-F238E27FC236}">
                  <a16:creationId xmlns:a16="http://schemas.microsoft.com/office/drawing/2014/main" id="{C1DCB9C6-893E-AB6B-2A8C-3D86C3049C1C}"/>
                </a:ext>
              </a:extLst>
            </p:cNvPr>
            <p:cNvPicPr>
              <a:picLocks noChangeAspect="1"/>
            </p:cNvPicPr>
            <p:nvPr/>
          </p:nvPicPr>
          <p:blipFill rotWithShape="1">
            <a:blip r:embed="rId7"/>
            <a:srcRect l="15000" t="45625" r="60860" b="43820"/>
            <a:stretch/>
          </p:blipFill>
          <p:spPr>
            <a:xfrm>
              <a:off x="10030042" y="0"/>
              <a:ext cx="2161958" cy="531749"/>
            </a:xfrm>
            <a:prstGeom prst="rect">
              <a:avLst/>
            </a:prstGeom>
          </p:spPr>
        </p:pic>
      </p:grpSp>
    </p:spTree>
    <p:extLst>
      <p:ext uri="{BB962C8B-B14F-4D97-AF65-F5344CB8AC3E}">
        <p14:creationId xmlns:p14="http://schemas.microsoft.com/office/powerpoint/2010/main" val="2111376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A1B526-EF39-A927-BF8B-A7816E8FD2E1}"/>
              </a:ext>
            </a:extLst>
          </p:cNvPr>
          <p:cNvSpPr>
            <a:spLocks noGrp="1"/>
          </p:cNvSpPr>
          <p:nvPr>
            <p:ph type="title"/>
          </p:nvPr>
        </p:nvSpPr>
        <p:spPr>
          <a:xfrm>
            <a:off x="6096000" y="2537618"/>
            <a:ext cx="4651513" cy="1279525"/>
          </a:xfrm>
        </p:spPr>
        <p:txBody>
          <a:bodyPr>
            <a:noAutofit/>
          </a:bodyPr>
          <a:lstStyle/>
          <a:p>
            <a:pPr>
              <a:lnSpc>
                <a:spcPct val="100000"/>
              </a:lnSpc>
              <a:spcBef>
                <a:spcPts val="600"/>
              </a:spcBef>
              <a:spcAft>
                <a:spcPts val="600"/>
              </a:spcAft>
            </a:pPr>
            <a:r>
              <a:rPr lang="en-US" sz="4800" dirty="0"/>
              <a:t>Applied Learnings</a:t>
            </a:r>
            <a:endParaRPr lang="en-GB" sz="4800" dirty="0"/>
          </a:p>
        </p:txBody>
      </p:sp>
      <p:sp>
        <p:nvSpPr>
          <p:cNvPr id="3" name="Text Placeholder 2">
            <a:extLst>
              <a:ext uri="{FF2B5EF4-FFF2-40B4-BE49-F238E27FC236}">
                <a16:creationId xmlns:a16="http://schemas.microsoft.com/office/drawing/2014/main" id="{2F03C0CD-96B2-4DDF-7CBC-5A72B8B87CBF}"/>
              </a:ext>
            </a:extLst>
          </p:cNvPr>
          <p:cNvSpPr>
            <a:spLocks noGrp="1"/>
          </p:cNvSpPr>
          <p:nvPr>
            <p:ph type="body" sz="quarter" idx="10"/>
          </p:nvPr>
        </p:nvSpPr>
        <p:spPr/>
        <p:txBody>
          <a:bodyPr/>
          <a:lstStyle/>
          <a:p>
            <a:r>
              <a:rPr lang="en-US" dirty="0"/>
              <a:t>4</a:t>
            </a:r>
            <a:endParaRPr lang="en-GB" dirty="0"/>
          </a:p>
        </p:txBody>
      </p:sp>
    </p:spTree>
    <p:extLst>
      <p:ext uri="{BB962C8B-B14F-4D97-AF65-F5344CB8AC3E}">
        <p14:creationId xmlns:p14="http://schemas.microsoft.com/office/powerpoint/2010/main" val="405363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descr="Diagram&#10;&#10;Description automatically generated with medium confidence">
            <a:extLst>
              <a:ext uri="{FF2B5EF4-FFF2-40B4-BE49-F238E27FC236}">
                <a16:creationId xmlns:a16="http://schemas.microsoft.com/office/drawing/2014/main" id="{9D3AFD07-F4CD-6DD5-2A75-05DE4A8660D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950" t="32736" r="11779" b="22934"/>
          <a:stretch/>
        </p:blipFill>
        <p:spPr>
          <a:xfrm>
            <a:off x="1371600" y="1536282"/>
            <a:ext cx="9003449" cy="4273968"/>
          </a:xfrm>
          <a:prstGeom prst="rect">
            <a:avLst/>
          </a:prstGeom>
        </p:spPr>
      </p:pic>
      <p:sp>
        <p:nvSpPr>
          <p:cNvPr id="3" name="Titel 2">
            <a:extLst>
              <a:ext uri="{FF2B5EF4-FFF2-40B4-BE49-F238E27FC236}">
                <a16:creationId xmlns:a16="http://schemas.microsoft.com/office/drawing/2014/main" id="{75881D88-C87B-0A6D-1305-0283A84D0E9D}"/>
              </a:ext>
            </a:extLst>
          </p:cNvPr>
          <p:cNvSpPr>
            <a:spLocks noGrp="1"/>
          </p:cNvSpPr>
          <p:nvPr>
            <p:ph type="title"/>
          </p:nvPr>
        </p:nvSpPr>
        <p:spPr/>
        <p:txBody>
          <a:bodyPr/>
          <a:lstStyle/>
          <a:p>
            <a:r>
              <a:rPr lang="en-GB" dirty="0"/>
              <a:t>Insight 1: Household income is often diversified</a:t>
            </a:r>
          </a:p>
        </p:txBody>
      </p:sp>
      <p:sp>
        <p:nvSpPr>
          <p:cNvPr id="9" name="Text Placeholder 8">
            <a:extLst>
              <a:ext uri="{FF2B5EF4-FFF2-40B4-BE49-F238E27FC236}">
                <a16:creationId xmlns:a16="http://schemas.microsoft.com/office/drawing/2014/main" id="{A4752C1D-465D-A695-FD70-F2EB42C3D454}"/>
              </a:ext>
            </a:extLst>
          </p:cNvPr>
          <p:cNvSpPr>
            <a:spLocks noGrp="1"/>
          </p:cNvSpPr>
          <p:nvPr>
            <p:ph type="body" sz="quarter" idx="18"/>
          </p:nvPr>
        </p:nvSpPr>
        <p:spPr/>
        <p:txBody>
          <a:bodyPr/>
          <a:lstStyle/>
          <a:p>
            <a:endParaRPr lang="en-GB" dirty="0"/>
          </a:p>
        </p:txBody>
      </p:sp>
    </p:spTree>
    <p:extLst>
      <p:ext uri="{BB962C8B-B14F-4D97-AF65-F5344CB8AC3E}">
        <p14:creationId xmlns:p14="http://schemas.microsoft.com/office/powerpoint/2010/main" val="193011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hthoek 37">
            <a:extLst>
              <a:ext uri="{FF2B5EF4-FFF2-40B4-BE49-F238E27FC236}">
                <a16:creationId xmlns:a16="http://schemas.microsoft.com/office/drawing/2014/main" id="{B977CBE8-B8FA-C002-0D0E-625068DC0D61}"/>
              </a:ext>
            </a:extLst>
          </p:cNvPr>
          <p:cNvSpPr/>
          <p:nvPr/>
        </p:nvSpPr>
        <p:spPr>
          <a:xfrm>
            <a:off x="0" y="5464214"/>
            <a:ext cx="12192000" cy="107950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srgbClr val="00615F"/>
              </a:solidFill>
              <a:effectLst/>
              <a:uLnTx/>
              <a:uFillTx/>
              <a:latin typeface="Arial" panose="020B0604020202020204"/>
              <a:ea typeface="+mn-ea"/>
              <a:cs typeface="+mn-cs"/>
            </a:endParaRPr>
          </a:p>
        </p:txBody>
      </p:sp>
      <p:sp>
        <p:nvSpPr>
          <p:cNvPr id="2" name="Tijdelijke aanduiding voor dianummer 1">
            <a:extLst>
              <a:ext uri="{FF2B5EF4-FFF2-40B4-BE49-F238E27FC236}">
                <a16:creationId xmlns:a16="http://schemas.microsoft.com/office/drawing/2014/main" id="{BF7290F3-5D9A-C69B-7950-1E303B1481F5}"/>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4303E-A424-9540-91A8-53B791C91E8F}" type="slidenum">
              <a:rPr kumimoji="0" lang="en-GB" sz="1000" b="0" i="0" u="none" strike="noStrike" kern="1200" cap="none" spc="0" normalizeH="0" baseline="0" noProof="0" smtClean="0">
                <a:ln>
                  <a:noFill/>
                </a:ln>
                <a:solidFill>
                  <a:srgbClr val="00615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000" b="0" i="0" u="none" strike="noStrike" kern="1200" cap="none" spc="0" normalizeH="0" baseline="0" noProof="0" dirty="0">
              <a:ln>
                <a:noFill/>
              </a:ln>
              <a:solidFill>
                <a:srgbClr val="00615F"/>
              </a:solidFill>
              <a:effectLst/>
              <a:uLnTx/>
              <a:uFillTx/>
              <a:latin typeface="Arial" panose="020B0604020202020204"/>
              <a:ea typeface="+mn-ea"/>
              <a:cs typeface="+mn-cs"/>
            </a:endParaRPr>
          </a:p>
        </p:txBody>
      </p:sp>
      <p:sp>
        <p:nvSpPr>
          <p:cNvPr id="3" name="Titel 2">
            <a:extLst>
              <a:ext uri="{FF2B5EF4-FFF2-40B4-BE49-F238E27FC236}">
                <a16:creationId xmlns:a16="http://schemas.microsoft.com/office/drawing/2014/main" id="{75881D88-C87B-0A6D-1305-0283A84D0E9D}"/>
              </a:ext>
            </a:extLst>
          </p:cNvPr>
          <p:cNvSpPr>
            <a:spLocks noGrp="1"/>
          </p:cNvSpPr>
          <p:nvPr>
            <p:ph type="title"/>
          </p:nvPr>
        </p:nvSpPr>
        <p:spPr>
          <a:xfrm>
            <a:off x="658812" y="462803"/>
            <a:ext cx="10161586" cy="428920"/>
          </a:xfrm>
        </p:spPr>
        <p:txBody>
          <a:bodyPr/>
          <a:lstStyle/>
          <a:p>
            <a:r>
              <a:rPr lang="en-GB" sz="3400" dirty="0"/>
              <a:t>Moving towards Living Income</a:t>
            </a:r>
          </a:p>
        </p:txBody>
      </p:sp>
      <p:sp>
        <p:nvSpPr>
          <p:cNvPr id="8" name="Tijdelijke aanduiding voor tekst 7">
            <a:extLst>
              <a:ext uri="{FF2B5EF4-FFF2-40B4-BE49-F238E27FC236}">
                <a16:creationId xmlns:a16="http://schemas.microsoft.com/office/drawing/2014/main" id="{749FEE77-29D0-C4F5-D975-943FE3024062}"/>
              </a:ext>
            </a:extLst>
          </p:cNvPr>
          <p:cNvSpPr>
            <a:spLocks noGrp="1"/>
          </p:cNvSpPr>
          <p:nvPr>
            <p:ph type="body" sz="quarter" idx="18"/>
          </p:nvPr>
        </p:nvSpPr>
        <p:spPr>
          <a:xfrm>
            <a:off x="673151" y="923786"/>
            <a:ext cx="10147247" cy="411162"/>
          </a:xfrm>
        </p:spPr>
        <p:txBody>
          <a:bodyPr/>
          <a:lstStyle/>
          <a:p>
            <a:r>
              <a:rPr lang="en-US" dirty="0"/>
              <a:t>N</a:t>
            </a:r>
            <a:r>
              <a:rPr lang="en-GB" dirty="0" err="1"/>
              <a:t>eed</a:t>
            </a:r>
            <a:r>
              <a:rPr lang="en-GB" dirty="0"/>
              <a:t> a different approach beyond farmer and focus crop to close LI gaps</a:t>
            </a:r>
          </a:p>
        </p:txBody>
      </p:sp>
      <p:sp>
        <p:nvSpPr>
          <p:cNvPr id="4" name="Rechthoek: afgeronde hoeken 3">
            <a:extLst>
              <a:ext uri="{FF2B5EF4-FFF2-40B4-BE49-F238E27FC236}">
                <a16:creationId xmlns:a16="http://schemas.microsoft.com/office/drawing/2014/main" id="{A170F4A7-C63B-39DF-B162-789713F014CF}"/>
              </a:ext>
            </a:extLst>
          </p:cNvPr>
          <p:cNvSpPr/>
          <p:nvPr/>
        </p:nvSpPr>
        <p:spPr>
          <a:xfrm>
            <a:off x="658812" y="2405838"/>
            <a:ext cx="5113337" cy="3399650"/>
          </a:xfrm>
          <a:prstGeom prst="roundRect">
            <a:avLst>
              <a:gd name="adj" fmla="val 4841"/>
            </a:avLst>
          </a:prstGeom>
          <a:solidFill>
            <a:schemeClr val="bg1"/>
          </a:solidFill>
          <a:ln>
            <a:solidFill>
              <a:schemeClr val="accent2"/>
            </a:solidFill>
          </a:ln>
          <a:effectLst>
            <a:outerShdw blurRad="254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srgbClr val="00615F"/>
              </a:solidFill>
              <a:effectLst/>
              <a:uLnTx/>
              <a:uFillTx/>
              <a:latin typeface="Arial" panose="020B0604020202020204"/>
              <a:ea typeface="+mn-ea"/>
              <a:cs typeface="+mn-cs"/>
            </a:endParaRPr>
          </a:p>
        </p:txBody>
      </p:sp>
      <p:sp>
        <p:nvSpPr>
          <p:cNvPr id="5" name="Rechthoek: afgeronde hoeken 4">
            <a:extLst>
              <a:ext uri="{FF2B5EF4-FFF2-40B4-BE49-F238E27FC236}">
                <a16:creationId xmlns:a16="http://schemas.microsoft.com/office/drawing/2014/main" id="{56CA4B94-5F33-597F-DE6E-5E969C90D6C4}"/>
              </a:ext>
            </a:extLst>
          </p:cNvPr>
          <p:cNvSpPr/>
          <p:nvPr/>
        </p:nvSpPr>
        <p:spPr>
          <a:xfrm>
            <a:off x="658812" y="1828800"/>
            <a:ext cx="5113337" cy="450376"/>
          </a:xfrm>
          <a:prstGeom prst="roundRect">
            <a:avLst>
              <a:gd name="adj" fmla="val 6802"/>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all" spc="0" normalizeH="0" baseline="0" noProof="0" dirty="0">
                <a:ln>
                  <a:noFill/>
                </a:ln>
                <a:solidFill>
                  <a:srgbClr val="00615F"/>
                </a:solidFill>
                <a:effectLst/>
                <a:uLnTx/>
                <a:uFillTx/>
                <a:latin typeface="Arial" panose="020B0604020202020204"/>
                <a:ea typeface="+mn-ea"/>
                <a:cs typeface="+mn-cs"/>
              </a:rPr>
              <a:t>Farm production focus</a:t>
            </a:r>
          </a:p>
        </p:txBody>
      </p:sp>
      <p:sp>
        <p:nvSpPr>
          <p:cNvPr id="12" name="Rechthoek: afgeronde hoeken 11">
            <a:extLst>
              <a:ext uri="{FF2B5EF4-FFF2-40B4-BE49-F238E27FC236}">
                <a16:creationId xmlns:a16="http://schemas.microsoft.com/office/drawing/2014/main" id="{D88015B3-F816-D6DC-9774-1AF2202F143C}"/>
              </a:ext>
            </a:extLst>
          </p:cNvPr>
          <p:cNvSpPr/>
          <p:nvPr/>
        </p:nvSpPr>
        <p:spPr>
          <a:xfrm>
            <a:off x="6419853" y="1828800"/>
            <a:ext cx="5113337" cy="450376"/>
          </a:xfrm>
          <a:prstGeom prst="roundRect">
            <a:avLst>
              <a:gd name="adj" fmla="val 6802"/>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all" spc="0" normalizeH="0" baseline="0" noProof="0" dirty="0">
                <a:ln>
                  <a:noFill/>
                </a:ln>
                <a:solidFill>
                  <a:srgbClr val="00615F"/>
                </a:solidFill>
                <a:effectLst/>
                <a:uLnTx/>
                <a:uFillTx/>
                <a:latin typeface="Arial" panose="020B0604020202020204"/>
                <a:ea typeface="+mn-ea"/>
                <a:cs typeface="+mn-cs"/>
              </a:rPr>
              <a:t>Living Income </a:t>
            </a:r>
          </a:p>
        </p:txBody>
      </p:sp>
      <p:sp>
        <p:nvSpPr>
          <p:cNvPr id="13" name="Rechthoek: afgeronde hoeken 12">
            <a:extLst>
              <a:ext uri="{FF2B5EF4-FFF2-40B4-BE49-F238E27FC236}">
                <a16:creationId xmlns:a16="http://schemas.microsoft.com/office/drawing/2014/main" id="{9F69FDF9-3EAA-6094-631A-7F6DA00E50DF}"/>
              </a:ext>
            </a:extLst>
          </p:cNvPr>
          <p:cNvSpPr/>
          <p:nvPr/>
        </p:nvSpPr>
        <p:spPr>
          <a:xfrm>
            <a:off x="6419853" y="2405838"/>
            <a:ext cx="5113337" cy="3399650"/>
          </a:xfrm>
          <a:prstGeom prst="roundRect">
            <a:avLst>
              <a:gd name="adj" fmla="val 4841"/>
            </a:avLst>
          </a:prstGeom>
          <a:solidFill>
            <a:schemeClr val="bg1"/>
          </a:solidFill>
          <a:ln>
            <a:solidFill>
              <a:schemeClr val="accent2"/>
            </a:solidFill>
          </a:ln>
          <a:effectLst>
            <a:outerShdw blurRad="254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srgbClr val="00615F"/>
              </a:solidFill>
              <a:effectLst/>
              <a:uLnTx/>
              <a:uFillTx/>
              <a:latin typeface="Arial" panose="020B0604020202020204"/>
              <a:ea typeface="+mn-ea"/>
              <a:cs typeface="+mn-cs"/>
            </a:endParaRPr>
          </a:p>
        </p:txBody>
      </p:sp>
      <p:grpSp>
        <p:nvGrpSpPr>
          <p:cNvPr id="14" name="Group 34">
            <a:extLst>
              <a:ext uri="{FF2B5EF4-FFF2-40B4-BE49-F238E27FC236}">
                <a16:creationId xmlns:a16="http://schemas.microsoft.com/office/drawing/2014/main" id="{99678F2C-8CDE-82D3-E969-3A0F2735C568}"/>
              </a:ext>
            </a:extLst>
          </p:cNvPr>
          <p:cNvGrpSpPr/>
          <p:nvPr/>
        </p:nvGrpSpPr>
        <p:grpSpPr>
          <a:xfrm>
            <a:off x="1574681" y="2677960"/>
            <a:ext cx="3281599" cy="2855407"/>
            <a:chOff x="6166602" y="2225292"/>
            <a:chExt cx="4466863" cy="3886736"/>
          </a:xfrm>
        </p:grpSpPr>
        <p:grpSp>
          <p:nvGrpSpPr>
            <p:cNvPr id="15" name="Group 35">
              <a:extLst>
                <a:ext uri="{FF2B5EF4-FFF2-40B4-BE49-F238E27FC236}">
                  <a16:creationId xmlns:a16="http://schemas.microsoft.com/office/drawing/2014/main" id="{23F5D96E-67CB-D9AD-5B28-AEA65E7662D3}"/>
                </a:ext>
              </a:extLst>
            </p:cNvPr>
            <p:cNvGrpSpPr/>
            <p:nvPr/>
          </p:nvGrpSpPr>
          <p:grpSpPr>
            <a:xfrm rot="5400000">
              <a:off x="7363756" y="2232065"/>
              <a:ext cx="3268680" cy="3270738"/>
              <a:chOff x="4199283" y="1609984"/>
              <a:chExt cx="3268680" cy="3270738"/>
            </a:xfrm>
          </p:grpSpPr>
          <p:sp>
            <p:nvSpPr>
              <p:cNvPr id="29" name="Rectangle 49">
                <a:extLst>
                  <a:ext uri="{FF2B5EF4-FFF2-40B4-BE49-F238E27FC236}">
                    <a16:creationId xmlns:a16="http://schemas.microsoft.com/office/drawing/2014/main" id="{D94EE9C9-FD26-19C9-8331-E36CD61648CD}"/>
                  </a:ext>
                </a:extLst>
              </p:cNvPr>
              <p:cNvSpPr/>
              <p:nvPr/>
            </p:nvSpPr>
            <p:spPr>
              <a:xfrm rot="16200000">
                <a:off x="4199284" y="3790474"/>
                <a:ext cx="1090247" cy="1090248"/>
              </a:xfrm>
              <a:prstGeom prst="rect">
                <a:avLst/>
              </a:prstGeom>
              <a:solidFill>
                <a:schemeClr val="bg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30" name="Rectangle 50">
                <a:extLst>
                  <a:ext uri="{FF2B5EF4-FFF2-40B4-BE49-F238E27FC236}">
                    <a16:creationId xmlns:a16="http://schemas.microsoft.com/office/drawing/2014/main" id="{67A7E99A-2055-598E-81A0-6F739862191B}"/>
                  </a:ext>
                </a:extLst>
              </p:cNvPr>
              <p:cNvSpPr/>
              <p:nvPr/>
            </p:nvSpPr>
            <p:spPr>
              <a:xfrm rot="16200000">
                <a:off x="4199282" y="2700229"/>
                <a:ext cx="1090247" cy="1090246"/>
              </a:xfrm>
              <a:prstGeom prst="rect">
                <a:avLst/>
              </a:prstGeom>
              <a:solidFill>
                <a:schemeClr val="bg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1" name="Rectangle 51">
                <a:extLst>
                  <a:ext uri="{FF2B5EF4-FFF2-40B4-BE49-F238E27FC236}">
                    <a16:creationId xmlns:a16="http://schemas.microsoft.com/office/drawing/2014/main" id="{8FC99452-C711-3942-D97D-14CC7C7DA16A}"/>
                  </a:ext>
                </a:extLst>
              </p:cNvPr>
              <p:cNvSpPr/>
              <p:nvPr/>
            </p:nvSpPr>
            <p:spPr>
              <a:xfrm rot="16200000">
                <a:off x="4199282" y="1609987"/>
                <a:ext cx="1090247" cy="1090246"/>
              </a:xfrm>
              <a:prstGeom prst="rect">
                <a:avLst/>
              </a:prstGeom>
              <a:solidFill>
                <a:schemeClr val="bg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2" name="Rectangle 52">
                <a:extLst>
                  <a:ext uri="{FF2B5EF4-FFF2-40B4-BE49-F238E27FC236}">
                    <a16:creationId xmlns:a16="http://schemas.microsoft.com/office/drawing/2014/main" id="{59E16EA1-1B8B-91D1-0B88-2CC5D7A37EE7}"/>
                  </a:ext>
                </a:extLst>
              </p:cNvPr>
              <p:cNvSpPr/>
              <p:nvPr/>
            </p:nvSpPr>
            <p:spPr>
              <a:xfrm rot="16200000">
                <a:off x="5286128" y="3790475"/>
                <a:ext cx="1090247" cy="1090248"/>
              </a:xfrm>
              <a:prstGeom prst="rect">
                <a:avLst/>
              </a:prstGeom>
              <a:solidFill>
                <a:schemeClr val="accent1">
                  <a:lumMod val="90000"/>
                  <a:lumOff val="10000"/>
                </a:schemeClr>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3" name="Rectangle 53">
                <a:extLst>
                  <a:ext uri="{FF2B5EF4-FFF2-40B4-BE49-F238E27FC236}">
                    <a16:creationId xmlns:a16="http://schemas.microsoft.com/office/drawing/2014/main" id="{7BF35D56-7E6B-74FC-2995-633A685DD74A}"/>
                  </a:ext>
                </a:extLst>
              </p:cNvPr>
              <p:cNvSpPr/>
              <p:nvPr/>
            </p:nvSpPr>
            <p:spPr>
              <a:xfrm rot="16200000">
                <a:off x="5286127" y="2700229"/>
                <a:ext cx="1090247" cy="1090246"/>
              </a:xfrm>
              <a:prstGeom prst="rect">
                <a:avLst/>
              </a:prstGeom>
              <a:solidFill>
                <a:schemeClr val="accent1">
                  <a:lumMod val="75000"/>
                  <a:lumOff val="25000"/>
                </a:schemeClr>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4" name="Rectangle 54">
                <a:extLst>
                  <a:ext uri="{FF2B5EF4-FFF2-40B4-BE49-F238E27FC236}">
                    <a16:creationId xmlns:a16="http://schemas.microsoft.com/office/drawing/2014/main" id="{F0F9C874-B3D4-FB38-FD94-19C32C448451}"/>
                  </a:ext>
                </a:extLst>
              </p:cNvPr>
              <p:cNvSpPr/>
              <p:nvPr/>
            </p:nvSpPr>
            <p:spPr>
              <a:xfrm rot="16200000">
                <a:off x="5286128" y="1609986"/>
                <a:ext cx="1090247" cy="1090247"/>
              </a:xfrm>
              <a:prstGeom prst="rect">
                <a:avLst/>
              </a:prstGeom>
              <a:solidFill>
                <a:schemeClr val="bg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5" name="Rectangle 55">
                <a:extLst>
                  <a:ext uri="{FF2B5EF4-FFF2-40B4-BE49-F238E27FC236}">
                    <a16:creationId xmlns:a16="http://schemas.microsoft.com/office/drawing/2014/main" id="{7EED457B-F48B-B02F-051B-C842B48B2DA5}"/>
                  </a:ext>
                </a:extLst>
              </p:cNvPr>
              <p:cNvSpPr/>
              <p:nvPr/>
            </p:nvSpPr>
            <p:spPr>
              <a:xfrm rot="16200000">
                <a:off x="6377715" y="3790474"/>
                <a:ext cx="1090247" cy="1090248"/>
              </a:xfrm>
              <a:prstGeom prst="rect">
                <a:avLst/>
              </a:prstGeom>
              <a:solidFill>
                <a:schemeClr val="accent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6" name="Rectangle 56">
                <a:extLst>
                  <a:ext uri="{FF2B5EF4-FFF2-40B4-BE49-F238E27FC236}">
                    <a16:creationId xmlns:a16="http://schemas.microsoft.com/office/drawing/2014/main" id="{493ED4C8-B503-06E2-8349-DEEEB010B9DC}"/>
                  </a:ext>
                </a:extLst>
              </p:cNvPr>
              <p:cNvSpPr/>
              <p:nvPr/>
            </p:nvSpPr>
            <p:spPr>
              <a:xfrm rot="16200000">
                <a:off x="6377714" y="2700225"/>
                <a:ext cx="1090247" cy="1090248"/>
              </a:xfrm>
              <a:prstGeom prst="rect">
                <a:avLst/>
              </a:prstGeom>
              <a:solidFill>
                <a:schemeClr val="accent1">
                  <a:lumMod val="75000"/>
                  <a:lumOff val="25000"/>
                </a:schemeClr>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7" name="Rectangle 57">
                <a:extLst>
                  <a:ext uri="{FF2B5EF4-FFF2-40B4-BE49-F238E27FC236}">
                    <a16:creationId xmlns:a16="http://schemas.microsoft.com/office/drawing/2014/main" id="{6F337DC8-3F5C-EF87-0B06-8599C0143649}"/>
                  </a:ext>
                </a:extLst>
              </p:cNvPr>
              <p:cNvSpPr/>
              <p:nvPr/>
            </p:nvSpPr>
            <p:spPr>
              <a:xfrm rot="16200000">
                <a:off x="6377713" y="1609984"/>
                <a:ext cx="1090248" cy="1090247"/>
              </a:xfrm>
              <a:prstGeom prst="rect">
                <a:avLst/>
              </a:prstGeom>
              <a:solidFill>
                <a:schemeClr val="bg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cxnSp>
          <p:nvCxnSpPr>
            <p:cNvPr id="16" name="Straight Connector 36">
              <a:extLst>
                <a:ext uri="{FF2B5EF4-FFF2-40B4-BE49-F238E27FC236}">
                  <a16:creationId xmlns:a16="http://schemas.microsoft.com/office/drawing/2014/main" id="{F2E457CA-23DB-7BA6-8654-CC66AB7C04E3}"/>
                </a:ext>
              </a:extLst>
            </p:cNvPr>
            <p:cNvCxnSpPr>
              <a:cxnSpLocks/>
            </p:cNvCxnSpPr>
            <p:nvPr/>
          </p:nvCxnSpPr>
          <p:spPr>
            <a:xfrm>
              <a:off x="8439867" y="5516416"/>
              <a:ext cx="0" cy="525651"/>
            </a:xfrm>
            <a:prstGeom prst="line">
              <a:avLst/>
            </a:prstGeom>
            <a:noFill/>
            <a:ln w="6350" cap="flat" cmpd="sng" algn="ctr">
              <a:solidFill>
                <a:schemeClr val="accent2"/>
              </a:solidFill>
              <a:prstDash val="dash"/>
              <a:miter lim="800000"/>
            </a:ln>
            <a:effectLst/>
          </p:spPr>
        </p:cxnSp>
        <p:cxnSp>
          <p:nvCxnSpPr>
            <p:cNvPr id="17" name="Straight Connector 37">
              <a:extLst>
                <a:ext uri="{FF2B5EF4-FFF2-40B4-BE49-F238E27FC236}">
                  <a16:creationId xmlns:a16="http://schemas.microsoft.com/office/drawing/2014/main" id="{84E1E03B-0D90-8E6B-CBB6-E19AF0EE9133}"/>
                </a:ext>
              </a:extLst>
            </p:cNvPr>
            <p:cNvCxnSpPr>
              <a:cxnSpLocks/>
            </p:cNvCxnSpPr>
            <p:nvPr/>
          </p:nvCxnSpPr>
          <p:spPr>
            <a:xfrm>
              <a:off x="9544984" y="5516416"/>
              <a:ext cx="0" cy="516363"/>
            </a:xfrm>
            <a:prstGeom prst="line">
              <a:avLst/>
            </a:prstGeom>
            <a:noFill/>
            <a:ln w="6350" cap="flat" cmpd="sng" algn="ctr">
              <a:solidFill>
                <a:schemeClr val="accent2"/>
              </a:solidFill>
              <a:prstDash val="dash"/>
              <a:miter lim="800000"/>
            </a:ln>
            <a:effectLst/>
          </p:spPr>
        </p:cxnSp>
        <p:cxnSp>
          <p:nvCxnSpPr>
            <p:cNvPr id="18" name="Straight Connector 38">
              <a:extLst>
                <a:ext uri="{FF2B5EF4-FFF2-40B4-BE49-F238E27FC236}">
                  <a16:creationId xmlns:a16="http://schemas.microsoft.com/office/drawing/2014/main" id="{5CA853A3-5A00-43CA-0DE8-8D8F203F5307}"/>
                </a:ext>
              </a:extLst>
            </p:cNvPr>
            <p:cNvCxnSpPr>
              <a:cxnSpLocks/>
            </p:cNvCxnSpPr>
            <p:nvPr/>
          </p:nvCxnSpPr>
          <p:spPr>
            <a:xfrm>
              <a:off x="10632580" y="5515320"/>
              <a:ext cx="0" cy="508170"/>
            </a:xfrm>
            <a:prstGeom prst="line">
              <a:avLst/>
            </a:prstGeom>
            <a:noFill/>
            <a:ln w="6350" cap="flat" cmpd="sng" algn="ctr">
              <a:solidFill>
                <a:schemeClr val="accent2"/>
              </a:solidFill>
              <a:prstDash val="dash"/>
              <a:miter lim="800000"/>
            </a:ln>
            <a:effectLst/>
          </p:spPr>
        </p:cxnSp>
        <p:cxnSp>
          <p:nvCxnSpPr>
            <p:cNvPr id="19" name="Straight Connector 39">
              <a:extLst>
                <a:ext uri="{FF2B5EF4-FFF2-40B4-BE49-F238E27FC236}">
                  <a16:creationId xmlns:a16="http://schemas.microsoft.com/office/drawing/2014/main" id="{49A71128-3E8A-4693-F567-D3EF204DA746}"/>
                </a:ext>
              </a:extLst>
            </p:cNvPr>
            <p:cNvCxnSpPr>
              <a:cxnSpLocks/>
            </p:cNvCxnSpPr>
            <p:nvPr/>
          </p:nvCxnSpPr>
          <p:spPr>
            <a:xfrm flipH="1">
              <a:off x="6322406" y="2225292"/>
              <a:ext cx="1036459" cy="0"/>
            </a:xfrm>
            <a:prstGeom prst="line">
              <a:avLst/>
            </a:prstGeom>
            <a:noFill/>
            <a:ln w="6350" cap="flat" cmpd="sng" algn="ctr">
              <a:solidFill>
                <a:schemeClr val="accent2"/>
              </a:solidFill>
              <a:prstDash val="dash"/>
              <a:miter lim="800000"/>
            </a:ln>
            <a:effectLst/>
          </p:spPr>
        </p:cxnSp>
        <p:cxnSp>
          <p:nvCxnSpPr>
            <p:cNvPr id="20" name="Straight Connector 40">
              <a:extLst>
                <a:ext uri="{FF2B5EF4-FFF2-40B4-BE49-F238E27FC236}">
                  <a16:creationId xmlns:a16="http://schemas.microsoft.com/office/drawing/2014/main" id="{55473EB3-7541-6A56-2E6E-304C6DA7C330}"/>
                </a:ext>
              </a:extLst>
            </p:cNvPr>
            <p:cNvCxnSpPr>
              <a:cxnSpLocks/>
            </p:cNvCxnSpPr>
            <p:nvPr/>
          </p:nvCxnSpPr>
          <p:spPr>
            <a:xfrm flipH="1">
              <a:off x="6303830" y="3341470"/>
              <a:ext cx="1064271" cy="0"/>
            </a:xfrm>
            <a:prstGeom prst="line">
              <a:avLst/>
            </a:prstGeom>
            <a:noFill/>
            <a:ln w="6350" cap="flat" cmpd="sng" algn="ctr">
              <a:solidFill>
                <a:schemeClr val="accent2"/>
              </a:solidFill>
              <a:prstDash val="dash"/>
              <a:miter lim="800000"/>
            </a:ln>
            <a:effectLst/>
          </p:spPr>
        </p:cxnSp>
        <p:cxnSp>
          <p:nvCxnSpPr>
            <p:cNvPr id="21" name="Straight Connector 41">
              <a:extLst>
                <a:ext uri="{FF2B5EF4-FFF2-40B4-BE49-F238E27FC236}">
                  <a16:creationId xmlns:a16="http://schemas.microsoft.com/office/drawing/2014/main" id="{08C27B27-D30E-DBE4-0A4A-04A39B4AB5E3}"/>
                </a:ext>
              </a:extLst>
            </p:cNvPr>
            <p:cNvCxnSpPr>
              <a:cxnSpLocks/>
            </p:cNvCxnSpPr>
            <p:nvPr/>
          </p:nvCxnSpPr>
          <p:spPr>
            <a:xfrm flipH="1">
              <a:off x="6303830" y="4418754"/>
              <a:ext cx="1064384" cy="0"/>
            </a:xfrm>
            <a:prstGeom prst="line">
              <a:avLst/>
            </a:prstGeom>
            <a:noFill/>
            <a:ln w="6350" cap="flat" cmpd="sng" algn="ctr">
              <a:solidFill>
                <a:schemeClr val="accent2"/>
              </a:solidFill>
              <a:prstDash val="dash"/>
              <a:miter lim="800000"/>
            </a:ln>
            <a:effectLst/>
          </p:spPr>
        </p:cxnSp>
        <p:sp>
          <p:nvSpPr>
            <p:cNvPr id="22" name="TextBox 42">
              <a:extLst>
                <a:ext uri="{FF2B5EF4-FFF2-40B4-BE49-F238E27FC236}">
                  <a16:creationId xmlns:a16="http://schemas.microsoft.com/office/drawing/2014/main" id="{2CE6F6F7-7586-4B5C-A165-434794FEA526}"/>
                </a:ext>
              </a:extLst>
            </p:cNvPr>
            <p:cNvSpPr txBox="1"/>
            <p:nvPr/>
          </p:nvSpPr>
          <p:spPr>
            <a:xfrm>
              <a:off x="8552615" y="5567404"/>
              <a:ext cx="890956" cy="54462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a:ea typeface="+mn-ea"/>
                  <a:cs typeface="+mn-cs"/>
                </a:rPr>
                <a:t>Other crops</a:t>
              </a:r>
            </a:p>
          </p:txBody>
        </p:sp>
        <p:sp>
          <p:nvSpPr>
            <p:cNvPr id="23" name="TextBox 43">
              <a:extLst>
                <a:ext uri="{FF2B5EF4-FFF2-40B4-BE49-F238E27FC236}">
                  <a16:creationId xmlns:a16="http://schemas.microsoft.com/office/drawing/2014/main" id="{1D4DE4BE-E3AC-2DB3-76F8-F49D7B48884B}"/>
                </a:ext>
              </a:extLst>
            </p:cNvPr>
            <p:cNvSpPr txBox="1"/>
            <p:nvPr/>
          </p:nvSpPr>
          <p:spPr>
            <a:xfrm>
              <a:off x="9642865" y="5672139"/>
              <a:ext cx="890955" cy="33515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a:ea typeface="+mn-ea"/>
                  <a:cs typeface="+mn-cs"/>
                </a:rPr>
                <a:t>Off-farm</a:t>
              </a:r>
            </a:p>
          </p:txBody>
        </p:sp>
        <p:sp>
          <p:nvSpPr>
            <p:cNvPr id="24" name="TextBox 44">
              <a:extLst>
                <a:ext uri="{FF2B5EF4-FFF2-40B4-BE49-F238E27FC236}">
                  <a16:creationId xmlns:a16="http://schemas.microsoft.com/office/drawing/2014/main" id="{6EB06B86-FC5D-E2F1-37CD-1DA894F18250}"/>
                </a:ext>
              </a:extLst>
            </p:cNvPr>
            <p:cNvSpPr txBox="1"/>
            <p:nvPr/>
          </p:nvSpPr>
          <p:spPr>
            <a:xfrm>
              <a:off x="7462368" y="5567404"/>
              <a:ext cx="890956" cy="54462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a:ea typeface="+mn-ea"/>
                  <a:cs typeface="+mn-cs"/>
                </a:rPr>
                <a:t>Focus crops</a:t>
              </a:r>
            </a:p>
          </p:txBody>
        </p:sp>
        <p:sp>
          <p:nvSpPr>
            <p:cNvPr id="25" name="TextBox 45">
              <a:extLst>
                <a:ext uri="{FF2B5EF4-FFF2-40B4-BE49-F238E27FC236}">
                  <a16:creationId xmlns:a16="http://schemas.microsoft.com/office/drawing/2014/main" id="{D75CC226-5C37-C741-377A-42CAB8BA8234}"/>
                </a:ext>
              </a:extLst>
            </p:cNvPr>
            <p:cNvSpPr txBox="1"/>
            <p:nvPr/>
          </p:nvSpPr>
          <p:spPr>
            <a:xfrm>
              <a:off x="6166602" y="4789071"/>
              <a:ext cx="1078058" cy="335152"/>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a:ea typeface="+mn-ea"/>
                  <a:cs typeface="+mn-cs"/>
                </a:rPr>
                <a:t>Farmer</a:t>
              </a:r>
            </a:p>
          </p:txBody>
        </p:sp>
        <p:sp>
          <p:nvSpPr>
            <p:cNvPr id="26" name="TextBox 46">
              <a:extLst>
                <a:ext uri="{FF2B5EF4-FFF2-40B4-BE49-F238E27FC236}">
                  <a16:creationId xmlns:a16="http://schemas.microsoft.com/office/drawing/2014/main" id="{51206627-06A7-BFC0-A042-CAA9A9C1C929}"/>
                </a:ext>
              </a:extLst>
            </p:cNvPr>
            <p:cNvSpPr txBox="1"/>
            <p:nvPr/>
          </p:nvSpPr>
          <p:spPr>
            <a:xfrm>
              <a:off x="6166602" y="3592748"/>
              <a:ext cx="1078058" cy="544624"/>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a:ea typeface="+mn-ea"/>
                  <a:cs typeface="+mn-cs"/>
                </a:rPr>
                <a:t>Farm enterprise</a:t>
              </a:r>
            </a:p>
          </p:txBody>
        </p:sp>
        <p:sp>
          <p:nvSpPr>
            <p:cNvPr id="27" name="TextBox 47">
              <a:extLst>
                <a:ext uri="{FF2B5EF4-FFF2-40B4-BE49-F238E27FC236}">
                  <a16:creationId xmlns:a16="http://schemas.microsoft.com/office/drawing/2014/main" id="{5EF9DF5C-8096-49E1-914D-4F42EEAB210E}"/>
                </a:ext>
              </a:extLst>
            </p:cNvPr>
            <p:cNvSpPr txBox="1"/>
            <p:nvPr/>
          </p:nvSpPr>
          <p:spPr>
            <a:xfrm>
              <a:off x="6166602" y="2610639"/>
              <a:ext cx="1078058" cy="335152"/>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a:ea typeface="+mn-ea"/>
                  <a:cs typeface="+mn-cs"/>
                </a:rPr>
                <a:t>Household</a:t>
              </a:r>
            </a:p>
          </p:txBody>
        </p:sp>
        <p:cxnSp>
          <p:nvCxnSpPr>
            <p:cNvPr id="52" name="Straight Connector 41">
              <a:extLst>
                <a:ext uri="{FF2B5EF4-FFF2-40B4-BE49-F238E27FC236}">
                  <a16:creationId xmlns:a16="http://schemas.microsoft.com/office/drawing/2014/main" id="{AF9A18F0-6E6E-61D8-67BC-FBCDAE69FEBD}"/>
                </a:ext>
              </a:extLst>
            </p:cNvPr>
            <p:cNvCxnSpPr>
              <a:cxnSpLocks/>
            </p:cNvCxnSpPr>
            <p:nvPr/>
          </p:nvCxnSpPr>
          <p:spPr>
            <a:xfrm flipH="1">
              <a:off x="6303830" y="5485197"/>
              <a:ext cx="1064384" cy="0"/>
            </a:xfrm>
            <a:prstGeom prst="line">
              <a:avLst/>
            </a:prstGeom>
            <a:noFill/>
            <a:ln w="6350" cap="flat" cmpd="sng" algn="ctr">
              <a:solidFill>
                <a:schemeClr val="accent2"/>
              </a:solidFill>
              <a:prstDash val="dash"/>
              <a:miter lim="800000"/>
            </a:ln>
            <a:effectLst/>
          </p:spPr>
        </p:cxnSp>
        <p:cxnSp>
          <p:nvCxnSpPr>
            <p:cNvPr id="53" name="Straight Connector 36">
              <a:extLst>
                <a:ext uri="{FF2B5EF4-FFF2-40B4-BE49-F238E27FC236}">
                  <a16:creationId xmlns:a16="http://schemas.microsoft.com/office/drawing/2014/main" id="{EA0D11E0-B462-1E11-37D3-139800B7001A}"/>
                </a:ext>
              </a:extLst>
            </p:cNvPr>
            <p:cNvCxnSpPr>
              <a:cxnSpLocks/>
            </p:cNvCxnSpPr>
            <p:nvPr/>
          </p:nvCxnSpPr>
          <p:spPr>
            <a:xfrm>
              <a:off x="7362393" y="5516416"/>
              <a:ext cx="0" cy="525651"/>
            </a:xfrm>
            <a:prstGeom prst="line">
              <a:avLst/>
            </a:prstGeom>
            <a:noFill/>
            <a:ln w="6350" cap="flat" cmpd="sng" algn="ctr">
              <a:solidFill>
                <a:schemeClr val="accent2"/>
              </a:solidFill>
              <a:prstDash val="dash"/>
              <a:miter lim="800000"/>
            </a:ln>
            <a:effectLst/>
          </p:spPr>
        </p:cxnSp>
      </p:grpSp>
      <p:grpSp>
        <p:nvGrpSpPr>
          <p:cNvPr id="54" name="Group 34">
            <a:extLst>
              <a:ext uri="{FF2B5EF4-FFF2-40B4-BE49-F238E27FC236}">
                <a16:creationId xmlns:a16="http://schemas.microsoft.com/office/drawing/2014/main" id="{80F587E2-8F3A-47FF-8F19-C67846B85533}"/>
              </a:ext>
            </a:extLst>
          </p:cNvPr>
          <p:cNvGrpSpPr/>
          <p:nvPr/>
        </p:nvGrpSpPr>
        <p:grpSpPr>
          <a:xfrm>
            <a:off x="7335722" y="2677960"/>
            <a:ext cx="3281599" cy="2855407"/>
            <a:chOff x="6166602" y="2225292"/>
            <a:chExt cx="4466863" cy="3886736"/>
          </a:xfrm>
        </p:grpSpPr>
        <p:grpSp>
          <p:nvGrpSpPr>
            <p:cNvPr id="55" name="Group 35">
              <a:extLst>
                <a:ext uri="{FF2B5EF4-FFF2-40B4-BE49-F238E27FC236}">
                  <a16:creationId xmlns:a16="http://schemas.microsoft.com/office/drawing/2014/main" id="{5B38769D-88DB-16F8-E67F-CD84DF7CEBFB}"/>
                </a:ext>
              </a:extLst>
            </p:cNvPr>
            <p:cNvGrpSpPr/>
            <p:nvPr/>
          </p:nvGrpSpPr>
          <p:grpSpPr>
            <a:xfrm rot="5400000">
              <a:off x="7363756" y="2232065"/>
              <a:ext cx="3268680" cy="3270738"/>
              <a:chOff x="4199283" y="1609984"/>
              <a:chExt cx="3268680" cy="3270738"/>
            </a:xfrm>
          </p:grpSpPr>
          <p:sp>
            <p:nvSpPr>
              <p:cNvPr id="70" name="Rectangle 49">
                <a:extLst>
                  <a:ext uri="{FF2B5EF4-FFF2-40B4-BE49-F238E27FC236}">
                    <a16:creationId xmlns:a16="http://schemas.microsoft.com/office/drawing/2014/main" id="{3DBEE954-670A-E820-3A0D-A58282A595CC}"/>
                  </a:ext>
                </a:extLst>
              </p:cNvPr>
              <p:cNvSpPr/>
              <p:nvPr/>
            </p:nvSpPr>
            <p:spPr>
              <a:xfrm rot="16200000">
                <a:off x="4199284" y="3790474"/>
                <a:ext cx="1090247" cy="1090248"/>
              </a:xfrm>
              <a:prstGeom prst="rect">
                <a:avLst/>
              </a:prstGeom>
              <a:solidFill>
                <a:schemeClr val="accent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Arial" panose="020B0604020202020204"/>
                  <a:ea typeface="+mn-ea"/>
                  <a:cs typeface="+mn-cs"/>
                </a:endParaRPr>
              </a:p>
            </p:txBody>
          </p:sp>
          <p:sp>
            <p:nvSpPr>
              <p:cNvPr id="71" name="Rectangle 50">
                <a:extLst>
                  <a:ext uri="{FF2B5EF4-FFF2-40B4-BE49-F238E27FC236}">
                    <a16:creationId xmlns:a16="http://schemas.microsoft.com/office/drawing/2014/main" id="{37E6FF41-B9BD-8986-6450-39F4E315711C}"/>
                  </a:ext>
                </a:extLst>
              </p:cNvPr>
              <p:cNvSpPr/>
              <p:nvPr/>
            </p:nvSpPr>
            <p:spPr>
              <a:xfrm rot="16200000">
                <a:off x="4199282" y="2700229"/>
                <a:ext cx="1090247" cy="1090246"/>
              </a:xfrm>
              <a:prstGeom prst="rect">
                <a:avLst/>
              </a:prstGeom>
              <a:solidFill>
                <a:schemeClr val="accent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72" name="Rectangle 51">
                <a:extLst>
                  <a:ext uri="{FF2B5EF4-FFF2-40B4-BE49-F238E27FC236}">
                    <a16:creationId xmlns:a16="http://schemas.microsoft.com/office/drawing/2014/main" id="{6E1F7A7B-FEA2-60FF-9232-2AED6D5A9530}"/>
                  </a:ext>
                </a:extLst>
              </p:cNvPr>
              <p:cNvSpPr/>
              <p:nvPr/>
            </p:nvSpPr>
            <p:spPr>
              <a:xfrm rot="16200000">
                <a:off x="4199282" y="1609987"/>
                <a:ext cx="1090247" cy="1090246"/>
              </a:xfrm>
              <a:prstGeom prst="rect">
                <a:avLst/>
              </a:prstGeom>
              <a:solidFill>
                <a:schemeClr val="accent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73" name="Rectangle 52">
                <a:extLst>
                  <a:ext uri="{FF2B5EF4-FFF2-40B4-BE49-F238E27FC236}">
                    <a16:creationId xmlns:a16="http://schemas.microsoft.com/office/drawing/2014/main" id="{38C19FAC-E22E-4FEE-5160-15194424B046}"/>
                  </a:ext>
                </a:extLst>
              </p:cNvPr>
              <p:cNvSpPr/>
              <p:nvPr/>
            </p:nvSpPr>
            <p:spPr>
              <a:xfrm rot="16200000">
                <a:off x="5286128" y="3790475"/>
                <a:ext cx="1090247" cy="1090248"/>
              </a:xfrm>
              <a:prstGeom prst="rect">
                <a:avLst/>
              </a:prstGeom>
              <a:solidFill>
                <a:schemeClr val="accent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74" name="Rectangle 53">
                <a:extLst>
                  <a:ext uri="{FF2B5EF4-FFF2-40B4-BE49-F238E27FC236}">
                    <a16:creationId xmlns:a16="http://schemas.microsoft.com/office/drawing/2014/main" id="{299A212B-45EF-8671-3DBE-FDF0D74AC504}"/>
                  </a:ext>
                </a:extLst>
              </p:cNvPr>
              <p:cNvSpPr/>
              <p:nvPr/>
            </p:nvSpPr>
            <p:spPr>
              <a:xfrm rot="16200000">
                <a:off x="5286127" y="2700229"/>
                <a:ext cx="1090247" cy="1090246"/>
              </a:xfrm>
              <a:prstGeom prst="rect">
                <a:avLst/>
              </a:prstGeom>
              <a:solidFill>
                <a:schemeClr val="accent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75" name="Rectangle 54">
                <a:extLst>
                  <a:ext uri="{FF2B5EF4-FFF2-40B4-BE49-F238E27FC236}">
                    <a16:creationId xmlns:a16="http://schemas.microsoft.com/office/drawing/2014/main" id="{724337E8-86BF-19BA-A77F-61926E24BEB2}"/>
                  </a:ext>
                </a:extLst>
              </p:cNvPr>
              <p:cNvSpPr/>
              <p:nvPr/>
            </p:nvSpPr>
            <p:spPr>
              <a:xfrm rot="16200000">
                <a:off x="5286128" y="1609986"/>
                <a:ext cx="1090247" cy="1090247"/>
              </a:xfrm>
              <a:prstGeom prst="rect">
                <a:avLst/>
              </a:prstGeom>
              <a:solidFill>
                <a:schemeClr val="accent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76" name="Rectangle 55">
                <a:extLst>
                  <a:ext uri="{FF2B5EF4-FFF2-40B4-BE49-F238E27FC236}">
                    <a16:creationId xmlns:a16="http://schemas.microsoft.com/office/drawing/2014/main" id="{41DBFE23-34F9-BCF2-32E4-ABACBA58EBBF}"/>
                  </a:ext>
                </a:extLst>
              </p:cNvPr>
              <p:cNvSpPr/>
              <p:nvPr/>
            </p:nvSpPr>
            <p:spPr>
              <a:xfrm rot="16200000">
                <a:off x="6377715" y="3790474"/>
                <a:ext cx="1090247" cy="1090248"/>
              </a:xfrm>
              <a:prstGeom prst="rect">
                <a:avLst/>
              </a:prstGeom>
              <a:solidFill>
                <a:schemeClr val="accent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77" name="Rectangle 56">
                <a:extLst>
                  <a:ext uri="{FF2B5EF4-FFF2-40B4-BE49-F238E27FC236}">
                    <a16:creationId xmlns:a16="http://schemas.microsoft.com/office/drawing/2014/main" id="{D3135406-B4E3-C3D9-1B73-DD54601F9298}"/>
                  </a:ext>
                </a:extLst>
              </p:cNvPr>
              <p:cNvSpPr/>
              <p:nvPr/>
            </p:nvSpPr>
            <p:spPr>
              <a:xfrm rot="16200000">
                <a:off x="6377714" y="2700225"/>
                <a:ext cx="1090247" cy="1090248"/>
              </a:xfrm>
              <a:prstGeom prst="rect">
                <a:avLst/>
              </a:prstGeom>
              <a:solidFill>
                <a:schemeClr val="accent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78" name="Rectangle 57">
                <a:extLst>
                  <a:ext uri="{FF2B5EF4-FFF2-40B4-BE49-F238E27FC236}">
                    <a16:creationId xmlns:a16="http://schemas.microsoft.com/office/drawing/2014/main" id="{1C73E57F-EB6C-A5A9-BDAC-41C01EF144E1}"/>
                  </a:ext>
                </a:extLst>
              </p:cNvPr>
              <p:cNvSpPr/>
              <p:nvPr/>
            </p:nvSpPr>
            <p:spPr>
              <a:xfrm rot="16200000">
                <a:off x="6377713" y="1609984"/>
                <a:ext cx="1090248" cy="1090247"/>
              </a:xfrm>
              <a:prstGeom prst="rect">
                <a:avLst/>
              </a:prstGeom>
              <a:solidFill>
                <a:schemeClr val="accent1"/>
              </a:solidFill>
              <a:ln w="12700" cap="flat" cmpd="sng" algn="ctr">
                <a:solidFill>
                  <a:schemeClr val="accent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cxnSp>
          <p:nvCxnSpPr>
            <p:cNvPr id="56" name="Straight Connector 36">
              <a:extLst>
                <a:ext uri="{FF2B5EF4-FFF2-40B4-BE49-F238E27FC236}">
                  <a16:creationId xmlns:a16="http://schemas.microsoft.com/office/drawing/2014/main" id="{D452E947-4AA7-9E36-2972-C1377015C938}"/>
                </a:ext>
              </a:extLst>
            </p:cNvPr>
            <p:cNvCxnSpPr>
              <a:cxnSpLocks/>
            </p:cNvCxnSpPr>
            <p:nvPr/>
          </p:nvCxnSpPr>
          <p:spPr>
            <a:xfrm>
              <a:off x="8439867" y="5516416"/>
              <a:ext cx="0" cy="525651"/>
            </a:xfrm>
            <a:prstGeom prst="line">
              <a:avLst/>
            </a:prstGeom>
            <a:noFill/>
            <a:ln w="6350" cap="flat" cmpd="sng" algn="ctr">
              <a:solidFill>
                <a:schemeClr val="accent2"/>
              </a:solidFill>
              <a:prstDash val="dash"/>
              <a:miter lim="800000"/>
            </a:ln>
            <a:effectLst/>
          </p:spPr>
        </p:cxnSp>
        <p:cxnSp>
          <p:nvCxnSpPr>
            <p:cNvPr id="57" name="Straight Connector 37">
              <a:extLst>
                <a:ext uri="{FF2B5EF4-FFF2-40B4-BE49-F238E27FC236}">
                  <a16:creationId xmlns:a16="http://schemas.microsoft.com/office/drawing/2014/main" id="{50C3AEF1-83E1-5484-A51E-AA30B12CF03A}"/>
                </a:ext>
              </a:extLst>
            </p:cNvPr>
            <p:cNvCxnSpPr>
              <a:cxnSpLocks/>
            </p:cNvCxnSpPr>
            <p:nvPr/>
          </p:nvCxnSpPr>
          <p:spPr>
            <a:xfrm>
              <a:off x="9544984" y="5516416"/>
              <a:ext cx="0" cy="516363"/>
            </a:xfrm>
            <a:prstGeom prst="line">
              <a:avLst/>
            </a:prstGeom>
            <a:noFill/>
            <a:ln w="6350" cap="flat" cmpd="sng" algn="ctr">
              <a:solidFill>
                <a:schemeClr val="accent2"/>
              </a:solidFill>
              <a:prstDash val="dash"/>
              <a:miter lim="800000"/>
            </a:ln>
            <a:effectLst/>
          </p:spPr>
        </p:cxnSp>
        <p:cxnSp>
          <p:nvCxnSpPr>
            <p:cNvPr id="58" name="Straight Connector 38">
              <a:extLst>
                <a:ext uri="{FF2B5EF4-FFF2-40B4-BE49-F238E27FC236}">
                  <a16:creationId xmlns:a16="http://schemas.microsoft.com/office/drawing/2014/main" id="{46C282A3-F7FC-821C-DDC0-C92FEA8450DD}"/>
                </a:ext>
              </a:extLst>
            </p:cNvPr>
            <p:cNvCxnSpPr>
              <a:cxnSpLocks/>
            </p:cNvCxnSpPr>
            <p:nvPr/>
          </p:nvCxnSpPr>
          <p:spPr>
            <a:xfrm>
              <a:off x="10632580" y="5515320"/>
              <a:ext cx="0" cy="508170"/>
            </a:xfrm>
            <a:prstGeom prst="line">
              <a:avLst/>
            </a:prstGeom>
            <a:noFill/>
            <a:ln w="6350" cap="flat" cmpd="sng" algn="ctr">
              <a:solidFill>
                <a:schemeClr val="accent2"/>
              </a:solidFill>
              <a:prstDash val="dash"/>
              <a:miter lim="800000"/>
            </a:ln>
            <a:effectLst/>
          </p:spPr>
        </p:cxnSp>
        <p:cxnSp>
          <p:nvCxnSpPr>
            <p:cNvPr id="59" name="Straight Connector 39">
              <a:extLst>
                <a:ext uri="{FF2B5EF4-FFF2-40B4-BE49-F238E27FC236}">
                  <a16:creationId xmlns:a16="http://schemas.microsoft.com/office/drawing/2014/main" id="{4BA833AD-B4CD-E8B6-7733-2D63A4E91D4D}"/>
                </a:ext>
              </a:extLst>
            </p:cNvPr>
            <p:cNvCxnSpPr>
              <a:cxnSpLocks/>
            </p:cNvCxnSpPr>
            <p:nvPr/>
          </p:nvCxnSpPr>
          <p:spPr>
            <a:xfrm flipH="1">
              <a:off x="6322406" y="2225292"/>
              <a:ext cx="1036459" cy="0"/>
            </a:xfrm>
            <a:prstGeom prst="line">
              <a:avLst/>
            </a:prstGeom>
            <a:noFill/>
            <a:ln w="6350" cap="flat" cmpd="sng" algn="ctr">
              <a:solidFill>
                <a:schemeClr val="accent2"/>
              </a:solidFill>
              <a:prstDash val="dash"/>
              <a:miter lim="800000"/>
            </a:ln>
            <a:effectLst/>
          </p:spPr>
        </p:cxnSp>
        <p:cxnSp>
          <p:nvCxnSpPr>
            <p:cNvPr id="60" name="Straight Connector 40">
              <a:extLst>
                <a:ext uri="{FF2B5EF4-FFF2-40B4-BE49-F238E27FC236}">
                  <a16:creationId xmlns:a16="http://schemas.microsoft.com/office/drawing/2014/main" id="{E7FF4AB5-351F-33A1-1355-49AD433CFDBC}"/>
                </a:ext>
              </a:extLst>
            </p:cNvPr>
            <p:cNvCxnSpPr>
              <a:cxnSpLocks/>
            </p:cNvCxnSpPr>
            <p:nvPr/>
          </p:nvCxnSpPr>
          <p:spPr>
            <a:xfrm flipH="1">
              <a:off x="6303830" y="3328505"/>
              <a:ext cx="1066540" cy="0"/>
            </a:xfrm>
            <a:prstGeom prst="line">
              <a:avLst/>
            </a:prstGeom>
            <a:noFill/>
            <a:ln w="6350" cap="flat" cmpd="sng" algn="ctr">
              <a:solidFill>
                <a:schemeClr val="accent2"/>
              </a:solidFill>
              <a:prstDash val="dash"/>
              <a:miter lim="800000"/>
            </a:ln>
            <a:effectLst/>
          </p:spPr>
        </p:cxnSp>
        <p:cxnSp>
          <p:nvCxnSpPr>
            <p:cNvPr id="61" name="Straight Connector 41">
              <a:extLst>
                <a:ext uri="{FF2B5EF4-FFF2-40B4-BE49-F238E27FC236}">
                  <a16:creationId xmlns:a16="http://schemas.microsoft.com/office/drawing/2014/main" id="{7E4A9547-DC62-BE7F-09CB-6CF15B00C728}"/>
                </a:ext>
              </a:extLst>
            </p:cNvPr>
            <p:cNvCxnSpPr>
              <a:cxnSpLocks/>
            </p:cNvCxnSpPr>
            <p:nvPr/>
          </p:nvCxnSpPr>
          <p:spPr>
            <a:xfrm flipH="1">
              <a:off x="6303830" y="4418754"/>
              <a:ext cx="1040610" cy="0"/>
            </a:xfrm>
            <a:prstGeom prst="line">
              <a:avLst/>
            </a:prstGeom>
            <a:noFill/>
            <a:ln w="6350" cap="flat" cmpd="sng" algn="ctr">
              <a:solidFill>
                <a:schemeClr val="accent2"/>
              </a:solidFill>
              <a:prstDash val="dash"/>
              <a:miter lim="800000"/>
            </a:ln>
            <a:effectLst/>
          </p:spPr>
        </p:cxnSp>
        <p:sp>
          <p:nvSpPr>
            <p:cNvPr id="62" name="TextBox 42">
              <a:extLst>
                <a:ext uri="{FF2B5EF4-FFF2-40B4-BE49-F238E27FC236}">
                  <a16:creationId xmlns:a16="http://schemas.microsoft.com/office/drawing/2014/main" id="{928C5702-2A7D-6CD0-D156-674D9AF96ED2}"/>
                </a:ext>
              </a:extLst>
            </p:cNvPr>
            <p:cNvSpPr txBox="1"/>
            <p:nvPr/>
          </p:nvSpPr>
          <p:spPr>
            <a:xfrm>
              <a:off x="8552615" y="5567404"/>
              <a:ext cx="890956" cy="54462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a:ea typeface="+mn-ea"/>
                  <a:cs typeface="+mn-cs"/>
                </a:rPr>
                <a:t>Other crops</a:t>
              </a:r>
            </a:p>
          </p:txBody>
        </p:sp>
        <p:sp>
          <p:nvSpPr>
            <p:cNvPr id="63" name="TextBox 43">
              <a:extLst>
                <a:ext uri="{FF2B5EF4-FFF2-40B4-BE49-F238E27FC236}">
                  <a16:creationId xmlns:a16="http://schemas.microsoft.com/office/drawing/2014/main" id="{AB9C5DA4-353A-BE25-1A2B-881BD8670F49}"/>
                </a:ext>
              </a:extLst>
            </p:cNvPr>
            <p:cNvSpPr txBox="1"/>
            <p:nvPr/>
          </p:nvSpPr>
          <p:spPr>
            <a:xfrm>
              <a:off x="9642865" y="5672139"/>
              <a:ext cx="890955" cy="33515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a:ea typeface="+mn-ea"/>
                  <a:cs typeface="+mn-cs"/>
                </a:rPr>
                <a:t>Off-farm</a:t>
              </a:r>
            </a:p>
          </p:txBody>
        </p:sp>
        <p:sp>
          <p:nvSpPr>
            <p:cNvPr id="64" name="TextBox 44">
              <a:extLst>
                <a:ext uri="{FF2B5EF4-FFF2-40B4-BE49-F238E27FC236}">
                  <a16:creationId xmlns:a16="http://schemas.microsoft.com/office/drawing/2014/main" id="{DCCF5245-3BC5-76C3-E93C-98E0575F8BA3}"/>
                </a:ext>
              </a:extLst>
            </p:cNvPr>
            <p:cNvSpPr txBox="1"/>
            <p:nvPr/>
          </p:nvSpPr>
          <p:spPr>
            <a:xfrm>
              <a:off x="7462368" y="5567404"/>
              <a:ext cx="890956" cy="54462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a:ea typeface="+mn-ea"/>
                  <a:cs typeface="+mn-cs"/>
                </a:rPr>
                <a:t>Focus crops</a:t>
              </a:r>
            </a:p>
          </p:txBody>
        </p:sp>
        <p:sp>
          <p:nvSpPr>
            <p:cNvPr id="65" name="TextBox 45">
              <a:extLst>
                <a:ext uri="{FF2B5EF4-FFF2-40B4-BE49-F238E27FC236}">
                  <a16:creationId xmlns:a16="http://schemas.microsoft.com/office/drawing/2014/main" id="{600AAB0B-2C23-6BB5-D924-AE5957BF2126}"/>
                </a:ext>
              </a:extLst>
            </p:cNvPr>
            <p:cNvSpPr txBox="1"/>
            <p:nvPr/>
          </p:nvSpPr>
          <p:spPr>
            <a:xfrm>
              <a:off x="6166602" y="4789071"/>
              <a:ext cx="1078058" cy="335152"/>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a:ea typeface="+mn-ea"/>
                  <a:cs typeface="+mn-cs"/>
                </a:rPr>
                <a:t>Farmer</a:t>
              </a:r>
            </a:p>
          </p:txBody>
        </p:sp>
        <p:sp>
          <p:nvSpPr>
            <p:cNvPr id="66" name="TextBox 46">
              <a:extLst>
                <a:ext uri="{FF2B5EF4-FFF2-40B4-BE49-F238E27FC236}">
                  <a16:creationId xmlns:a16="http://schemas.microsoft.com/office/drawing/2014/main" id="{2408F289-1812-194F-4129-FB832A5034BA}"/>
                </a:ext>
              </a:extLst>
            </p:cNvPr>
            <p:cNvSpPr txBox="1"/>
            <p:nvPr/>
          </p:nvSpPr>
          <p:spPr>
            <a:xfrm>
              <a:off x="6166602" y="3592748"/>
              <a:ext cx="1078058" cy="544624"/>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a:ea typeface="+mn-ea"/>
                  <a:cs typeface="+mn-cs"/>
                </a:rPr>
                <a:t>Farm enterprise</a:t>
              </a:r>
            </a:p>
          </p:txBody>
        </p:sp>
        <p:sp>
          <p:nvSpPr>
            <p:cNvPr id="67" name="TextBox 47">
              <a:extLst>
                <a:ext uri="{FF2B5EF4-FFF2-40B4-BE49-F238E27FC236}">
                  <a16:creationId xmlns:a16="http://schemas.microsoft.com/office/drawing/2014/main" id="{F2E7D552-124B-7537-84A1-14C425C3E3F3}"/>
                </a:ext>
              </a:extLst>
            </p:cNvPr>
            <p:cNvSpPr txBox="1"/>
            <p:nvPr/>
          </p:nvSpPr>
          <p:spPr>
            <a:xfrm>
              <a:off x="6166602" y="2610639"/>
              <a:ext cx="1078058" cy="335152"/>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a:ea typeface="+mn-ea"/>
                  <a:cs typeface="+mn-cs"/>
                </a:rPr>
                <a:t>Household</a:t>
              </a:r>
            </a:p>
          </p:txBody>
        </p:sp>
        <p:cxnSp>
          <p:nvCxnSpPr>
            <p:cNvPr id="68" name="Straight Connector 41">
              <a:extLst>
                <a:ext uri="{FF2B5EF4-FFF2-40B4-BE49-F238E27FC236}">
                  <a16:creationId xmlns:a16="http://schemas.microsoft.com/office/drawing/2014/main" id="{5CC0AC76-A2AC-D531-3401-4A8059DFCE04}"/>
                </a:ext>
              </a:extLst>
            </p:cNvPr>
            <p:cNvCxnSpPr>
              <a:cxnSpLocks/>
            </p:cNvCxnSpPr>
            <p:nvPr/>
          </p:nvCxnSpPr>
          <p:spPr>
            <a:xfrm flipH="1">
              <a:off x="6303830" y="5485197"/>
              <a:ext cx="1053575" cy="0"/>
            </a:xfrm>
            <a:prstGeom prst="line">
              <a:avLst/>
            </a:prstGeom>
            <a:noFill/>
            <a:ln w="6350" cap="flat" cmpd="sng" algn="ctr">
              <a:solidFill>
                <a:schemeClr val="accent2"/>
              </a:solidFill>
              <a:prstDash val="dash"/>
              <a:miter lim="800000"/>
            </a:ln>
            <a:effectLst/>
          </p:spPr>
        </p:cxnSp>
        <p:cxnSp>
          <p:nvCxnSpPr>
            <p:cNvPr id="69" name="Straight Connector 36">
              <a:extLst>
                <a:ext uri="{FF2B5EF4-FFF2-40B4-BE49-F238E27FC236}">
                  <a16:creationId xmlns:a16="http://schemas.microsoft.com/office/drawing/2014/main" id="{C1AE952C-1BEC-0349-220C-F8465E077833}"/>
                </a:ext>
              </a:extLst>
            </p:cNvPr>
            <p:cNvCxnSpPr>
              <a:cxnSpLocks/>
            </p:cNvCxnSpPr>
            <p:nvPr/>
          </p:nvCxnSpPr>
          <p:spPr>
            <a:xfrm>
              <a:off x="7362393" y="5516416"/>
              <a:ext cx="0" cy="525651"/>
            </a:xfrm>
            <a:prstGeom prst="line">
              <a:avLst/>
            </a:prstGeom>
            <a:noFill/>
            <a:ln w="6350" cap="flat" cmpd="sng" algn="ctr">
              <a:solidFill>
                <a:schemeClr val="accent2"/>
              </a:solidFill>
              <a:prstDash val="dash"/>
              <a:miter lim="800000"/>
            </a:ln>
            <a:effectLst/>
          </p:spPr>
        </p:cxnSp>
      </p:grpSp>
      <p:cxnSp>
        <p:nvCxnSpPr>
          <p:cNvPr id="85" name="Rechte verbindingslijn met pijl 84">
            <a:extLst>
              <a:ext uri="{FF2B5EF4-FFF2-40B4-BE49-F238E27FC236}">
                <a16:creationId xmlns:a16="http://schemas.microsoft.com/office/drawing/2014/main" id="{167984AE-8309-2CEA-F93D-4471A918F25F}"/>
              </a:ext>
            </a:extLst>
          </p:cNvPr>
          <p:cNvCxnSpPr>
            <a:cxnSpLocks/>
          </p:cNvCxnSpPr>
          <p:nvPr/>
        </p:nvCxnSpPr>
        <p:spPr>
          <a:xfrm flipV="1">
            <a:off x="2847975" y="3086100"/>
            <a:ext cx="7362825" cy="1590675"/>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9986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EEE4639-D20E-6CB4-BB96-C55F4E33DE44}"/>
              </a:ext>
            </a:extLst>
          </p:cNvPr>
          <p:cNvSpPr>
            <a:spLocks noGrp="1"/>
          </p:cNvSpPr>
          <p:nvPr>
            <p:ph type="title"/>
          </p:nvPr>
        </p:nvSpPr>
        <p:spPr/>
        <p:txBody>
          <a:bodyPr/>
          <a:lstStyle/>
          <a:p>
            <a:r>
              <a:rPr lang="en-GB" dirty="0"/>
              <a:t>Insight 2: Build your strategy on most relevant income drivers</a:t>
            </a:r>
          </a:p>
        </p:txBody>
      </p:sp>
      <p:grpSp>
        <p:nvGrpSpPr>
          <p:cNvPr id="13" name="Group 12">
            <a:extLst>
              <a:ext uri="{FF2B5EF4-FFF2-40B4-BE49-F238E27FC236}">
                <a16:creationId xmlns:a16="http://schemas.microsoft.com/office/drawing/2014/main" id="{20860078-381D-1E8E-302C-52921CAF6E9E}"/>
              </a:ext>
            </a:extLst>
          </p:cNvPr>
          <p:cNvGrpSpPr/>
          <p:nvPr/>
        </p:nvGrpSpPr>
        <p:grpSpPr>
          <a:xfrm>
            <a:off x="624526" y="2170755"/>
            <a:ext cx="10942946" cy="2899982"/>
            <a:chOff x="636193" y="1808623"/>
            <a:chExt cx="10942946" cy="2899982"/>
          </a:xfrm>
        </p:grpSpPr>
        <p:sp>
          <p:nvSpPr>
            <p:cNvPr id="17" name="TextBox 50">
              <a:extLst>
                <a:ext uri="{FF2B5EF4-FFF2-40B4-BE49-F238E27FC236}">
                  <a16:creationId xmlns:a16="http://schemas.microsoft.com/office/drawing/2014/main" id="{813D8C2B-867A-D6D3-CD35-EA437A682B71}"/>
                </a:ext>
              </a:extLst>
            </p:cNvPr>
            <p:cNvSpPr txBox="1"/>
            <p:nvPr/>
          </p:nvSpPr>
          <p:spPr>
            <a:xfrm>
              <a:off x="643479" y="3225432"/>
              <a:ext cx="14095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615F"/>
                  </a:solidFill>
                  <a:effectLst/>
                  <a:uLnTx/>
                  <a:uFillTx/>
                  <a:latin typeface="Arial" panose="020B0604020202020204"/>
                  <a:ea typeface="+mn-ea"/>
                  <a:cs typeface="Gotham Bold" pitchFamily="2" charset="0"/>
                </a:rPr>
                <a:t>LAND</a:t>
              </a:r>
            </a:p>
          </p:txBody>
        </p:sp>
        <p:sp>
          <p:nvSpPr>
            <p:cNvPr id="18" name="TextBox 51">
              <a:extLst>
                <a:ext uri="{FF2B5EF4-FFF2-40B4-BE49-F238E27FC236}">
                  <a16:creationId xmlns:a16="http://schemas.microsoft.com/office/drawing/2014/main" id="{C298954D-EF54-7961-4FF1-AE00E0654A12}"/>
                </a:ext>
              </a:extLst>
            </p:cNvPr>
            <p:cNvSpPr txBox="1"/>
            <p:nvPr/>
          </p:nvSpPr>
          <p:spPr>
            <a:xfrm>
              <a:off x="2579743" y="3225430"/>
              <a:ext cx="11325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VOLUME</a:t>
              </a:r>
              <a:endParaRPr kumimoji="0" lang="en-GB" sz="1400" b="1" i="0" u="none" strike="noStrike" kern="1200" cap="none" spc="0" normalizeH="0" baseline="0" noProof="0" dirty="0">
                <a:ln>
                  <a:noFill/>
                </a:ln>
                <a:solidFill>
                  <a:srgbClr val="00615F"/>
                </a:solidFill>
                <a:effectLst/>
                <a:uLnTx/>
                <a:uFillTx/>
                <a:latin typeface="Arial" panose="020B0604020202020204"/>
                <a:ea typeface="+mn-ea"/>
                <a:cs typeface="Gotham Bold" pitchFamily="2" charset="0"/>
              </a:endParaRPr>
            </a:p>
          </p:txBody>
        </p:sp>
        <p:sp>
          <p:nvSpPr>
            <p:cNvPr id="20" name="TextBox 53">
              <a:extLst>
                <a:ext uri="{FF2B5EF4-FFF2-40B4-BE49-F238E27FC236}">
                  <a16:creationId xmlns:a16="http://schemas.microsoft.com/office/drawing/2014/main" id="{D5ECB111-E9B0-A4A8-85BA-5525E9EFDCC6}"/>
                </a:ext>
              </a:extLst>
            </p:cNvPr>
            <p:cNvSpPr txBox="1"/>
            <p:nvPr/>
          </p:nvSpPr>
          <p:spPr>
            <a:xfrm>
              <a:off x="5924363" y="3076470"/>
              <a:ext cx="155399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COST OF</a:t>
              </a:r>
              <a:b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b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PRODUCTION</a:t>
              </a:r>
              <a:endParaRPr kumimoji="0" lang="en-GB" sz="1400" b="1" i="0" u="none" strike="noStrike" kern="1200" cap="none" spc="0" normalizeH="0" baseline="0" noProof="0" dirty="0">
                <a:ln>
                  <a:noFill/>
                </a:ln>
                <a:solidFill>
                  <a:srgbClr val="00615F"/>
                </a:solidFill>
                <a:effectLst/>
                <a:uLnTx/>
                <a:uFillTx/>
                <a:latin typeface="Arial" panose="020B0604020202020204"/>
                <a:ea typeface="+mn-ea"/>
                <a:cs typeface="Gotham Bold" pitchFamily="2" charset="0"/>
              </a:endParaRPr>
            </a:p>
          </p:txBody>
        </p:sp>
        <p:sp>
          <p:nvSpPr>
            <p:cNvPr id="21" name="TextBox 54">
              <a:extLst>
                <a:ext uri="{FF2B5EF4-FFF2-40B4-BE49-F238E27FC236}">
                  <a16:creationId xmlns:a16="http://schemas.microsoft.com/office/drawing/2014/main" id="{57A1B1C7-9F1D-2E85-FD7D-DFA295B287A0}"/>
                </a:ext>
              </a:extLst>
            </p:cNvPr>
            <p:cNvSpPr txBox="1"/>
            <p:nvPr/>
          </p:nvSpPr>
          <p:spPr>
            <a:xfrm>
              <a:off x="7870125" y="3076473"/>
              <a:ext cx="155399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DIVERSIFIED</a:t>
              </a:r>
              <a:b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b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INCOME</a:t>
              </a:r>
              <a:endParaRPr kumimoji="0" lang="en-GB" sz="1400" b="1" i="0" u="none" strike="noStrike" kern="1200" cap="none" spc="0" normalizeH="0" baseline="0" noProof="0" dirty="0">
                <a:ln>
                  <a:noFill/>
                </a:ln>
                <a:solidFill>
                  <a:srgbClr val="00615F"/>
                </a:solidFill>
                <a:effectLst/>
                <a:uLnTx/>
                <a:uFillTx/>
                <a:latin typeface="Arial" panose="020B0604020202020204"/>
                <a:ea typeface="+mn-ea"/>
                <a:cs typeface="Gotham Bold" pitchFamily="2" charset="0"/>
              </a:endParaRPr>
            </a:p>
          </p:txBody>
        </p:sp>
        <p:sp>
          <p:nvSpPr>
            <p:cNvPr id="22" name="TextBox 55">
              <a:extLst>
                <a:ext uri="{FF2B5EF4-FFF2-40B4-BE49-F238E27FC236}">
                  <a16:creationId xmlns:a16="http://schemas.microsoft.com/office/drawing/2014/main" id="{371B3A92-466B-BF4A-10A2-388EFEA41A6D}"/>
                </a:ext>
              </a:extLst>
            </p:cNvPr>
            <p:cNvSpPr txBox="1"/>
            <p:nvPr/>
          </p:nvSpPr>
          <p:spPr>
            <a:xfrm>
              <a:off x="9983727" y="3076474"/>
              <a:ext cx="159541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HOUSEHOLD</a:t>
              </a:r>
              <a:b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b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INCOME</a:t>
              </a:r>
              <a:endParaRPr kumimoji="0" lang="en-GB" sz="1400" b="1" i="0" u="none" strike="noStrike" kern="1200" cap="none" spc="0" normalizeH="0" baseline="0" noProof="0" dirty="0">
                <a:ln>
                  <a:noFill/>
                </a:ln>
                <a:solidFill>
                  <a:srgbClr val="00615F"/>
                </a:solidFill>
                <a:effectLst/>
                <a:uLnTx/>
                <a:uFillTx/>
                <a:latin typeface="Arial" panose="020B0604020202020204"/>
                <a:ea typeface="+mn-ea"/>
                <a:cs typeface="Gotham Bold" pitchFamily="2" charset="0"/>
              </a:endParaRPr>
            </a:p>
          </p:txBody>
        </p:sp>
        <p:grpSp>
          <p:nvGrpSpPr>
            <p:cNvPr id="23" name="Group 56">
              <a:extLst>
                <a:ext uri="{FF2B5EF4-FFF2-40B4-BE49-F238E27FC236}">
                  <a16:creationId xmlns:a16="http://schemas.microsoft.com/office/drawing/2014/main" id="{ECDB3FE2-7CF9-9934-7770-67D3D8B9DFFB}"/>
                </a:ext>
              </a:extLst>
            </p:cNvPr>
            <p:cNvGrpSpPr>
              <a:grpSpLocks noChangeAspect="1"/>
            </p:cNvGrpSpPr>
            <p:nvPr/>
          </p:nvGrpSpPr>
          <p:grpSpPr>
            <a:xfrm>
              <a:off x="3850516" y="3220299"/>
              <a:ext cx="302368" cy="302368"/>
              <a:chOff x="4314113" y="3516018"/>
              <a:chExt cx="363697" cy="363697"/>
            </a:xfrm>
            <a:solidFill>
              <a:schemeClr val="bg1"/>
            </a:solidFill>
          </p:grpSpPr>
          <p:sp>
            <p:nvSpPr>
              <p:cNvPr id="85" name="Rectangle 57">
                <a:extLst>
                  <a:ext uri="{FF2B5EF4-FFF2-40B4-BE49-F238E27FC236}">
                    <a16:creationId xmlns:a16="http://schemas.microsoft.com/office/drawing/2014/main" id="{6E79CDD7-C97F-0DB5-59F9-AF440E1E3F0E}"/>
                  </a:ext>
                </a:extLst>
              </p:cNvPr>
              <p:cNvSpPr/>
              <p:nvPr/>
            </p:nvSpPr>
            <p:spPr>
              <a:xfrm rot="2700000">
                <a:off x="4473102" y="3516018"/>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47D985"/>
                  </a:solidFill>
                  <a:effectLst/>
                  <a:uLnTx/>
                  <a:uFillTx/>
                  <a:latin typeface="Arial" panose="020B0604020202020204"/>
                  <a:ea typeface="+mn-ea"/>
                  <a:cs typeface="+mn-cs"/>
                </a:endParaRPr>
              </a:p>
            </p:txBody>
          </p:sp>
          <p:sp>
            <p:nvSpPr>
              <p:cNvPr id="86" name="Rectangle 58">
                <a:extLst>
                  <a:ext uri="{FF2B5EF4-FFF2-40B4-BE49-F238E27FC236}">
                    <a16:creationId xmlns:a16="http://schemas.microsoft.com/office/drawing/2014/main" id="{464A5E48-846A-16DF-9221-494FFD667235}"/>
                  </a:ext>
                </a:extLst>
              </p:cNvPr>
              <p:cNvSpPr/>
              <p:nvPr/>
            </p:nvSpPr>
            <p:spPr>
              <a:xfrm rot="18900000">
                <a:off x="4473102" y="3516018"/>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47D985"/>
                  </a:solidFill>
                  <a:effectLst/>
                  <a:uLnTx/>
                  <a:uFillTx/>
                  <a:latin typeface="Arial" panose="020B0604020202020204"/>
                  <a:ea typeface="+mn-ea"/>
                  <a:cs typeface="+mn-cs"/>
                </a:endParaRPr>
              </a:p>
            </p:txBody>
          </p:sp>
        </p:grpSp>
        <p:grpSp>
          <p:nvGrpSpPr>
            <p:cNvPr id="24" name="Group 59">
              <a:extLst>
                <a:ext uri="{FF2B5EF4-FFF2-40B4-BE49-F238E27FC236}">
                  <a16:creationId xmlns:a16="http://schemas.microsoft.com/office/drawing/2014/main" id="{E783FC19-BE5B-BEA1-0953-C5570C549151}"/>
                </a:ext>
              </a:extLst>
            </p:cNvPr>
            <p:cNvGrpSpPr>
              <a:grpSpLocks noChangeAspect="1"/>
            </p:cNvGrpSpPr>
            <p:nvPr/>
          </p:nvGrpSpPr>
          <p:grpSpPr>
            <a:xfrm>
              <a:off x="9603023" y="3277268"/>
              <a:ext cx="302368" cy="188431"/>
              <a:chOff x="10294902" y="2763856"/>
              <a:chExt cx="363697" cy="158686"/>
            </a:xfrm>
            <a:solidFill>
              <a:schemeClr val="bg1"/>
            </a:solidFill>
          </p:grpSpPr>
          <p:sp>
            <p:nvSpPr>
              <p:cNvPr id="83" name="Rectangle 60">
                <a:extLst>
                  <a:ext uri="{FF2B5EF4-FFF2-40B4-BE49-F238E27FC236}">
                    <a16:creationId xmlns:a16="http://schemas.microsoft.com/office/drawing/2014/main" id="{3D976D51-A246-62C0-3C42-8B4C63AB05C0}"/>
                  </a:ext>
                </a:extLst>
              </p:cNvPr>
              <p:cNvSpPr/>
              <p:nvPr/>
            </p:nvSpPr>
            <p:spPr>
              <a:xfrm rot="5400000">
                <a:off x="10453891" y="2604867"/>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47D985"/>
                  </a:solidFill>
                  <a:effectLst/>
                  <a:uLnTx/>
                  <a:uFillTx/>
                  <a:latin typeface="Arial" panose="020B0604020202020204"/>
                  <a:ea typeface="+mn-ea"/>
                  <a:cs typeface="+mn-cs"/>
                </a:endParaRPr>
              </a:p>
            </p:txBody>
          </p:sp>
          <p:sp>
            <p:nvSpPr>
              <p:cNvPr id="84" name="Rectangle 61">
                <a:extLst>
                  <a:ext uri="{FF2B5EF4-FFF2-40B4-BE49-F238E27FC236}">
                    <a16:creationId xmlns:a16="http://schemas.microsoft.com/office/drawing/2014/main" id="{E1D632A5-BD41-E42B-BEA2-2051C0F9773E}"/>
                  </a:ext>
                </a:extLst>
              </p:cNvPr>
              <p:cNvSpPr/>
              <p:nvPr/>
            </p:nvSpPr>
            <p:spPr>
              <a:xfrm rot="5400000">
                <a:off x="10453891" y="2717834"/>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47D985"/>
                  </a:solidFill>
                  <a:effectLst/>
                  <a:uLnTx/>
                  <a:uFillTx/>
                  <a:latin typeface="Arial" panose="020B0604020202020204"/>
                  <a:ea typeface="+mn-ea"/>
                  <a:cs typeface="+mn-cs"/>
                </a:endParaRPr>
              </a:p>
            </p:txBody>
          </p:sp>
        </p:grpSp>
        <p:grpSp>
          <p:nvGrpSpPr>
            <p:cNvPr id="25" name="Group 62">
              <a:extLst>
                <a:ext uri="{FF2B5EF4-FFF2-40B4-BE49-F238E27FC236}">
                  <a16:creationId xmlns:a16="http://schemas.microsoft.com/office/drawing/2014/main" id="{594838C9-625B-C27A-BFAD-E1803F65E9F6}"/>
                </a:ext>
              </a:extLst>
            </p:cNvPr>
            <p:cNvGrpSpPr>
              <a:grpSpLocks noChangeAspect="1"/>
            </p:cNvGrpSpPr>
            <p:nvPr/>
          </p:nvGrpSpPr>
          <p:grpSpPr>
            <a:xfrm>
              <a:off x="2067950" y="3220299"/>
              <a:ext cx="302368" cy="302368"/>
              <a:chOff x="4314113" y="3516018"/>
              <a:chExt cx="363697" cy="363697"/>
            </a:xfrm>
            <a:solidFill>
              <a:schemeClr val="bg1"/>
            </a:solidFill>
          </p:grpSpPr>
          <p:sp>
            <p:nvSpPr>
              <p:cNvPr id="81" name="Rectangle 63">
                <a:extLst>
                  <a:ext uri="{FF2B5EF4-FFF2-40B4-BE49-F238E27FC236}">
                    <a16:creationId xmlns:a16="http://schemas.microsoft.com/office/drawing/2014/main" id="{DEB37B66-2C8D-325F-B999-4FD330B078C5}"/>
                  </a:ext>
                </a:extLst>
              </p:cNvPr>
              <p:cNvSpPr/>
              <p:nvPr/>
            </p:nvSpPr>
            <p:spPr>
              <a:xfrm rot="2700000">
                <a:off x="4473102" y="3516018"/>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47D985"/>
                  </a:solidFill>
                  <a:effectLst/>
                  <a:uLnTx/>
                  <a:uFillTx/>
                  <a:latin typeface="Arial" panose="020B0604020202020204"/>
                  <a:ea typeface="+mn-ea"/>
                  <a:cs typeface="+mn-cs"/>
                </a:endParaRPr>
              </a:p>
            </p:txBody>
          </p:sp>
          <p:sp>
            <p:nvSpPr>
              <p:cNvPr id="82" name="Rectangle 64">
                <a:extLst>
                  <a:ext uri="{FF2B5EF4-FFF2-40B4-BE49-F238E27FC236}">
                    <a16:creationId xmlns:a16="http://schemas.microsoft.com/office/drawing/2014/main" id="{8C25E86B-9297-1CBD-5C09-E502EAD75AC1}"/>
                  </a:ext>
                </a:extLst>
              </p:cNvPr>
              <p:cNvSpPr/>
              <p:nvPr/>
            </p:nvSpPr>
            <p:spPr>
              <a:xfrm rot="18900000">
                <a:off x="4473102" y="3516018"/>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47D985"/>
                  </a:solidFill>
                  <a:effectLst/>
                  <a:uLnTx/>
                  <a:uFillTx/>
                  <a:latin typeface="Arial" panose="020B0604020202020204"/>
                  <a:ea typeface="+mn-ea"/>
                  <a:cs typeface="+mn-cs"/>
                </a:endParaRPr>
              </a:p>
            </p:txBody>
          </p:sp>
        </p:grpSp>
        <p:grpSp>
          <p:nvGrpSpPr>
            <p:cNvPr id="26" name="Group 65">
              <a:extLst>
                <a:ext uri="{FF2B5EF4-FFF2-40B4-BE49-F238E27FC236}">
                  <a16:creationId xmlns:a16="http://schemas.microsoft.com/office/drawing/2014/main" id="{98F0BAFD-0BCB-6B84-029C-BADC48D555D9}"/>
                </a:ext>
              </a:extLst>
            </p:cNvPr>
            <p:cNvGrpSpPr>
              <a:grpSpLocks noChangeAspect="1"/>
            </p:cNvGrpSpPr>
            <p:nvPr/>
          </p:nvGrpSpPr>
          <p:grpSpPr>
            <a:xfrm rot="2700000">
              <a:off x="7519614" y="3220299"/>
              <a:ext cx="302368" cy="302368"/>
              <a:chOff x="4314113" y="3516018"/>
              <a:chExt cx="363697" cy="363697"/>
            </a:xfrm>
            <a:solidFill>
              <a:schemeClr val="bg1"/>
            </a:solidFill>
          </p:grpSpPr>
          <p:sp>
            <p:nvSpPr>
              <p:cNvPr id="79" name="Rectangle 66">
                <a:extLst>
                  <a:ext uri="{FF2B5EF4-FFF2-40B4-BE49-F238E27FC236}">
                    <a16:creationId xmlns:a16="http://schemas.microsoft.com/office/drawing/2014/main" id="{5C6C5064-C389-DA2F-E073-7E9A70390626}"/>
                  </a:ext>
                </a:extLst>
              </p:cNvPr>
              <p:cNvSpPr/>
              <p:nvPr/>
            </p:nvSpPr>
            <p:spPr>
              <a:xfrm rot="2700000">
                <a:off x="4473102" y="3516018"/>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47D985"/>
                  </a:solidFill>
                  <a:effectLst/>
                  <a:uLnTx/>
                  <a:uFillTx/>
                  <a:latin typeface="Arial" panose="020B0604020202020204"/>
                  <a:ea typeface="+mn-ea"/>
                  <a:cs typeface="+mn-cs"/>
                </a:endParaRPr>
              </a:p>
            </p:txBody>
          </p:sp>
          <p:sp>
            <p:nvSpPr>
              <p:cNvPr id="80" name="Rectangle 67">
                <a:extLst>
                  <a:ext uri="{FF2B5EF4-FFF2-40B4-BE49-F238E27FC236}">
                    <a16:creationId xmlns:a16="http://schemas.microsoft.com/office/drawing/2014/main" id="{F09CF2EC-E8CA-DEEB-2B66-E1DE99C12117}"/>
                  </a:ext>
                </a:extLst>
              </p:cNvPr>
              <p:cNvSpPr/>
              <p:nvPr/>
            </p:nvSpPr>
            <p:spPr>
              <a:xfrm rot="18900000">
                <a:off x="4473102" y="3516018"/>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47D985"/>
                  </a:solidFill>
                  <a:effectLst/>
                  <a:uLnTx/>
                  <a:uFillTx/>
                  <a:latin typeface="Arial" panose="020B0604020202020204"/>
                  <a:ea typeface="+mn-ea"/>
                  <a:cs typeface="+mn-cs"/>
                </a:endParaRPr>
              </a:p>
            </p:txBody>
          </p:sp>
        </p:grpSp>
        <p:sp>
          <p:nvSpPr>
            <p:cNvPr id="43" name="Rectangle 117">
              <a:extLst>
                <a:ext uri="{FF2B5EF4-FFF2-40B4-BE49-F238E27FC236}">
                  <a16:creationId xmlns:a16="http://schemas.microsoft.com/office/drawing/2014/main" id="{4CBD59E2-5AFB-5612-59FA-F1C4FC0B7198}"/>
                </a:ext>
              </a:extLst>
            </p:cNvPr>
            <p:cNvSpPr>
              <a:spLocks/>
            </p:cNvSpPr>
            <p:nvPr/>
          </p:nvSpPr>
          <p:spPr>
            <a:xfrm rot="5400000">
              <a:off x="5594009" y="3220299"/>
              <a:ext cx="40316" cy="3023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a:ln>
                    <a:noFill/>
                  </a:ln>
                  <a:solidFill>
                    <a:srgbClr val="47D985"/>
                  </a:solidFill>
                  <a:effectLst/>
                  <a:uLnTx/>
                  <a:uFillTx/>
                  <a:latin typeface="Arial" panose="020B0604020202020204"/>
                  <a:ea typeface="+mn-ea"/>
                  <a:cs typeface="+mn-cs"/>
                </a:rPr>
                <a:t> </a:t>
              </a:r>
              <a:endParaRPr kumimoji="0" lang="en-GB" sz="3200" b="0" i="0" u="none" strike="noStrike" kern="1200" cap="none" spc="0" normalizeH="0" baseline="0" noProof="0" dirty="0">
                <a:ln>
                  <a:noFill/>
                </a:ln>
                <a:solidFill>
                  <a:srgbClr val="47D985"/>
                </a:solidFill>
                <a:effectLst/>
                <a:uLnTx/>
                <a:uFillTx/>
                <a:latin typeface="Arial" panose="020B0604020202020204"/>
                <a:ea typeface="+mn-ea"/>
                <a:cs typeface="+mn-cs"/>
              </a:endParaRPr>
            </a:p>
          </p:txBody>
        </p:sp>
        <p:sp>
          <p:nvSpPr>
            <p:cNvPr id="44" name="TextBox 118">
              <a:extLst>
                <a:ext uri="{FF2B5EF4-FFF2-40B4-BE49-F238E27FC236}">
                  <a16:creationId xmlns:a16="http://schemas.microsoft.com/office/drawing/2014/main" id="{E6A754C9-B906-404E-DB5C-96BA3606FEFA}"/>
                </a:ext>
              </a:extLst>
            </p:cNvPr>
            <p:cNvSpPr txBox="1"/>
            <p:nvPr/>
          </p:nvSpPr>
          <p:spPr>
            <a:xfrm>
              <a:off x="636193" y="4308495"/>
              <a:ext cx="704550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615F"/>
                  </a:solidFill>
                  <a:effectLst/>
                  <a:uLnTx/>
                  <a:uFillTx/>
                  <a:latin typeface="Arial" panose="020B0604020202020204"/>
                  <a:ea typeface="+mn-ea"/>
                  <a:cs typeface="Gotham Bold" pitchFamily="2" charset="0"/>
                </a:rPr>
                <a:t>FOCUS CROP - </a:t>
              </a:r>
              <a:r>
                <a:rPr lang="en-GB" sz="2000" b="1" dirty="0">
                  <a:solidFill>
                    <a:srgbClr val="00615F"/>
                  </a:solidFill>
                  <a:latin typeface="Arial" panose="020B0604020202020204"/>
                  <a:cs typeface="Gotham Bold" pitchFamily="2" charset="0"/>
                </a:rPr>
                <a:t>PALM</a:t>
              </a:r>
              <a:endParaRPr kumimoji="0" lang="en-GB" sz="2000" b="1" i="0" u="none" strike="noStrike" kern="1200" cap="none" spc="0" normalizeH="0" baseline="0" noProof="0" dirty="0">
                <a:ln>
                  <a:noFill/>
                </a:ln>
                <a:solidFill>
                  <a:srgbClr val="00615F"/>
                </a:solidFill>
                <a:effectLst/>
                <a:uLnTx/>
                <a:uFillTx/>
                <a:latin typeface="Arial" panose="020B0604020202020204"/>
                <a:ea typeface="+mn-ea"/>
                <a:cs typeface="Gotham Bold" pitchFamily="2" charset="0"/>
              </a:endParaRPr>
            </a:p>
          </p:txBody>
        </p:sp>
        <p:grpSp>
          <p:nvGrpSpPr>
            <p:cNvPr id="45" name="Group 119">
              <a:extLst>
                <a:ext uri="{FF2B5EF4-FFF2-40B4-BE49-F238E27FC236}">
                  <a16:creationId xmlns:a16="http://schemas.microsoft.com/office/drawing/2014/main" id="{0D4FF532-3BEE-135C-BC4A-7DFE779C5551}"/>
                </a:ext>
              </a:extLst>
            </p:cNvPr>
            <p:cNvGrpSpPr/>
            <p:nvPr/>
          </p:nvGrpSpPr>
          <p:grpSpPr>
            <a:xfrm>
              <a:off x="772315" y="3924402"/>
              <a:ext cx="6773264" cy="355445"/>
              <a:chOff x="2552700" y="2489214"/>
              <a:chExt cx="4339868" cy="253916"/>
            </a:xfrm>
          </p:grpSpPr>
          <p:cxnSp>
            <p:nvCxnSpPr>
              <p:cNvPr id="46" name="Straight Connector 120">
                <a:extLst>
                  <a:ext uri="{FF2B5EF4-FFF2-40B4-BE49-F238E27FC236}">
                    <a16:creationId xmlns:a16="http://schemas.microsoft.com/office/drawing/2014/main" id="{B20CB934-8C6F-A1A9-FC4C-6777FE783758}"/>
                  </a:ext>
                </a:extLst>
              </p:cNvPr>
              <p:cNvCxnSpPr/>
              <p:nvPr/>
            </p:nvCxnSpPr>
            <p:spPr>
              <a:xfrm>
                <a:off x="2552700" y="2489214"/>
                <a:ext cx="0" cy="25391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121">
                <a:extLst>
                  <a:ext uri="{FF2B5EF4-FFF2-40B4-BE49-F238E27FC236}">
                    <a16:creationId xmlns:a16="http://schemas.microsoft.com/office/drawing/2014/main" id="{9A370E31-3608-7CFD-0C52-00AC60FE188F}"/>
                  </a:ext>
                </a:extLst>
              </p:cNvPr>
              <p:cNvCxnSpPr/>
              <p:nvPr/>
            </p:nvCxnSpPr>
            <p:spPr>
              <a:xfrm>
                <a:off x="6883400" y="2489214"/>
                <a:ext cx="0" cy="25391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122">
                <a:extLst>
                  <a:ext uri="{FF2B5EF4-FFF2-40B4-BE49-F238E27FC236}">
                    <a16:creationId xmlns:a16="http://schemas.microsoft.com/office/drawing/2014/main" id="{7A026270-6A94-D9A2-FDFC-F63AF61F3190}"/>
                  </a:ext>
                </a:extLst>
              </p:cNvPr>
              <p:cNvCxnSpPr>
                <a:cxnSpLocks/>
              </p:cNvCxnSpPr>
              <p:nvPr/>
            </p:nvCxnSpPr>
            <p:spPr>
              <a:xfrm flipH="1">
                <a:off x="2552700" y="2737234"/>
                <a:ext cx="433986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Graphic 48">
              <a:extLst>
                <a:ext uri="{FF2B5EF4-FFF2-40B4-BE49-F238E27FC236}">
                  <a16:creationId xmlns:a16="http://schemas.microsoft.com/office/drawing/2014/main" id="{0C2E8CE2-16CC-BBE8-4E4A-6DAD543F3CDE}"/>
                </a:ext>
              </a:extLst>
            </p:cNvPr>
            <p:cNvSpPr/>
            <p:nvPr/>
          </p:nvSpPr>
          <p:spPr>
            <a:xfrm>
              <a:off x="748127" y="1849594"/>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615F"/>
                </a:solidFill>
                <a:effectLst/>
                <a:uLnTx/>
                <a:uFillTx/>
                <a:latin typeface="Arial" panose="020B0604020202020204"/>
                <a:ea typeface="+mn-ea"/>
                <a:cs typeface="+mn-cs"/>
              </a:endParaRPr>
            </a:p>
          </p:txBody>
        </p:sp>
        <p:sp>
          <p:nvSpPr>
            <p:cNvPr id="4" name="Graphic 48">
              <a:extLst>
                <a:ext uri="{FF2B5EF4-FFF2-40B4-BE49-F238E27FC236}">
                  <a16:creationId xmlns:a16="http://schemas.microsoft.com/office/drawing/2014/main" id="{DFE46EDF-587B-1206-F549-9E980AC2502B}"/>
                </a:ext>
              </a:extLst>
            </p:cNvPr>
            <p:cNvSpPr/>
            <p:nvPr/>
          </p:nvSpPr>
          <p:spPr>
            <a:xfrm rot="900000">
              <a:off x="2545900" y="1849594"/>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615F"/>
                </a:solidFill>
                <a:effectLst/>
                <a:uLnTx/>
                <a:uFillTx/>
                <a:latin typeface="Arial" panose="020B0604020202020204"/>
                <a:ea typeface="+mn-ea"/>
                <a:cs typeface="+mn-cs"/>
              </a:endParaRPr>
            </a:p>
          </p:txBody>
        </p:sp>
        <p:sp>
          <p:nvSpPr>
            <p:cNvPr id="10" name="Graphic 48">
              <a:extLst>
                <a:ext uri="{FF2B5EF4-FFF2-40B4-BE49-F238E27FC236}">
                  <a16:creationId xmlns:a16="http://schemas.microsoft.com/office/drawing/2014/main" id="{6FB3D088-BDD0-C917-735A-25CCC041B24E}"/>
                </a:ext>
              </a:extLst>
            </p:cNvPr>
            <p:cNvSpPr/>
            <p:nvPr/>
          </p:nvSpPr>
          <p:spPr>
            <a:xfrm rot="12600000">
              <a:off x="4215435" y="1849594"/>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615F"/>
                </a:solidFill>
                <a:effectLst/>
                <a:uLnTx/>
                <a:uFillTx/>
                <a:latin typeface="Arial" panose="020B0604020202020204"/>
                <a:ea typeface="+mn-ea"/>
                <a:cs typeface="+mn-cs"/>
              </a:endParaRPr>
            </a:p>
          </p:txBody>
        </p:sp>
        <p:sp>
          <p:nvSpPr>
            <p:cNvPr id="11" name="Graphic 48">
              <a:extLst>
                <a:ext uri="{FF2B5EF4-FFF2-40B4-BE49-F238E27FC236}">
                  <a16:creationId xmlns:a16="http://schemas.microsoft.com/office/drawing/2014/main" id="{F30DE8E8-BDFD-3C2B-6E2E-3DF85BA4ADA0}"/>
                </a:ext>
              </a:extLst>
            </p:cNvPr>
            <p:cNvSpPr/>
            <p:nvPr/>
          </p:nvSpPr>
          <p:spPr>
            <a:xfrm rot="14400000">
              <a:off x="6034550" y="1849595"/>
              <a:ext cx="1200270"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615F"/>
                </a:solidFill>
                <a:effectLst/>
                <a:uLnTx/>
                <a:uFillTx/>
                <a:latin typeface="Arial" panose="020B0604020202020204"/>
                <a:ea typeface="+mn-ea"/>
                <a:cs typeface="+mn-cs"/>
              </a:endParaRPr>
            </a:p>
          </p:txBody>
        </p:sp>
        <p:sp>
          <p:nvSpPr>
            <p:cNvPr id="28" name="Graphic 48">
              <a:extLst>
                <a:ext uri="{FF2B5EF4-FFF2-40B4-BE49-F238E27FC236}">
                  <a16:creationId xmlns:a16="http://schemas.microsoft.com/office/drawing/2014/main" id="{A0181444-4F1B-92C7-4C3C-E17C84EE1AFC}"/>
                </a:ext>
              </a:extLst>
            </p:cNvPr>
            <p:cNvSpPr/>
            <p:nvPr/>
          </p:nvSpPr>
          <p:spPr>
            <a:xfrm rot="20700000">
              <a:off x="8086990" y="1849594"/>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615F"/>
                </a:solidFill>
                <a:effectLst/>
                <a:uLnTx/>
                <a:uFillTx/>
                <a:latin typeface="Arial" panose="020B0604020202020204"/>
                <a:ea typeface="+mn-ea"/>
                <a:cs typeface="+mn-cs"/>
              </a:endParaRPr>
            </a:p>
          </p:txBody>
        </p:sp>
        <p:sp>
          <p:nvSpPr>
            <p:cNvPr id="66" name="Graphic 48">
              <a:extLst>
                <a:ext uri="{FF2B5EF4-FFF2-40B4-BE49-F238E27FC236}">
                  <a16:creationId xmlns:a16="http://schemas.microsoft.com/office/drawing/2014/main" id="{61AE199C-5199-C96B-9AAE-1DAA816F89DF}"/>
                </a:ext>
              </a:extLst>
            </p:cNvPr>
            <p:cNvSpPr/>
            <p:nvPr/>
          </p:nvSpPr>
          <p:spPr>
            <a:xfrm rot="900000">
              <a:off x="10181298" y="1849594"/>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00615F"/>
                </a:solidFill>
                <a:effectLst/>
                <a:uLnTx/>
                <a:uFillTx/>
                <a:latin typeface="Arial" panose="020B0604020202020204"/>
                <a:ea typeface="+mn-ea"/>
                <a:cs typeface="+mn-cs"/>
              </a:endParaRPr>
            </a:p>
          </p:txBody>
        </p:sp>
        <p:pic>
          <p:nvPicPr>
            <p:cNvPr id="93" name="Graphic 92">
              <a:extLst>
                <a:ext uri="{FF2B5EF4-FFF2-40B4-BE49-F238E27FC236}">
                  <a16:creationId xmlns:a16="http://schemas.microsoft.com/office/drawing/2014/main" id="{C98DFC68-D54C-E476-EBF6-A7B96DFDF2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66772" y="2127268"/>
              <a:ext cx="562978" cy="562979"/>
            </a:xfrm>
            <a:prstGeom prst="rect">
              <a:avLst/>
            </a:prstGeom>
          </p:spPr>
        </p:pic>
        <p:pic>
          <p:nvPicPr>
            <p:cNvPr id="95" name="Graphic 94">
              <a:extLst>
                <a:ext uri="{FF2B5EF4-FFF2-40B4-BE49-F238E27FC236}">
                  <a16:creationId xmlns:a16="http://schemas.microsoft.com/office/drawing/2014/main" id="{0BDC1FFB-5AD6-84CD-B60F-573C1BDE8F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40" y="2135992"/>
              <a:ext cx="562978" cy="562979"/>
            </a:xfrm>
            <a:prstGeom prst="rect">
              <a:avLst/>
            </a:prstGeom>
          </p:spPr>
        </p:pic>
        <p:pic>
          <p:nvPicPr>
            <p:cNvPr id="97" name="Graphic 96">
              <a:extLst>
                <a:ext uri="{FF2B5EF4-FFF2-40B4-BE49-F238E27FC236}">
                  <a16:creationId xmlns:a16="http://schemas.microsoft.com/office/drawing/2014/main" id="{158A65FF-A026-D56C-8076-D297235C6E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98914" y="2135992"/>
              <a:ext cx="562978" cy="562979"/>
            </a:xfrm>
            <a:prstGeom prst="rect">
              <a:avLst/>
            </a:prstGeom>
          </p:spPr>
        </p:pic>
        <p:pic>
          <p:nvPicPr>
            <p:cNvPr id="72" name="Graphic 71">
              <a:extLst>
                <a:ext uri="{FF2B5EF4-FFF2-40B4-BE49-F238E27FC236}">
                  <a16:creationId xmlns:a16="http://schemas.microsoft.com/office/drawing/2014/main" id="{3CBF2A63-D9D9-C5AA-09EE-DB7A3D38857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421589" y="2075265"/>
              <a:ext cx="562978" cy="562979"/>
            </a:xfrm>
            <a:prstGeom prst="rect">
              <a:avLst/>
            </a:prstGeom>
          </p:spPr>
        </p:pic>
        <p:sp>
          <p:nvSpPr>
            <p:cNvPr id="94" name="TextBox 52">
              <a:extLst>
                <a:ext uri="{FF2B5EF4-FFF2-40B4-BE49-F238E27FC236}">
                  <a16:creationId xmlns:a16="http://schemas.microsoft.com/office/drawing/2014/main" id="{29FA46E7-B335-82B5-60A7-7E648B0A4DD0}"/>
                </a:ext>
              </a:extLst>
            </p:cNvPr>
            <p:cNvSpPr txBox="1"/>
            <p:nvPr/>
          </p:nvSpPr>
          <p:spPr>
            <a:xfrm>
              <a:off x="4374480" y="3225431"/>
              <a:ext cx="9202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PRICE</a:t>
              </a:r>
              <a:endParaRPr kumimoji="0" lang="en-GB" sz="1400" b="1" i="0" u="none" strike="noStrike" kern="1200" cap="none" spc="0" normalizeH="0" baseline="0" noProof="0" dirty="0">
                <a:ln>
                  <a:noFill/>
                </a:ln>
                <a:solidFill>
                  <a:srgbClr val="00615F"/>
                </a:solidFill>
                <a:effectLst/>
                <a:uLnTx/>
                <a:uFillTx/>
                <a:latin typeface="Arial" panose="020B0604020202020204"/>
                <a:ea typeface="+mn-ea"/>
                <a:cs typeface="Gotham Bold" pitchFamily="2" charset="0"/>
              </a:endParaRPr>
            </a:p>
          </p:txBody>
        </p:sp>
        <p:pic>
          <p:nvPicPr>
            <p:cNvPr id="12" name="Graphic 11">
              <a:extLst>
                <a:ext uri="{FF2B5EF4-FFF2-40B4-BE49-F238E27FC236}">
                  <a16:creationId xmlns:a16="http://schemas.microsoft.com/office/drawing/2014/main" id="{0FFB7968-CD19-CA1E-E53D-6E05989014E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38371" y="2147331"/>
              <a:ext cx="592628" cy="522852"/>
            </a:xfrm>
            <a:prstGeom prst="rect">
              <a:avLst/>
            </a:prstGeom>
          </p:spPr>
        </p:pic>
      </p:grpSp>
      <p:pic>
        <p:nvPicPr>
          <p:cNvPr id="8" name="Picture 7">
            <a:extLst>
              <a:ext uri="{FF2B5EF4-FFF2-40B4-BE49-F238E27FC236}">
                <a16:creationId xmlns:a16="http://schemas.microsoft.com/office/drawing/2014/main" id="{89A944E9-7C7E-3566-0BDE-20B0AC121923}"/>
              </a:ext>
            </a:extLst>
          </p:cNvPr>
          <p:cNvPicPr>
            <a:picLocks noChangeAspect="1"/>
          </p:cNvPicPr>
          <p:nvPr/>
        </p:nvPicPr>
        <p:blipFill>
          <a:blip r:embed="rId13"/>
          <a:stretch>
            <a:fillRect/>
          </a:stretch>
        </p:blipFill>
        <p:spPr>
          <a:xfrm>
            <a:off x="2829567" y="2437513"/>
            <a:ext cx="609600" cy="666750"/>
          </a:xfrm>
          <a:prstGeom prst="rect">
            <a:avLst/>
          </a:prstGeom>
        </p:spPr>
      </p:pic>
    </p:spTree>
    <p:extLst>
      <p:ext uri="{BB962C8B-B14F-4D97-AF65-F5344CB8AC3E}">
        <p14:creationId xmlns:p14="http://schemas.microsoft.com/office/powerpoint/2010/main" val="290419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B3F1304E-B984-53DF-83A6-0F60CE60E5B1}"/>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4303E-A424-9540-91A8-53B791C91E8F}" type="slidenum">
              <a:rPr kumimoji="0" lang="en-GB" sz="1000" b="0" i="0" u="none" strike="noStrike" kern="1200" cap="none" spc="0" normalizeH="0" baseline="0" noProof="0" smtClean="0">
                <a:ln>
                  <a:noFill/>
                </a:ln>
                <a:solidFill>
                  <a:srgbClr val="00615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000" b="0" i="0" u="none" strike="noStrike" kern="1200" cap="none" spc="0" normalizeH="0" baseline="0" noProof="0">
              <a:ln>
                <a:noFill/>
              </a:ln>
              <a:solidFill>
                <a:srgbClr val="00615F"/>
              </a:solidFill>
              <a:effectLst/>
              <a:uLnTx/>
              <a:uFillTx/>
              <a:latin typeface="Arial" panose="020B0604020202020204"/>
              <a:ea typeface="+mn-ea"/>
              <a:cs typeface="+mn-cs"/>
            </a:endParaRPr>
          </a:p>
        </p:txBody>
      </p:sp>
      <p:sp>
        <p:nvSpPr>
          <p:cNvPr id="5" name="Titel 4">
            <a:extLst>
              <a:ext uri="{FF2B5EF4-FFF2-40B4-BE49-F238E27FC236}">
                <a16:creationId xmlns:a16="http://schemas.microsoft.com/office/drawing/2014/main" id="{5EEE4639-D20E-6CB4-BB96-C55F4E33DE44}"/>
              </a:ext>
            </a:extLst>
          </p:cNvPr>
          <p:cNvSpPr>
            <a:spLocks noGrp="1"/>
          </p:cNvSpPr>
          <p:nvPr>
            <p:ph type="title"/>
          </p:nvPr>
        </p:nvSpPr>
        <p:spPr>
          <a:xfrm>
            <a:off x="1371600" y="549277"/>
            <a:ext cx="10690546" cy="428918"/>
          </a:xfrm>
        </p:spPr>
        <p:txBody>
          <a:bodyPr/>
          <a:lstStyle/>
          <a:p>
            <a:r>
              <a:rPr lang="en-GB" dirty="0"/>
              <a:t>For Palm: relevant parameters of income drivers</a:t>
            </a:r>
          </a:p>
        </p:txBody>
      </p:sp>
      <p:sp>
        <p:nvSpPr>
          <p:cNvPr id="6" name="Tijdelijke aanduiding voor tekst 5">
            <a:extLst>
              <a:ext uri="{FF2B5EF4-FFF2-40B4-BE49-F238E27FC236}">
                <a16:creationId xmlns:a16="http://schemas.microsoft.com/office/drawing/2014/main" id="{96E71212-0D76-961B-8EF1-87ECFA26D73D}"/>
              </a:ext>
            </a:extLst>
          </p:cNvPr>
          <p:cNvSpPr>
            <a:spLocks noGrp="1"/>
          </p:cNvSpPr>
          <p:nvPr>
            <p:ph type="body" sz="quarter" idx="18"/>
          </p:nvPr>
        </p:nvSpPr>
        <p:spPr>
          <a:xfrm>
            <a:off x="1385941" y="1051658"/>
            <a:ext cx="10147247" cy="411162"/>
          </a:xfrm>
        </p:spPr>
        <p:txBody>
          <a:bodyPr/>
          <a:lstStyle/>
          <a:p>
            <a:r>
              <a:rPr lang="en-GB"/>
              <a:t>Context determines which are most relevant</a:t>
            </a:r>
          </a:p>
        </p:txBody>
      </p:sp>
      <p:sp>
        <p:nvSpPr>
          <p:cNvPr id="17" name="TextBox 50">
            <a:extLst>
              <a:ext uri="{FF2B5EF4-FFF2-40B4-BE49-F238E27FC236}">
                <a16:creationId xmlns:a16="http://schemas.microsoft.com/office/drawing/2014/main" id="{813D8C2B-867A-D6D3-CD35-EA437A682B71}"/>
              </a:ext>
            </a:extLst>
          </p:cNvPr>
          <p:cNvSpPr txBox="1"/>
          <p:nvPr/>
        </p:nvSpPr>
        <p:spPr>
          <a:xfrm>
            <a:off x="740082" y="3225433"/>
            <a:ext cx="163636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LAND</a:t>
            </a:r>
          </a:p>
        </p:txBody>
      </p:sp>
      <p:sp>
        <p:nvSpPr>
          <p:cNvPr id="18" name="TextBox 51">
            <a:extLst>
              <a:ext uri="{FF2B5EF4-FFF2-40B4-BE49-F238E27FC236}">
                <a16:creationId xmlns:a16="http://schemas.microsoft.com/office/drawing/2014/main" id="{C298954D-EF54-7961-4FF1-AE00E0654A12}"/>
              </a:ext>
            </a:extLst>
          </p:cNvPr>
          <p:cNvSpPr txBox="1"/>
          <p:nvPr/>
        </p:nvSpPr>
        <p:spPr>
          <a:xfrm>
            <a:off x="2670491" y="3225431"/>
            <a:ext cx="1800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VOLUME</a:t>
            </a:r>
          </a:p>
        </p:txBody>
      </p:sp>
      <p:sp>
        <p:nvSpPr>
          <p:cNvPr id="19" name="TextBox 52">
            <a:extLst>
              <a:ext uri="{FF2B5EF4-FFF2-40B4-BE49-F238E27FC236}">
                <a16:creationId xmlns:a16="http://schemas.microsoft.com/office/drawing/2014/main" id="{9DFA7C43-5B57-5668-2259-8DCAA70E19C2}"/>
              </a:ext>
            </a:extLst>
          </p:cNvPr>
          <p:cNvSpPr txBox="1"/>
          <p:nvPr/>
        </p:nvSpPr>
        <p:spPr>
          <a:xfrm>
            <a:off x="4659391" y="3225431"/>
            <a:ext cx="1980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PRICE</a:t>
            </a:r>
          </a:p>
        </p:txBody>
      </p:sp>
      <p:sp>
        <p:nvSpPr>
          <p:cNvPr id="20" name="TextBox 53">
            <a:extLst>
              <a:ext uri="{FF2B5EF4-FFF2-40B4-BE49-F238E27FC236}">
                <a16:creationId xmlns:a16="http://schemas.microsoft.com/office/drawing/2014/main" id="{D5ECB111-E9B0-A4A8-85BA-5525E9EFDCC6}"/>
              </a:ext>
            </a:extLst>
          </p:cNvPr>
          <p:cNvSpPr txBox="1"/>
          <p:nvPr/>
        </p:nvSpPr>
        <p:spPr>
          <a:xfrm>
            <a:off x="7081192" y="3076471"/>
            <a:ext cx="19800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COST OF</a:t>
            </a:r>
            <a:b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b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PRODUCTION</a:t>
            </a:r>
          </a:p>
        </p:txBody>
      </p:sp>
      <p:sp>
        <p:nvSpPr>
          <p:cNvPr id="21" name="TextBox 54">
            <a:extLst>
              <a:ext uri="{FF2B5EF4-FFF2-40B4-BE49-F238E27FC236}">
                <a16:creationId xmlns:a16="http://schemas.microsoft.com/office/drawing/2014/main" id="{57A1B1C7-9F1D-2E85-FD7D-DFA295B287A0}"/>
              </a:ext>
            </a:extLst>
          </p:cNvPr>
          <p:cNvSpPr txBox="1"/>
          <p:nvPr/>
        </p:nvSpPr>
        <p:spPr>
          <a:xfrm>
            <a:off x="9550616" y="3076474"/>
            <a:ext cx="19800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DIVERSIFIED</a:t>
            </a:r>
            <a:b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b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INCOME</a:t>
            </a:r>
          </a:p>
        </p:txBody>
      </p:sp>
      <p:sp>
        <p:nvSpPr>
          <p:cNvPr id="3" name="Graphic 48">
            <a:extLst>
              <a:ext uri="{FF2B5EF4-FFF2-40B4-BE49-F238E27FC236}">
                <a16:creationId xmlns:a16="http://schemas.microsoft.com/office/drawing/2014/main" id="{0C2E8CE2-16CC-BBE8-4E4A-6DAD543F3CDE}"/>
              </a:ext>
            </a:extLst>
          </p:cNvPr>
          <p:cNvSpPr/>
          <p:nvPr/>
        </p:nvSpPr>
        <p:spPr>
          <a:xfrm>
            <a:off x="958130" y="1849595"/>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sp>
        <p:nvSpPr>
          <p:cNvPr id="4" name="Graphic 48">
            <a:extLst>
              <a:ext uri="{FF2B5EF4-FFF2-40B4-BE49-F238E27FC236}">
                <a16:creationId xmlns:a16="http://schemas.microsoft.com/office/drawing/2014/main" id="{DFE46EDF-587B-1206-F549-9E980AC2502B}"/>
              </a:ext>
            </a:extLst>
          </p:cNvPr>
          <p:cNvSpPr/>
          <p:nvPr/>
        </p:nvSpPr>
        <p:spPr>
          <a:xfrm rot="900000">
            <a:off x="2970357" y="1849595"/>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sp>
        <p:nvSpPr>
          <p:cNvPr id="10" name="Graphic 48">
            <a:extLst>
              <a:ext uri="{FF2B5EF4-FFF2-40B4-BE49-F238E27FC236}">
                <a16:creationId xmlns:a16="http://schemas.microsoft.com/office/drawing/2014/main" id="{6FB3D088-BDD0-C917-735A-25CCC041B24E}"/>
              </a:ext>
            </a:extLst>
          </p:cNvPr>
          <p:cNvSpPr/>
          <p:nvPr/>
        </p:nvSpPr>
        <p:spPr>
          <a:xfrm rot="12600000">
            <a:off x="5049257" y="1849595"/>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sp>
        <p:nvSpPr>
          <p:cNvPr id="11" name="Graphic 48">
            <a:extLst>
              <a:ext uri="{FF2B5EF4-FFF2-40B4-BE49-F238E27FC236}">
                <a16:creationId xmlns:a16="http://schemas.microsoft.com/office/drawing/2014/main" id="{F30DE8E8-BDFD-3C2B-6E2E-3DF85BA4ADA0}"/>
              </a:ext>
            </a:extLst>
          </p:cNvPr>
          <p:cNvSpPr/>
          <p:nvPr/>
        </p:nvSpPr>
        <p:spPr>
          <a:xfrm rot="14400000">
            <a:off x="7471057" y="1849596"/>
            <a:ext cx="1200270"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sp>
        <p:nvSpPr>
          <p:cNvPr id="28" name="Graphic 48">
            <a:extLst>
              <a:ext uri="{FF2B5EF4-FFF2-40B4-BE49-F238E27FC236}">
                <a16:creationId xmlns:a16="http://schemas.microsoft.com/office/drawing/2014/main" id="{A0181444-4F1B-92C7-4C3C-E17C84EE1AFC}"/>
              </a:ext>
            </a:extLst>
          </p:cNvPr>
          <p:cNvSpPr/>
          <p:nvPr/>
        </p:nvSpPr>
        <p:spPr>
          <a:xfrm rot="20700000">
            <a:off x="9940482" y="1849595"/>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pic>
        <p:nvPicPr>
          <p:cNvPr id="93" name="Graphic 92">
            <a:extLst>
              <a:ext uri="{FF2B5EF4-FFF2-40B4-BE49-F238E27FC236}">
                <a16:creationId xmlns:a16="http://schemas.microsoft.com/office/drawing/2014/main" id="{C98DFC68-D54C-E476-EBF6-A7B96DFDF2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76775" y="2127269"/>
            <a:ext cx="562978" cy="562979"/>
          </a:xfrm>
          <a:prstGeom prst="rect">
            <a:avLst/>
          </a:prstGeom>
        </p:spPr>
      </p:pic>
      <p:pic>
        <p:nvPicPr>
          <p:cNvPr id="95" name="Graphic 94">
            <a:extLst>
              <a:ext uri="{FF2B5EF4-FFF2-40B4-BE49-F238E27FC236}">
                <a16:creationId xmlns:a16="http://schemas.microsoft.com/office/drawing/2014/main" id="{0BDC1FFB-5AD6-84CD-B60F-573C1BDE8F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67902" y="2135993"/>
            <a:ext cx="562978" cy="562979"/>
          </a:xfrm>
          <a:prstGeom prst="rect">
            <a:avLst/>
          </a:prstGeom>
        </p:spPr>
      </p:pic>
      <p:pic>
        <p:nvPicPr>
          <p:cNvPr id="96" name="Graphic 95">
            <a:extLst>
              <a:ext uri="{FF2B5EF4-FFF2-40B4-BE49-F238E27FC236}">
                <a16:creationId xmlns:a16="http://schemas.microsoft.com/office/drawing/2014/main" id="{699A1FB3-9897-D5F3-8088-46B52E80FA1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89002" y="2124269"/>
            <a:ext cx="562978" cy="562979"/>
          </a:xfrm>
          <a:prstGeom prst="rect">
            <a:avLst/>
          </a:prstGeom>
        </p:spPr>
      </p:pic>
      <p:pic>
        <p:nvPicPr>
          <p:cNvPr id="97" name="Graphic 96">
            <a:extLst>
              <a:ext uri="{FF2B5EF4-FFF2-40B4-BE49-F238E27FC236}">
                <a16:creationId xmlns:a16="http://schemas.microsoft.com/office/drawing/2014/main" id="{158A65FF-A026-D56C-8076-D297235C6E3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259127" y="2116943"/>
            <a:ext cx="562978" cy="562979"/>
          </a:xfrm>
          <a:prstGeom prst="rect">
            <a:avLst/>
          </a:prstGeom>
        </p:spPr>
      </p:pic>
      <p:sp>
        <p:nvSpPr>
          <p:cNvPr id="15" name="Tekstvak 14">
            <a:extLst>
              <a:ext uri="{FF2B5EF4-FFF2-40B4-BE49-F238E27FC236}">
                <a16:creationId xmlns:a16="http://schemas.microsoft.com/office/drawing/2014/main" id="{AE9B5121-4040-F1DA-FD08-7C1364DD1F3A}"/>
              </a:ext>
            </a:extLst>
          </p:cNvPr>
          <p:cNvSpPr txBox="1"/>
          <p:nvPr/>
        </p:nvSpPr>
        <p:spPr>
          <a:xfrm>
            <a:off x="740082" y="3632755"/>
            <a:ext cx="1636364" cy="1995765"/>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800"/>
              </a:spcBef>
              <a:spcAft>
                <a:spcPts val="80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Size</a:t>
            </a:r>
          </a:p>
          <a:p>
            <a:pPr algn="ctr">
              <a:spcBef>
                <a:spcPts val="800"/>
              </a:spcBef>
              <a:spcAft>
                <a:spcPts val="800"/>
              </a:spcAft>
            </a:pPr>
            <a:r>
              <a:rPr lang="en-GB" sz="1200" dirty="0">
                <a:solidFill>
                  <a:srgbClr val="FFFFFF"/>
                </a:solidFill>
                <a:cs typeface="Arial" panose="020B0604020202020204" pitchFamily="34" charset="0"/>
              </a:rPr>
              <a:t>Land tenure</a:t>
            </a:r>
          </a:p>
          <a:p>
            <a:pPr marL="0" marR="0" lvl="0" indent="0" algn="ctr" defTabSz="914400" rtl="0" eaLnBrk="1" fontAlgn="auto" latinLnBrk="0" hangingPunct="1">
              <a:lnSpc>
                <a:spcPct val="100000"/>
              </a:lnSpc>
              <a:spcBef>
                <a:spcPts val="800"/>
              </a:spcBef>
              <a:spcAft>
                <a:spcPts val="80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Use/management</a:t>
            </a:r>
          </a:p>
        </p:txBody>
      </p:sp>
      <p:sp>
        <p:nvSpPr>
          <p:cNvPr id="16" name="Tekstvak 15">
            <a:extLst>
              <a:ext uri="{FF2B5EF4-FFF2-40B4-BE49-F238E27FC236}">
                <a16:creationId xmlns:a16="http://schemas.microsoft.com/office/drawing/2014/main" id="{6F5F9440-33BA-0306-3084-4CCC588FA8AC}"/>
              </a:ext>
            </a:extLst>
          </p:cNvPr>
          <p:cNvSpPr txBox="1"/>
          <p:nvPr/>
        </p:nvSpPr>
        <p:spPr>
          <a:xfrm>
            <a:off x="2670491" y="3632755"/>
            <a:ext cx="1800000" cy="1995765"/>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800"/>
              </a:spcBef>
              <a:spcAft>
                <a:spcPts val="80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Productivity</a:t>
            </a:r>
            <a:r>
              <a:rPr kumimoji="0" lang="en-GB" sz="1200" b="0" i="0" u="none" strike="noStrike" kern="1200" cap="none" spc="0" normalizeH="0" noProof="0" dirty="0">
                <a:ln>
                  <a:noFill/>
                </a:ln>
                <a:solidFill>
                  <a:srgbClr val="FFFFFF"/>
                </a:solidFill>
                <a:effectLst/>
                <a:uLnTx/>
                <a:uFillTx/>
                <a:latin typeface="Arial" panose="020B0604020202020204"/>
                <a:ea typeface="+mn-ea"/>
                <a:cs typeface="Arial" panose="020B0604020202020204" pitchFamily="34" charset="0"/>
              </a:rPr>
              <a:t> &amp;</a:t>
            </a: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 yield</a:t>
            </a:r>
          </a:p>
          <a:p>
            <a:pPr lvl="0" algn="ctr">
              <a:spcBef>
                <a:spcPts val="800"/>
              </a:spcBef>
              <a:spcAft>
                <a:spcPts val="800"/>
              </a:spcAft>
            </a:pPr>
            <a:r>
              <a:rPr lang="en-GB" sz="1200" dirty="0">
                <a:solidFill>
                  <a:srgbClr val="FFFFFF"/>
                </a:solidFill>
                <a:cs typeface="Arial" panose="020B0604020202020204" pitchFamily="34" charset="0"/>
              </a:rPr>
              <a:t>Loss The Oil Extraction Rate (OER) (depending on quality of the FFB)</a:t>
            </a:r>
          </a:p>
          <a:p>
            <a:pPr marL="0" marR="0" lvl="0" indent="0" algn="ctr" defTabSz="914400" rtl="0" eaLnBrk="1" fontAlgn="auto" latinLnBrk="0" hangingPunct="1">
              <a:lnSpc>
                <a:spcPct val="100000"/>
              </a:lnSpc>
              <a:spcBef>
                <a:spcPts val="800"/>
              </a:spcBef>
              <a:spcAft>
                <a:spcPts val="80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Number and capacity of mills reachable before deterioration of FFB</a:t>
            </a:r>
          </a:p>
          <a:p>
            <a:pPr marL="0" marR="0" lvl="0" indent="0" algn="ctr" defTabSz="914400" rtl="0" eaLnBrk="1" fontAlgn="auto" latinLnBrk="0" hangingPunct="1">
              <a:lnSpc>
                <a:spcPct val="100000"/>
              </a:lnSpc>
              <a:spcBef>
                <a:spcPts val="800"/>
              </a:spcBef>
              <a:spcAft>
                <a:spcPts val="800"/>
              </a:spcAft>
              <a:buClrTx/>
              <a:buSzTx/>
              <a:buFontTx/>
              <a:buNone/>
              <a:tabLst/>
              <a:defRPr/>
            </a:pPr>
            <a:r>
              <a:rPr kumimoji="0" lang="en-GB" sz="1200" b="0" i="0" u="none" strike="noStrike" kern="1200" cap="none" spc="0" normalizeH="0" baseline="0" noProof="0" dirty="0" err="1">
                <a:ln>
                  <a:noFill/>
                </a:ln>
                <a:solidFill>
                  <a:srgbClr val="FFFFFF"/>
                </a:solidFill>
                <a:effectLst/>
                <a:uLnTx/>
                <a:uFillTx/>
                <a:latin typeface="Arial" panose="020B0604020202020204"/>
                <a:ea typeface="+mn-ea"/>
                <a:cs typeface="Arial" panose="020B0604020202020204" pitchFamily="34" charset="0"/>
              </a:rPr>
              <a:t>Relaibility</a:t>
            </a: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 and fairness of weighing and quality control</a:t>
            </a:r>
            <a:r>
              <a:rPr kumimoji="0" lang="en-GB" sz="1200" b="0" i="0" u="none" strike="noStrike" kern="1200" cap="none" spc="0" normalizeH="0" noProof="0" dirty="0">
                <a:ln>
                  <a:noFill/>
                </a:ln>
                <a:solidFill>
                  <a:srgbClr val="FFFFFF"/>
                </a:solidFill>
                <a:effectLst/>
                <a:uLnTx/>
                <a:uFillTx/>
                <a:latin typeface="Arial" panose="020B0604020202020204"/>
                <a:ea typeface="+mn-ea"/>
                <a:cs typeface="Arial" panose="020B0604020202020204" pitchFamily="34" charset="0"/>
              </a:rPr>
              <a:t> procedures</a:t>
            </a: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800"/>
              </a:spcBef>
              <a:spcAft>
                <a:spcPts val="80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Tree age</a:t>
            </a:r>
          </a:p>
        </p:txBody>
      </p:sp>
      <p:sp>
        <p:nvSpPr>
          <p:cNvPr id="27" name="Tekstvak 26">
            <a:extLst>
              <a:ext uri="{FF2B5EF4-FFF2-40B4-BE49-F238E27FC236}">
                <a16:creationId xmlns:a16="http://schemas.microsoft.com/office/drawing/2014/main" id="{008A0393-E803-67A7-D831-F15C9CF359B9}"/>
              </a:ext>
            </a:extLst>
          </p:cNvPr>
          <p:cNvSpPr txBox="1"/>
          <p:nvPr/>
        </p:nvSpPr>
        <p:spPr>
          <a:xfrm>
            <a:off x="4659391" y="3632755"/>
            <a:ext cx="1980000" cy="1995765"/>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800"/>
              </a:spcBef>
              <a:spcAft>
                <a:spcPts val="800"/>
              </a:spcAft>
              <a:buClrTx/>
              <a:buSzTx/>
              <a:buFontTx/>
              <a:buNone/>
              <a:tabLst/>
              <a:defRPr/>
            </a:pPr>
            <a:r>
              <a:rPr lang="en-GB" sz="1200" dirty="0">
                <a:solidFill>
                  <a:srgbClr val="FFFFFF"/>
                </a:solidFill>
                <a:latin typeface="Arial" panose="020B0604020202020204"/>
                <a:cs typeface="Arial" panose="020B0604020202020204" pitchFamily="34" charset="0"/>
              </a:rPr>
              <a:t>FFB dependency on global prices</a:t>
            </a: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800"/>
              </a:spcBef>
              <a:spcAft>
                <a:spcPts val="800"/>
              </a:spcAft>
              <a:buClrTx/>
              <a:buSzTx/>
              <a:buFontTx/>
              <a:buNone/>
              <a:tabLst/>
              <a:defRPr/>
            </a:pPr>
            <a:r>
              <a:rPr lang="en-GB" sz="1200" dirty="0">
                <a:solidFill>
                  <a:srgbClr val="FFFFFF"/>
                </a:solidFill>
                <a:latin typeface="Arial" panose="020B0604020202020204"/>
                <a:cs typeface="Arial" panose="020B0604020202020204" pitchFamily="34" charset="0"/>
              </a:rPr>
              <a:t>Role of intermediaries (Vs selling directly to mills)</a:t>
            </a: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800"/>
              </a:spcBef>
              <a:spcAft>
                <a:spcPts val="80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Objective</a:t>
            </a:r>
            <a:r>
              <a:rPr kumimoji="0" lang="en-GB" sz="1200" b="0" i="0" u="none" strike="noStrike" kern="1200" cap="none" spc="0" normalizeH="0" noProof="0" dirty="0">
                <a:ln>
                  <a:noFill/>
                </a:ln>
                <a:solidFill>
                  <a:srgbClr val="FFFFFF"/>
                </a:solidFill>
                <a:effectLst/>
                <a:uLnTx/>
                <a:uFillTx/>
                <a:latin typeface="Arial" panose="020B0604020202020204"/>
                <a:ea typeface="+mn-ea"/>
                <a:cs typeface="Arial" panose="020B0604020202020204" pitchFamily="34" charset="0"/>
              </a:rPr>
              <a:t> assessment and transparency of FFB grading by mills</a:t>
            </a:r>
          </a:p>
          <a:p>
            <a:pPr marL="0" marR="0" lvl="0" indent="0" algn="ctr" defTabSz="914400" rtl="0" eaLnBrk="1" fontAlgn="auto" latinLnBrk="0" hangingPunct="1">
              <a:lnSpc>
                <a:spcPct val="100000"/>
              </a:lnSpc>
              <a:spcBef>
                <a:spcPts val="800"/>
              </a:spcBef>
              <a:spcAft>
                <a:spcPts val="80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Consideration for differentiation across quality</a:t>
            </a:r>
          </a:p>
        </p:txBody>
      </p:sp>
      <p:sp>
        <p:nvSpPr>
          <p:cNvPr id="29" name="Tekstvak 28">
            <a:extLst>
              <a:ext uri="{FF2B5EF4-FFF2-40B4-BE49-F238E27FC236}">
                <a16:creationId xmlns:a16="http://schemas.microsoft.com/office/drawing/2014/main" id="{CBA607CB-13C0-A8B4-6EF6-92126E6B0430}"/>
              </a:ext>
            </a:extLst>
          </p:cNvPr>
          <p:cNvSpPr txBox="1"/>
          <p:nvPr/>
        </p:nvSpPr>
        <p:spPr>
          <a:xfrm>
            <a:off x="7081192" y="3632755"/>
            <a:ext cx="1980000" cy="2272745"/>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800"/>
              </a:spcBef>
              <a:spcAft>
                <a:spcPts val="800"/>
              </a:spcAft>
              <a:buClrTx/>
              <a:buSzTx/>
              <a:buFontTx/>
              <a:buNone/>
              <a:tabLst/>
              <a:defRPr/>
            </a:pPr>
            <a:r>
              <a:rPr lang="en-GB" sz="1200" dirty="0">
                <a:solidFill>
                  <a:srgbClr val="FFFFFF"/>
                </a:solidFill>
                <a:latin typeface="Arial" panose="020B0604020202020204"/>
                <a:cs typeface="Arial" panose="020B0604020202020204" pitchFamily="34" charset="0"/>
              </a:rPr>
              <a:t>Cost of input like fertilizers and pesticides(impact of global trends)</a:t>
            </a: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800"/>
              </a:spcBef>
              <a:spcAft>
                <a:spcPts val="80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Labor Costs</a:t>
            </a:r>
          </a:p>
          <a:p>
            <a:pPr marL="0" marR="0" lvl="0" indent="0" algn="ctr" defTabSz="914400" rtl="0" eaLnBrk="1" fontAlgn="auto" latinLnBrk="0" hangingPunct="1">
              <a:lnSpc>
                <a:spcPct val="100000"/>
              </a:lnSpc>
              <a:spcBef>
                <a:spcPts val="800"/>
              </a:spcBef>
              <a:spcAft>
                <a:spcPts val="800"/>
              </a:spcAft>
              <a:buClrTx/>
              <a:buSzTx/>
              <a:buFontTx/>
              <a:buNone/>
              <a:tabLst/>
              <a:defRPr/>
            </a:pPr>
            <a:r>
              <a:rPr lang="en-GB" sz="1200" dirty="0">
                <a:solidFill>
                  <a:srgbClr val="FFFFFF"/>
                </a:solidFill>
                <a:latin typeface="Arial" panose="020B0604020202020204"/>
                <a:cs typeface="Arial" panose="020B0604020202020204" pitchFamily="34" charset="0"/>
              </a:rPr>
              <a:t>State of local infrastructure and transport logistics</a:t>
            </a: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30" name="Tekstvak 29">
            <a:extLst>
              <a:ext uri="{FF2B5EF4-FFF2-40B4-BE49-F238E27FC236}">
                <a16:creationId xmlns:a16="http://schemas.microsoft.com/office/drawing/2014/main" id="{C1C7EC79-A1E4-4B64-8742-950F3AA91596}"/>
              </a:ext>
            </a:extLst>
          </p:cNvPr>
          <p:cNvSpPr txBox="1"/>
          <p:nvPr/>
        </p:nvSpPr>
        <p:spPr>
          <a:xfrm>
            <a:off x="9550616" y="3632755"/>
            <a:ext cx="1980000" cy="1995765"/>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800"/>
              </a:spcBef>
              <a:spcAft>
                <a:spcPts val="80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Other net on-farm income (non-focus crop)</a:t>
            </a:r>
          </a:p>
          <a:p>
            <a:pPr marL="0" marR="0" lvl="0" indent="0" algn="ctr" defTabSz="914400" rtl="0" eaLnBrk="1" fontAlgn="auto" latinLnBrk="0" hangingPunct="1">
              <a:lnSpc>
                <a:spcPct val="100000"/>
              </a:lnSpc>
              <a:spcBef>
                <a:spcPts val="800"/>
              </a:spcBef>
              <a:spcAft>
                <a:spcPts val="80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Net off-farm income</a:t>
            </a:r>
          </a:p>
          <a:p>
            <a:pPr marL="0" marR="0" lvl="0" indent="0" algn="ctr" defTabSz="914400" rtl="0" eaLnBrk="1" fontAlgn="auto" latinLnBrk="0" hangingPunct="1">
              <a:lnSpc>
                <a:spcPct val="100000"/>
              </a:lnSpc>
              <a:spcBef>
                <a:spcPts val="800"/>
              </a:spcBef>
              <a:spcAft>
                <a:spcPts val="80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Other income</a:t>
            </a:r>
          </a:p>
        </p:txBody>
      </p:sp>
      <p:grpSp>
        <p:nvGrpSpPr>
          <p:cNvPr id="31" name="Groep 30">
            <a:extLst>
              <a:ext uri="{FF2B5EF4-FFF2-40B4-BE49-F238E27FC236}">
                <a16:creationId xmlns:a16="http://schemas.microsoft.com/office/drawing/2014/main" id="{E0D00F23-CB1C-BBA8-94A1-D347807D5137}"/>
              </a:ext>
            </a:extLst>
          </p:cNvPr>
          <p:cNvGrpSpPr/>
          <p:nvPr/>
        </p:nvGrpSpPr>
        <p:grpSpPr>
          <a:xfrm>
            <a:off x="1295968" y="3914033"/>
            <a:ext cx="538505" cy="391633"/>
            <a:chOff x="1981768" y="3685433"/>
            <a:chExt cx="538505" cy="391633"/>
          </a:xfrm>
        </p:grpSpPr>
        <p:cxnSp>
          <p:nvCxnSpPr>
            <p:cNvPr id="33" name="Rechte verbindingslijn 32">
              <a:extLst>
                <a:ext uri="{FF2B5EF4-FFF2-40B4-BE49-F238E27FC236}">
                  <a16:creationId xmlns:a16="http://schemas.microsoft.com/office/drawing/2014/main" id="{FD7C226E-82F8-BFD2-6CE2-ADB8A451A37C}"/>
                </a:ext>
              </a:extLst>
            </p:cNvPr>
            <p:cNvCxnSpPr>
              <a:cxnSpLocks/>
            </p:cNvCxnSpPr>
            <p:nvPr/>
          </p:nvCxnSpPr>
          <p:spPr>
            <a:xfrm>
              <a:off x="1981768" y="3685433"/>
              <a:ext cx="5385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a:extLst>
                <a:ext uri="{FF2B5EF4-FFF2-40B4-BE49-F238E27FC236}">
                  <a16:creationId xmlns:a16="http://schemas.microsoft.com/office/drawing/2014/main" id="{1F6A9F22-4D01-2654-88F8-2CF8E27E1437}"/>
                </a:ext>
              </a:extLst>
            </p:cNvPr>
            <p:cNvCxnSpPr>
              <a:cxnSpLocks/>
            </p:cNvCxnSpPr>
            <p:nvPr/>
          </p:nvCxnSpPr>
          <p:spPr>
            <a:xfrm>
              <a:off x="1981768" y="4077066"/>
              <a:ext cx="5385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2" name="Groep 41">
            <a:extLst>
              <a:ext uri="{FF2B5EF4-FFF2-40B4-BE49-F238E27FC236}">
                <a16:creationId xmlns:a16="http://schemas.microsoft.com/office/drawing/2014/main" id="{6FEC365C-D976-D93C-F9DD-7D9C579BB335}"/>
              </a:ext>
            </a:extLst>
          </p:cNvPr>
          <p:cNvGrpSpPr/>
          <p:nvPr/>
        </p:nvGrpSpPr>
        <p:grpSpPr>
          <a:xfrm>
            <a:off x="5367900" y="4096116"/>
            <a:ext cx="538507" cy="1351061"/>
            <a:chOff x="1981766" y="3612973"/>
            <a:chExt cx="538507" cy="1351061"/>
          </a:xfrm>
        </p:grpSpPr>
        <p:cxnSp>
          <p:nvCxnSpPr>
            <p:cNvPr id="49" name="Rechte verbindingslijn 48">
              <a:extLst>
                <a:ext uri="{FF2B5EF4-FFF2-40B4-BE49-F238E27FC236}">
                  <a16:creationId xmlns:a16="http://schemas.microsoft.com/office/drawing/2014/main" id="{53D63B15-E83C-D1B1-A401-79675472C9A0}"/>
                </a:ext>
              </a:extLst>
            </p:cNvPr>
            <p:cNvCxnSpPr>
              <a:cxnSpLocks/>
            </p:cNvCxnSpPr>
            <p:nvPr/>
          </p:nvCxnSpPr>
          <p:spPr>
            <a:xfrm>
              <a:off x="1981768" y="3612973"/>
              <a:ext cx="5385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61C596FE-7389-4E69-DE49-BF4373D7965D}"/>
                </a:ext>
              </a:extLst>
            </p:cNvPr>
            <p:cNvCxnSpPr>
              <a:cxnSpLocks/>
            </p:cNvCxnSpPr>
            <p:nvPr/>
          </p:nvCxnSpPr>
          <p:spPr>
            <a:xfrm>
              <a:off x="1981767" y="4192198"/>
              <a:ext cx="5385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Rechte verbindingslijn 52">
              <a:extLst>
                <a:ext uri="{FF2B5EF4-FFF2-40B4-BE49-F238E27FC236}">
                  <a16:creationId xmlns:a16="http://schemas.microsoft.com/office/drawing/2014/main" id="{001D8F8F-3419-C586-9458-505154EDCDE2}"/>
                </a:ext>
              </a:extLst>
            </p:cNvPr>
            <p:cNvCxnSpPr>
              <a:cxnSpLocks/>
            </p:cNvCxnSpPr>
            <p:nvPr/>
          </p:nvCxnSpPr>
          <p:spPr>
            <a:xfrm>
              <a:off x="1981766" y="4964034"/>
              <a:ext cx="5385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1C9D8B00-4237-4528-F863-EE96A705E9DD}"/>
              </a:ext>
            </a:extLst>
          </p:cNvPr>
          <p:cNvGrpSpPr/>
          <p:nvPr/>
        </p:nvGrpSpPr>
        <p:grpSpPr>
          <a:xfrm>
            <a:off x="7801940" y="4296507"/>
            <a:ext cx="538505" cy="381000"/>
            <a:chOff x="7801940" y="4296507"/>
            <a:chExt cx="538505" cy="381000"/>
          </a:xfrm>
        </p:grpSpPr>
        <p:cxnSp>
          <p:nvCxnSpPr>
            <p:cNvPr id="56" name="Rechte verbindingslijn 55">
              <a:extLst>
                <a:ext uri="{FF2B5EF4-FFF2-40B4-BE49-F238E27FC236}">
                  <a16:creationId xmlns:a16="http://schemas.microsoft.com/office/drawing/2014/main" id="{B51F4D63-F37C-133E-45F3-88FBB1923B78}"/>
                </a:ext>
              </a:extLst>
            </p:cNvPr>
            <p:cNvCxnSpPr>
              <a:cxnSpLocks/>
            </p:cNvCxnSpPr>
            <p:nvPr/>
          </p:nvCxnSpPr>
          <p:spPr>
            <a:xfrm>
              <a:off x="7801940" y="4296507"/>
              <a:ext cx="5385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 name="Rechte verbindingslijn 56">
              <a:extLst>
                <a:ext uri="{FF2B5EF4-FFF2-40B4-BE49-F238E27FC236}">
                  <a16:creationId xmlns:a16="http://schemas.microsoft.com/office/drawing/2014/main" id="{9687D320-EEFB-A10B-9840-D53DEAA69BA0}"/>
                </a:ext>
              </a:extLst>
            </p:cNvPr>
            <p:cNvCxnSpPr>
              <a:cxnSpLocks/>
            </p:cNvCxnSpPr>
            <p:nvPr/>
          </p:nvCxnSpPr>
          <p:spPr>
            <a:xfrm>
              <a:off x="7801940" y="4677507"/>
              <a:ext cx="5385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A0CE583E-9E32-3882-AA24-FBDCC043122E}"/>
              </a:ext>
            </a:extLst>
          </p:cNvPr>
          <p:cNvGrpSpPr/>
          <p:nvPr/>
        </p:nvGrpSpPr>
        <p:grpSpPr>
          <a:xfrm>
            <a:off x="3282326" y="3920289"/>
            <a:ext cx="569654" cy="2251722"/>
            <a:chOff x="3313475" y="3894862"/>
            <a:chExt cx="569654" cy="2251722"/>
          </a:xfrm>
        </p:grpSpPr>
        <p:grpSp>
          <p:nvGrpSpPr>
            <p:cNvPr id="37" name="Groep 36">
              <a:extLst>
                <a:ext uri="{FF2B5EF4-FFF2-40B4-BE49-F238E27FC236}">
                  <a16:creationId xmlns:a16="http://schemas.microsoft.com/office/drawing/2014/main" id="{68DE13B3-1160-1747-399F-BB00B273AFB7}"/>
                </a:ext>
              </a:extLst>
            </p:cNvPr>
            <p:cNvGrpSpPr/>
            <p:nvPr/>
          </p:nvGrpSpPr>
          <p:grpSpPr>
            <a:xfrm>
              <a:off x="3313475" y="3894862"/>
              <a:ext cx="569654" cy="1506918"/>
              <a:chOff x="1981768" y="3685433"/>
              <a:chExt cx="569654" cy="1059625"/>
            </a:xfrm>
          </p:grpSpPr>
          <p:cxnSp>
            <p:nvCxnSpPr>
              <p:cNvPr id="38" name="Rechte verbindingslijn 37">
                <a:extLst>
                  <a:ext uri="{FF2B5EF4-FFF2-40B4-BE49-F238E27FC236}">
                    <a16:creationId xmlns:a16="http://schemas.microsoft.com/office/drawing/2014/main" id="{E020124B-7DAE-A044-9132-0298ABDD0532}"/>
                  </a:ext>
                </a:extLst>
              </p:cNvPr>
              <p:cNvCxnSpPr>
                <a:cxnSpLocks/>
              </p:cNvCxnSpPr>
              <p:nvPr/>
            </p:nvCxnSpPr>
            <p:spPr>
              <a:xfrm>
                <a:off x="1981768" y="3685433"/>
                <a:ext cx="5385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7674233C-8EAC-FC25-A2A5-943D10131D49}"/>
                  </a:ext>
                </a:extLst>
              </p:cNvPr>
              <p:cNvCxnSpPr>
                <a:cxnSpLocks/>
              </p:cNvCxnSpPr>
              <p:nvPr/>
            </p:nvCxnSpPr>
            <p:spPr>
              <a:xfrm>
                <a:off x="1981768" y="4217890"/>
                <a:ext cx="5385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FD74D3E9-B920-DCB8-9E2E-E37ABF01760B}"/>
                  </a:ext>
                </a:extLst>
              </p:cNvPr>
              <p:cNvCxnSpPr>
                <a:cxnSpLocks/>
              </p:cNvCxnSpPr>
              <p:nvPr/>
            </p:nvCxnSpPr>
            <p:spPr>
              <a:xfrm>
                <a:off x="2012917" y="4745058"/>
                <a:ext cx="5385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58" name="Rechte verbindingslijn 57">
              <a:extLst>
                <a:ext uri="{FF2B5EF4-FFF2-40B4-BE49-F238E27FC236}">
                  <a16:creationId xmlns:a16="http://schemas.microsoft.com/office/drawing/2014/main" id="{754E8C4A-20E5-7832-75B3-C619B487D4BA}"/>
                </a:ext>
              </a:extLst>
            </p:cNvPr>
            <p:cNvCxnSpPr>
              <a:cxnSpLocks/>
            </p:cNvCxnSpPr>
            <p:nvPr/>
          </p:nvCxnSpPr>
          <p:spPr>
            <a:xfrm>
              <a:off x="3332387" y="6146584"/>
              <a:ext cx="5385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9" name="Groep 58">
            <a:extLst>
              <a:ext uri="{FF2B5EF4-FFF2-40B4-BE49-F238E27FC236}">
                <a16:creationId xmlns:a16="http://schemas.microsoft.com/office/drawing/2014/main" id="{1AA6F4C7-F81F-E11A-9822-54E7C95FC485}"/>
              </a:ext>
            </a:extLst>
          </p:cNvPr>
          <p:cNvGrpSpPr/>
          <p:nvPr/>
        </p:nvGrpSpPr>
        <p:grpSpPr>
          <a:xfrm>
            <a:off x="10271364" y="4096116"/>
            <a:ext cx="538505" cy="381000"/>
            <a:chOff x="1981768" y="4048491"/>
            <a:chExt cx="538505" cy="381000"/>
          </a:xfrm>
        </p:grpSpPr>
        <p:cxnSp>
          <p:nvCxnSpPr>
            <p:cNvPr id="62" name="Rechte verbindingslijn 61">
              <a:extLst>
                <a:ext uri="{FF2B5EF4-FFF2-40B4-BE49-F238E27FC236}">
                  <a16:creationId xmlns:a16="http://schemas.microsoft.com/office/drawing/2014/main" id="{7B071BCE-582A-245D-A231-295141761696}"/>
                </a:ext>
              </a:extLst>
            </p:cNvPr>
            <p:cNvCxnSpPr>
              <a:cxnSpLocks/>
            </p:cNvCxnSpPr>
            <p:nvPr/>
          </p:nvCxnSpPr>
          <p:spPr>
            <a:xfrm>
              <a:off x="1981768" y="4048491"/>
              <a:ext cx="5385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Rechte verbindingslijn 62">
              <a:extLst>
                <a:ext uri="{FF2B5EF4-FFF2-40B4-BE49-F238E27FC236}">
                  <a16:creationId xmlns:a16="http://schemas.microsoft.com/office/drawing/2014/main" id="{ACFF6CCC-8E16-DFFD-87CA-BE080DE9D6D2}"/>
                </a:ext>
              </a:extLst>
            </p:cNvPr>
            <p:cNvCxnSpPr>
              <a:cxnSpLocks/>
            </p:cNvCxnSpPr>
            <p:nvPr/>
          </p:nvCxnSpPr>
          <p:spPr>
            <a:xfrm>
              <a:off x="1981768" y="4429491"/>
              <a:ext cx="53850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 name="Groep 6">
            <a:extLst>
              <a:ext uri="{FF2B5EF4-FFF2-40B4-BE49-F238E27FC236}">
                <a16:creationId xmlns:a16="http://schemas.microsoft.com/office/drawing/2014/main" id="{6CF796BB-EF6B-70EA-B313-B5FEBDD27E1E}"/>
              </a:ext>
            </a:extLst>
          </p:cNvPr>
          <p:cNvGrpSpPr/>
          <p:nvPr/>
        </p:nvGrpSpPr>
        <p:grpSpPr>
          <a:xfrm>
            <a:off x="712794" y="429875"/>
            <a:ext cx="569427" cy="611150"/>
            <a:chOff x="3249617" y="-895784"/>
            <a:chExt cx="569427" cy="611150"/>
          </a:xfrm>
        </p:grpSpPr>
        <p:sp>
          <p:nvSpPr>
            <p:cNvPr id="8" name="Graphic 48">
              <a:extLst>
                <a:ext uri="{FF2B5EF4-FFF2-40B4-BE49-F238E27FC236}">
                  <a16:creationId xmlns:a16="http://schemas.microsoft.com/office/drawing/2014/main" id="{AA292D0F-CB86-52D9-08ED-1CDC5B63D8E3}"/>
                </a:ext>
              </a:extLst>
            </p:cNvPr>
            <p:cNvSpPr/>
            <p:nvPr/>
          </p:nvSpPr>
          <p:spPr>
            <a:xfrm rot="2700000">
              <a:off x="3228756" y="-874923"/>
              <a:ext cx="611150" cy="569427"/>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 name="Graphic 8">
              <a:extLst>
                <a:ext uri="{FF2B5EF4-FFF2-40B4-BE49-F238E27FC236}">
                  <a16:creationId xmlns:a16="http://schemas.microsoft.com/office/drawing/2014/main" id="{45467AA0-F7F3-9CE3-04A4-AC00323C457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49148" y="-772866"/>
              <a:ext cx="343284" cy="343284"/>
            </a:xfrm>
            <a:prstGeom prst="rect">
              <a:avLst/>
            </a:prstGeom>
          </p:spPr>
        </p:pic>
      </p:grpSp>
      <p:pic>
        <p:nvPicPr>
          <p:cNvPr id="12" name="Graphic 11">
            <a:extLst>
              <a:ext uri="{FF2B5EF4-FFF2-40B4-BE49-F238E27FC236}">
                <a16:creationId xmlns:a16="http://schemas.microsoft.com/office/drawing/2014/main" id="{032FF069-7233-3CD2-DA9B-41B64AA98B1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795031" y="2136698"/>
            <a:ext cx="592628" cy="522852"/>
          </a:xfrm>
          <a:prstGeom prst="rect">
            <a:avLst/>
          </a:prstGeom>
        </p:spPr>
      </p:pic>
    </p:spTree>
    <p:extLst>
      <p:ext uri="{BB962C8B-B14F-4D97-AF65-F5344CB8AC3E}">
        <p14:creationId xmlns:p14="http://schemas.microsoft.com/office/powerpoint/2010/main" val="1825885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27" grpId="0"/>
      <p:bldP spid="29" grpId="0"/>
      <p:bldP spid="3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A1B526-EF39-A927-BF8B-A7816E8FD2E1}"/>
              </a:ext>
            </a:extLst>
          </p:cNvPr>
          <p:cNvSpPr>
            <a:spLocks noGrp="1"/>
          </p:cNvSpPr>
          <p:nvPr>
            <p:ph type="title"/>
          </p:nvPr>
        </p:nvSpPr>
        <p:spPr>
          <a:xfrm>
            <a:off x="6096000" y="2340940"/>
            <a:ext cx="4651513" cy="1279525"/>
          </a:xfrm>
        </p:spPr>
        <p:txBody>
          <a:bodyPr>
            <a:noAutofit/>
          </a:bodyPr>
          <a:lstStyle/>
          <a:p>
            <a:pPr>
              <a:lnSpc>
                <a:spcPct val="100000"/>
              </a:lnSpc>
              <a:spcBef>
                <a:spcPts val="600"/>
              </a:spcBef>
              <a:spcAft>
                <a:spcPts val="600"/>
              </a:spcAft>
            </a:pPr>
            <a:r>
              <a:rPr lang="en-GB" sz="4800" dirty="0"/>
              <a:t>What is Living Income ??</a:t>
            </a:r>
          </a:p>
        </p:txBody>
      </p:sp>
      <p:sp>
        <p:nvSpPr>
          <p:cNvPr id="3" name="Text Placeholder 2">
            <a:extLst>
              <a:ext uri="{FF2B5EF4-FFF2-40B4-BE49-F238E27FC236}">
                <a16:creationId xmlns:a16="http://schemas.microsoft.com/office/drawing/2014/main" id="{7A2925DC-1D8C-CFE9-2639-DF9AA628F190}"/>
              </a:ext>
            </a:extLst>
          </p:cNvPr>
          <p:cNvSpPr>
            <a:spLocks noGrp="1"/>
          </p:cNvSpPr>
          <p:nvPr>
            <p:ph type="body" sz="quarter" idx="10"/>
          </p:nvPr>
        </p:nvSpPr>
        <p:spPr/>
        <p:txBody>
          <a:bodyPr/>
          <a:lstStyle/>
          <a:p>
            <a:r>
              <a:rPr lang="en-US" dirty="0"/>
              <a:t>1</a:t>
            </a:r>
            <a:endParaRPr lang="en-GB" dirty="0"/>
          </a:p>
        </p:txBody>
      </p:sp>
    </p:spTree>
    <p:extLst>
      <p:ext uri="{BB962C8B-B14F-4D97-AF65-F5344CB8AC3E}">
        <p14:creationId xmlns:p14="http://schemas.microsoft.com/office/powerpoint/2010/main" val="3647039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EEE4639-D20E-6CB4-BB96-C55F4E33DE44}"/>
              </a:ext>
            </a:extLst>
          </p:cNvPr>
          <p:cNvSpPr>
            <a:spLocks noGrp="1"/>
          </p:cNvSpPr>
          <p:nvPr>
            <p:ph type="title"/>
          </p:nvPr>
        </p:nvSpPr>
        <p:spPr/>
        <p:txBody>
          <a:bodyPr/>
          <a:lstStyle/>
          <a:p>
            <a:r>
              <a:rPr lang="en-GB" dirty="0"/>
              <a:t>Insight 3: Developing stable diversified income sources is an essential strategy</a:t>
            </a:r>
          </a:p>
        </p:txBody>
      </p:sp>
      <p:grpSp>
        <p:nvGrpSpPr>
          <p:cNvPr id="13" name="Group 12">
            <a:extLst>
              <a:ext uri="{FF2B5EF4-FFF2-40B4-BE49-F238E27FC236}">
                <a16:creationId xmlns:a16="http://schemas.microsoft.com/office/drawing/2014/main" id="{20860078-381D-1E8E-302C-52921CAF6E9E}"/>
              </a:ext>
            </a:extLst>
          </p:cNvPr>
          <p:cNvGrpSpPr/>
          <p:nvPr/>
        </p:nvGrpSpPr>
        <p:grpSpPr>
          <a:xfrm>
            <a:off x="624526" y="2170755"/>
            <a:ext cx="10942946" cy="2899982"/>
            <a:chOff x="636193" y="1808623"/>
            <a:chExt cx="10942946" cy="2899982"/>
          </a:xfrm>
        </p:grpSpPr>
        <p:sp>
          <p:nvSpPr>
            <p:cNvPr id="4" name="Graphic 48">
              <a:extLst>
                <a:ext uri="{FF2B5EF4-FFF2-40B4-BE49-F238E27FC236}">
                  <a16:creationId xmlns:a16="http://schemas.microsoft.com/office/drawing/2014/main" id="{DFE46EDF-587B-1206-F549-9E980AC2502B}"/>
                </a:ext>
              </a:extLst>
            </p:cNvPr>
            <p:cNvSpPr/>
            <p:nvPr/>
          </p:nvSpPr>
          <p:spPr>
            <a:xfrm rot="900000">
              <a:off x="2545898" y="1834953"/>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sp>
          <p:nvSpPr>
            <p:cNvPr id="17" name="TextBox 50">
              <a:extLst>
                <a:ext uri="{FF2B5EF4-FFF2-40B4-BE49-F238E27FC236}">
                  <a16:creationId xmlns:a16="http://schemas.microsoft.com/office/drawing/2014/main" id="{813D8C2B-867A-D6D3-CD35-EA437A682B71}"/>
                </a:ext>
              </a:extLst>
            </p:cNvPr>
            <p:cNvSpPr txBox="1"/>
            <p:nvPr/>
          </p:nvSpPr>
          <p:spPr>
            <a:xfrm>
              <a:off x="643479" y="3225432"/>
              <a:ext cx="14095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LAND</a:t>
              </a:r>
            </a:p>
          </p:txBody>
        </p:sp>
        <p:sp>
          <p:nvSpPr>
            <p:cNvPr id="18" name="TextBox 51">
              <a:extLst>
                <a:ext uri="{FF2B5EF4-FFF2-40B4-BE49-F238E27FC236}">
                  <a16:creationId xmlns:a16="http://schemas.microsoft.com/office/drawing/2014/main" id="{C298954D-EF54-7961-4FF1-AE00E0654A12}"/>
                </a:ext>
              </a:extLst>
            </p:cNvPr>
            <p:cNvSpPr txBox="1"/>
            <p:nvPr/>
          </p:nvSpPr>
          <p:spPr>
            <a:xfrm>
              <a:off x="2579743" y="3225430"/>
              <a:ext cx="11325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VOLUME</a:t>
              </a:r>
            </a:p>
          </p:txBody>
        </p:sp>
        <p:sp>
          <p:nvSpPr>
            <p:cNvPr id="20" name="TextBox 53">
              <a:extLst>
                <a:ext uri="{FF2B5EF4-FFF2-40B4-BE49-F238E27FC236}">
                  <a16:creationId xmlns:a16="http://schemas.microsoft.com/office/drawing/2014/main" id="{D5ECB111-E9B0-A4A8-85BA-5525E9EFDCC6}"/>
                </a:ext>
              </a:extLst>
            </p:cNvPr>
            <p:cNvSpPr txBox="1"/>
            <p:nvPr/>
          </p:nvSpPr>
          <p:spPr>
            <a:xfrm>
              <a:off x="5924363" y="3076470"/>
              <a:ext cx="155399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COST OF</a:t>
              </a:r>
              <a:b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b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PRODUCTION</a:t>
              </a:r>
            </a:p>
          </p:txBody>
        </p:sp>
        <p:sp>
          <p:nvSpPr>
            <p:cNvPr id="21" name="TextBox 54">
              <a:extLst>
                <a:ext uri="{FF2B5EF4-FFF2-40B4-BE49-F238E27FC236}">
                  <a16:creationId xmlns:a16="http://schemas.microsoft.com/office/drawing/2014/main" id="{57A1B1C7-9F1D-2E85-FD7D-DFA295B287A0}"/>
                </a:ext>
              </a:extLst>
            </p:cNvPr>
            <p:cNvSpPr txBox="1"/>
            <p:nvPr/>
          </p:nvSpPr>
          <p:spPr>
            <a:xfrm>
              <a:off x="7870125" y="3076473"/>
              <a:ext cx="155399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Gotham Bold" pitchFamily="2" charset="0"/>
                </a:rPr>
                <a:t>DIVERSIFIED</a:t>
              </a:r>
              <a:br>
                <a:rPr kumimoji="0" lang="en-GB" sz="1400" b="1" i="0" u="none" strike="noStrike" kern="1200" cap="none" spc="0" normalizeH="0" baseline="0" noProof="0">
                  <a:ln>
                    <a:noFill/>
                  </a:ln>
                  <a:solidFill>
                    <a:srgbClr val="FFFFFF"/>
                  </a:solidFill>
                  <a:effectLst/>
                  <a:uLnTx/>
                  <a:uFillTx/>
                  <a:latin typeface="Arial" panose="020B0604020202020204"/>
                  <a:ea typeface="+mn-ea"/>
                  <a:cs typeface="Gotham Bold" pitchFamily="2" charset="0"/>
                </a:rPr>
              </a:br>
              <a:r>
                <a:rPr kumimoji="0" lang="en-GB" sz="1400" b="1" i="0" u="none" strike="noStrike" kern="1200" cap="none" spc="0" normalizeH="0" baseline="0" noProof="0">
                  <a:ln>
                    <a:noFill/>
                  </a:ln>
                  <a:solidFill>
                    <a:srgbClr val="FFFFFF"/>
                  </a:solidFill>
                  <a:effectLst/>
                  <a:uLnTx/>
                  <a:uFillTx/>
                  <a:latin typeface="Arial" panose="020B0604020202020204"/>
                  <a:ea typeface="+mn-ea"/>
                  <a:cs typeface="Gotham Bold" pitchFamily="2" charset="0"/>
                </a:rPr>
                <a:t>INCOME</a:t>
              </a:r>
            </a:p>
          </p:txBody>
        </p:sp>
        <p:sp>
          <p:nvSpPr>
            <p:cNvPr id="22" name="TextBox 55">
              <a:extLst>
                <a:ext uri="{FF2B5EF4-FFF2-40B4-BE49-F238E27FC236}">
                  <a16:creationId xmlns:a16="http://schemas.microsoft.com/office/drawing/2014/main" id="{371B3A92-466B-BF4A-10A2-388EFEA41A6D}"/>
                </a:ext>
              </a:extLst>
            </p:cNvPr>
            <p:cNvSpPr txBox="1"/>
            <p:nvPr/>
          </p:nvSpPr>
          <p:spPr>
            <a:xfrm>
              <a:off x="9983727" y="3076474"/>
              <a:ext cx="159541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HOUSEHOLD</a:t>
              </a:r>
              <a:b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b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INCOME</a:t>
              </a:r>
            </a:p>
          </p:txBody>
        </p:sp>
        <p:grpSp>
          <p:nvGrpSpPr>
            <p:cNvPr id="23" name="Group 56">
              <a:extLst>
                <a:ext uri="{FF2B5EF4-FFF2-40B4-BE49-F238E27FC236}">
                  <a16:creationId xmlns:a16="http://schemas.microsoft.com/office/drawing/2014/main" id="{ECDB3FE2-7CF9-9934-7770-67D3D8B9DFFB}"/>
                </a:ext>
              </a:extLst>
            </p:cNvPr>
            <p:cNvGrpSpPr>
              <a:grpSpLocks noChangeAspect="1"/>
            </p:cNvGrpSpPr>
            <p:nvPr/>
          </p:nvGrpSpPr>
          <p:grpSpPr>
            <a:xfrm>
              <a:off x="3850516" y="3220338"/>
              <a:ext cx="302368" cy="302372"/>
              <a:chOff x="4314113" y="3516018"/>
              <a:chExt cx="363697" cy="363697"/>
            </a:xfrm>
            <a:solidFill>
              <a:schemeClr val="bg1"/>
            </a:solidFill>
          </p:grpSpPr>
          <p:sp>
            <p:nvSpPr>
              <p:cNvPr id="85" name="Rectangle 57">
                <a:extLst>
                  <a:ext uri="{FF2B5EF4-FFF2-40B4-BE49-F238E27FC236}">
                    <a16:creationId xmlns:a16="http://schemas.microsoft.com/office/drawing/2014/main" id="{6E79CDD7-C97F-0DB5-59F9-AF440E1E3F0E}"/>
                  </a:ext>
                </a:extLst>
              </p:cNvPr>
              <p:cNvSpPr/>
              <p:nvPr/>
            </p:nvSpPr>
            <p:spPr>
              <a:xfrm rot="2700000">
                <a:off x="4473102" y="3516018"/>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47D985"/>
                  </a:solidFill>
                  <a:effectLst/>
                  <a:uLnTx/>
                  <a:uFillTx/>
                  <a:latin typeface="Arial" panose="020B0604020202020204"/>
                  <a:ea typeface="+mn-ea"/>
                  <a:cs typeface="+mn-cs"/>
                </a:endParaRPr>
              </a:p>
            </p:txBody>
          </p:sp>
          <p:sp>
            <p:nvSpPr>
              <p:cNvPr id="86" name="Rectangle 58">
                <a:extLst>
                  <a:ext uri="{FF2B5EF4-FFF2-40B4-BE49-F238E27FC236}">
                    <a16:creationId xmlns:a16="http://schemas.microsoft.com/office/drawing/2014/main" id="{464A5E48-846A-16DF-9221-494FFD667235}"/>
                  </a:ext>
                </a:extLst>
              </p:cNvPr>
              <p:cNvSpPr/>
              <p:nvPr/>
            </p:nvSpPr>
            <p:spPr>
              <a:xfrm rot="18900000">
                <a:off x="4473102" y="3516018"/>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47D985"/>
                  </a:solidFill>
                  <a:effectLst/>
                  <a:uLnTx/>
                  <a:uFillTx/>
                  <a:latin typeface="Arial" panose="020B0604020202020204"/>
                  <a:ea typeface="+mn-ea"/>
                  <a:cs typeface="+mn-cs"/>
                </a:endParaRPr>
              </a:p>
            </p:txBody>
          </p:sp>
        </p:grpSp>
        <p:grpSp>
          <p:nvGrpSpPr>
            <p:cNvPr id="24" name="Group 59">
              <a:extLst>
                <a:ext uri="{FF2B5EF4-FFF2-40B4-BE49-F238E27FC236}">
                  <a16:creationId xmlns:a16="http://schemas.microsoft.com/office/drawing/2014/main" id="{E783FC19-BE5B-BEA1-0953-C5570C549151}"/>
                </a:ext>
              </a:extLst>
            </p:cNvPr>
            <p:cNvGrpSpPr>
              <a:grpSpLocks noChangeAspect="1"/>
            </p:cNvGrpSpPr>
            <p:nvPr/>
          </p:nvGrpSpPr>
          <p:grpSpPr>
            <a:xfrm>
              <a:off x="9603023" y="3277285"/>
              <a:ext cx="302368" cy="188432"/>
              <a:chOff x="10294902" y="2763856"/>
              <a:chExt cx="363697" cy="158686"/>
            </a:xfrm>
            <a:solidFill>
              <a:schemeClr val="bg1"/>
            </a:solidFill>
          </p:grpSpPr>
          <p:sp>
            <p:nvSpPr>
              <p:cNvPr id="83" name="Rectangle 60">
                <a:extLst>
                  <a:ext uri="{FF2B5EF4-FFF2-40B4-BE49-F238E27FC236}">
                    <a16:creationId xmlns:a16="http://schemas.microsoft.com/office/drawing/2014/main" id="{3D976D51-A246-62C0-3C42-8B4C63AB05C0}"/>
                  </a:ext>
                </a:extLst>
              </p:cNvPr>
              <p:cNvSpPr/>
              <p:nvPr/>
            </p:nvSpPr>
            <p:spPr>
              <a:xfrm rot="5400000">
                <a:off x="10453891" y="2604867"/>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47D985"/>
                  </a:solidFill>
                  <a:effectLst/>
                  <a:uLnTx/>
                  <a:uFillTx/>
                  <a:latin typeface="Arial" panose="020B0604020202020204"/>
                  <a:ea typeface="+mn-ea"/>
                  <a:cs typeface="+mn-cs"/>
                </a:endParaRPr>
              </a:p>
            </p:txBody>
          </p:sp>
          <p:sp>
            <p:nvSpPr>
              <p:cNvPr id="84" name="Rectangle 61">
                <a:extLst>
                  <a:ext uri="{FF2B5EF4-FFF2-40B4-BE49-F238E27FC236}">
                    <a16:creationId xmlns:a16="http://schemas.microsoft.com/office/drawing/2014/main" id="{E1D632A5-BD41-E42B-BEA2-2051C0F9773E}"/>
                  </a:ext>
                </a:extLst>
              </p:cNvPr>
              <p:cNvSpPr/>
              <p:nvPr/>
            </p:nvSpPr>
            <p:spPr>
              <a:xfrm rot="5400000">
                <a:off x="10453891" y="2717834"/>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47D985"/>
                  </a:solidFill>
                  <a:effectLst/>
                  <a:uLnTx/>
                  <a:uFillTx/>
                  <a:latin typeface="Arial" panose="020B0604020202020204"/>
                  <a:ea typeface="+mn-ea"/>
                  <a:cs typeface="+mn-cs"/>
                </a:endParaRPr>
              </a:p>
            </p:txBody>
          </p:sp>
        </p:grpSp>
        <p:grpSp>
          <p:nvGrpSpPr>
            <p:cNvPr id="25" name="Group 62">
              <a:extLst>
                <a:ext uri="{FF2B5EF4-FFF2-40B4-BE49-F238E27FC236}">
                  <a16:creationId xmlns:a16="http://schemas.microsoft.com/office/drawing/2014/main" id="{594838C9-625B-C27A-BFAD-E1803F65E9F6}"/>
                </a:ext>
              </a:extLst>
            </p:cNvPr>
            <p:cNvGrpSpPr>
              <a:grpSpLocks noChangeAspect="1"/>
            </p:cNvGrpSpPr>
            <p:nvPr/>
          </p:nvGrpSpPr>
          <p:grpSpPr>
            <a:xfrm>
              <a:off x="2067950" y="3220338"/>
              <a:ext cx="302368" cy="302372"/>
              <a:chOff x="4314113" y="3516018"/>
              <a:chExt cx="363697" cy="363697"/>
            </a:xfrm>
            <a:solidFill>
              <a:schemeClr val="bg1"/>
            </a:solidFill>
          </p:grpSpPr>
          <p:sp>
            <p:nvSpPr>
              <p:cNvPr id="81" name="Rectangle 63">
                <a:extLst>
                  <a:ext uri="{FF2B5EF4-FFF2-40B4-BE49-F238E27FC236}">
                    <a16:creationId xmlns:a16="http://schemas.microsoft.com/office/drawing/2014/main" id="{DEB37B66-2C8D-325F-B999-4FD330B078C5}"/>
                  </a:ext>
                </a:extLst>
              </p:cNvPr>
              <p:cNvSpPr/>
              <p:nvPr/>
            </p:nvSpPr>
            <p:spPr>
              <a:xfrm rot="2700000">
                <a:off x="4473102" y="3516018"/>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47D985"/>
                  </a:solidFill>
                  <a:effectLst/>
                  <a:uLnTx/>
                  <a:uFillTx/>
                  <a:latin typeface="Arial" panose="020B0604020202020204"/>
                  <a:ea typeface="+mn-ea"/>
                  <a:cs typeface="+mn-cs"/>
                </a:endParaRPr>
              </a:p>
            </p:txBody>
          </p:sp>
          <p:sp>
            <p:nvSpPr>
              <p:cNvPr id="82" name="Rectangle 64">
                <a:extLst>
                  <a:ext uri="{FF2B5EF4-FFF2-40B4-BE49-F238E27FC236}">
                    <a16:creationId xmlns:a16="http://schemas.microsoft.com/office/drawing/2014/main" id="{8C25E86B-9297-1CBD-5C09-E502EAD75AC1}"/>
                  </a:ext>
                </a:extLst>
              </p:cNvPr>
              <p:cNvSpPr/>
              <p:nvPr/>
            </p:nvSpPr>
            <p:spPr>
              <a:xfrm rot="18900000">
                <a:off x="4473102" y="3516018"/>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47D985"/>
                  </a:solidFill>
                  <a:effectLst/>
                  <a:uLnTx/>
                  <a:uFillTx/>
                  <a:latin typeface="Arial" panose="020B0604020202020204"/>
                  <a:ea typeface="+mn-ea"/>
                  <a:cs typeface="+mn-cs"/>
                </a:endParaRPr>
              </a:p>
            </p:txBody>
          </p:sp>
        </p:grpSp>
        <p:grpSp>
          <p:nvGrpSpPr>
            <p:cNvPr id="26" name="Group 65">
              <a:extLst>
                <a:ext uri="{FF2B5EF4-FFF2-40B4-BE49-F238E27FC236}">
                  <a16:creationId xmlns:a16="http://schemas.microsoft.com/office/drawing/2014/main" id="{98F0BAFD-0BCB-6B84-029C-BADC48D555D9}"/>
                </a:ext>
              </a:extLst>
            </p:cNvPr>
            <p:cNvGrpSpPr>
              <a:grpSpLocks noChangeAspect="1"/>
            </p:cNvGrpSpPr>
            <p:nvPr/>
          </p:nvGrpSpPr>
          <p:grpSpPr>
            <a:xfrm rot="2700000">
              <a:off x="7519585" y="3220326"/>
              <a:ext cx="302368" cy="302372"/>
              <a:chOff x="4314113" y="3516018"/>
              <a:chExt cx="363697" cy="363697"/>
            </a:xfrm>
            <a:solidFill>
              <a:schemeClr val="bg1"/>
            </a:solidFill>
          </p:grpSpPr>
          <p:sp>
            <p:nvSpPr>
              <p:cNvPr id="79" name="Rectangle 66">
                <a:extLst>
                  <a:ext uri="{FF2B5EF4-FFF2-40B4-BE49-F238E27FC236}">
                    <a16:creationId xmlns:a16="http://schemas.microsoft.com/office/drawing/2014/main" id="{5C6C5064-C389-DA2F-E073-7E9A70390626}"/>
                  </a:ext>
                </a:extLst>
              </p:cNvPr>
              <p:cNvSpPr/>
              <p:nvPr/>
            </p:nvSpPr>
            <p:spPr>
              <a:xfrm rot="2700000">
                <a:off x="4473102" y="3516018"/>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47D985"/>
                  </a:solidFill>
                  <a:effectLst/>
                  <a:uLnTx/>
                  <a:uFillTx/>
                  <a:latin typeface="Arial" panose="020B0604020202020204"/>
                  <a:ea typeface="+mn-ea"/>
                  <a:cs typeface="+mn-cs"/>
                </a:endParaRPr>
              </a:p>
            </p:txBody>
          </p:sp>
          <p:sp>
            <p:nvSpPr>
              <p:cNvPr id="80" name="Rectangle 67">
                <a:extLst>
                  <a:ext uri="{FF2B5EF4-FFF2-40B4-BE49-F238E27FC236}">
                    <a16:creationId xmlns:a16="http://schemas.microsoft.com/office/drawing/2014/main" id="{F09CF2EC-E8CA-DEEB-2B66-E1DE99C12117}"/>
                  </a:ext>
                </a:extLst>
              </p:cNvPr>
              <p:cNvSpPr/>
              <p:nvPr/>
            </p:nvSpPr>
            <p:spPr>
              <a:xfrm rot="18900000">
                <a:off x="4473102" y="3516018"/>
                <a:ext cx="45719" cy="3636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47D985"/>
                  </a:solidFill>
                  <a:effectLst/>
                  <a:uLnTx/>
                  <a:uFillTx/>
                  <a:latin typeface="Arial" panose="020B0604020202020204"/>
                  <a:ea typeface="+mn-ea"/>
                  <a:cs typeface="+mn-cs"/>
                </a:endParaRPr>
              </a:p>
            </p:txBody>
          </p:sp>
        </p:grpSp>
        <p:sp>
          <p:nvSpPr>
            <p:cNvPr id="43" name="Rectangle 117">
              <a:extLst>
                <a:ext uri="{FF2B5EF4-FFF2-40B4-BE49-F238E27FC236}">
                  <a16:creationId xmlns:a16="http://schemas.microsoft.com/office/drawing/2014/main" id="{4CBD59E2-5AFB-5612-59FA-F1C4FC0B7198}"/>
                </a:ext>
              </a:extLst>
            </p:cNvPr>
            <p:cNvSpPr>
              <a:spLocks/>
            </p:cNvSpPr>
            <p:nvPr/>
          </p:nvSpPr>
          <p:spPr>
            <a:xfrm rot="5400000">
              <a:off x="5594009" y="3220299"/>
              <a:ext cx="40316" cy="3023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a:ln>
                    <a:noFill/>
                  </a:ln>
                  <a:solidFill>
                    <a:srgbClr val="47D985"/>
                  </a:solidFill>
                  <a:effectLst/>
                  <a:uLnTx/>
                  <a:uFillTx/>
                  <a:latin typeface="Arial" panose="020B0604020202020204"/>
                  <a:ea typeface="+mn-ea"/>
                  <a:cs typeface="+mn-cs"/>
                </a:rPr>
                <a:t> </a:t>
              </a:r>
            </a:p>
          </p:txBody>
        </p:sp>
        <p:sp>
          <p:nvSpPr>
            <p:cNvPr id="44" name="TextBox 118">
              <a:extLst>
                <a:ext uri="{FF2B5EF4-FFF2-40B4-BE49-F238E27FC236}">
                  <a16:creationId xmlns:a16="http://schemas.microsoft.com/office/drawing/2014/main" id="{E6A754C9-B906-404E-DB5C-96BA3606FEFA}"/>
                </a:ext>
              </a:extLst>
            </p:cNvPr>
            <p:cNvSpPr txBox="1"/>
            <p:nvPr/>
          </p:nvSpPr>
          <p:spPr>
            <a:xfrm>
              <a:off x="636193" y="4308495"/>
              <a:ext cx="704550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FOCUS CROP </a:t>
              </a:r>
            </a:p>
          </p:txBody>
        </p:sp>
        <p:grpSp>
          <p:nvGrpSpPr>
            <p:cNvPr id="45" name="Group 119">
              <a:extLst>
                <a:ext uri="{FF2B5EF4-FFF2-40B4-BE49-F238E27FC236}">
                  <a16:creationId xmlns:a16="http://schemas.microsoft.com/office/drawing/2014/main" id="{0D4FF532-3BEE-135C-BC4A-7DFE779C5551}"/>
                </a:ext>
              </a:extLst>
            </p:cNvPr>
            <p:cNvGrpSpPr/>
            <p:nvPr/>
          </p:nvGrpSpPr>
          <p:grpSpPr>
            <a:xfrm>
              <a:off x="1348261" y="3910121"/>
              <a:ext cx="5204402" cy="361479"/>
              <a:chOff x="4559964" y="2479008"/>
              <a:chExt cx="5204402" cy="258226"/>
            </a:xfrm>
          </p:grpSpPr>
          <p:cxnSp>
            <p:nvCxnSpPr>
              <p:cNvPr id="46" name="Straight Connector 120">
                <a:extLst>
                  <a:ext uri="{FF2B5EF4-FFF2-40B4-BE49-F238E27FC236}">
                    <a16:creationId xmlns:a16="http://schemas.microsoft.com/office/drawing/2014/main" id="{B20CB934-8C6F-A1A9-FC4C-6777FE783758}"/>
                  </a:ext>
                </a:extLst>
              </p:cNvPr>
              <p:cNvCxnSpPr>
                <a:cxnSpLocks/>
              </p:cNvCxnSpPr>
              <p:nvPr/>
            </p:nvCxnSpPr>
            <p:spPr>
              <a:xfrm>
                <a:off x="4581526" y="2479008"/>
                <a:ext cx="0" cy="25391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121">
                <a:extLst>
                  <a:ext uri="{FF2B5EF4-FFF2-40B4-BE49-F238E27FC236}">
                    <a16:creationId xmlns:a16="http://schemas.microsoft.com/office/drawing/2014/main" id="{9A370E31-3608-7CFD-0C52-00AC60FE188F}"/>
                  </a:ext>
                </a:extLst>
              </p:cNvPr>
              <p:cNvCxnSpPr/>
              <p:nvPr/>
            </p:nvCxnSpPr>
            <p:spPr>
              <a:xfrm>
                <a:off x="9764366" y="2483318"/>
                <a:ext cx="0" cy="253916"/>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122">
                <a:extLst>
                  <a:ext uri="{FF2B5EF4-FFF2-40B4-BE49-F238E27FC236}">
                    <a16:creationId xmlns:a16="http://schemas.microsoft.com/office/drawing/2014/main" id="{7A026270-6A94-D9A2-FDFC-F63AF61F3190}"/>
                  </a:ext>
                </a:extLst>
              </p:cNvPr>
              <p:cNvCxnSpPr>
                <a:cxnSpLocks/>
              </p:cNvCxnSpPr>
              <p:nvPr/>
            </p:nvCxnSpPr>
            <p:spPr>
              <a:xfrm flipH="1">
                <a:off x="4559964" y="2737234"/>
                <a:ext cx="520440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Graphic 48">
              <a:extLst>
                <a:ext uri="{FF2B5EF4-FFF2-40B4-BE49-F238E27FC236}">
                  <a16:creationId xmlns:a16="http://schemas.microsoft.com/office/drawing/2014/main" id="{0C2E8CE2-16CC-BBE8-4E4A-6DAD543F3CDE}"/>
                </a:ext>
              </a:extLst>
            </p:cNvPr>
            <p:cNvSpPr/>
            <p:nvPr/>
          </p:nvSpPr>
          <p:spPr>
            <a:xfrm>
              <a:off x="748127" y="1849594"/>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sp>
          <p:nvSpPr>
            <p:cNvPr id="10" name="Graphic 48">
              <a:extLst>
                <a:ext uri="{FF2B5EF4-FFF2-40B4-BE49-F238E27FC236}">
                  <a16:creationId xmlns:a16="http://schemas.microsoft.com/office/drawing/2014/main" id="{6FB3D088-BDD0-C917-735A-25CCC041B24E}"/>
                </a:ext>
              </a:extLst>
            </p:cNvPr>
            <p:cNvSpPr/>
            <p:nvPr/>
          </p:nvSpPr>
          <p:spPr>
            <a:xfrm rot="12600000">
              <a:off x="4215435" y="1849594"/>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sp>
          <p:nvSpPr>
            <p:cNvPr id="11" name="Graphic 48">
              <a:extLst>
                <a:ext uri="{FF2B5EF4-FFF2-40B4-BE49-F238E27FC236}">
                  <a16:creationId xmlns:a16="http://schemas.microsoft.com/office/drawing/2014/main" id="{F30DE8E8-BDFD-3C2B-6E2E-3DF85BA4ADA0}"/>
                </a:ext>
              </a:extLst>
            </p:cNvPr>
            <p:cNvSpPr/>
            <p:nvPr/>
          </p:nvSpPr>
          <p:spPr>
            <a:xfrm rot="14400000">
              <a:off x="6034550" y="1849595"/>
              <a:ext cx="1200270"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sp>
          <p:nvSpPr>
            <p:cNvPr id="28" name="Graphic 48">
              <a:extLst>
                <a:ext uri="{FF2B5EF4-FFF2-40B4-BE49-F238E27FC236}">
                  <a16:creationId xmlns:a16="http://schemas.microsoft.com/office/drawing/2014/main" id="{A0181444-4F1B-92C7-4C3C-E17C84EE1AFC}"/>
                </a:ext>
              </a:extLst>
            </p:cNvPr>
            <p:cNvSpPr/>
            <p:nvPr/>
          </p:nvSpPr>
          <p:spPr>
            <a:xfrm rot="20700000">
              <a:off x="8086990" y="1849594"/>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3"/>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sp>
          <p:nvSpPr>
            <p:cNvPr id="66" name="Graphic 48">
              <a:extLst>
                <a:ext uri="{FF2B5EF4-FFF2-40B4-BE49-F238E27FC236}">
                  <a16:creationId xmlns:a16="http://schemas.microsoft.com/office/drawing/2014/main" id="{61AE199C-5199-C96B-9AAE-1DAA816F89DF}"/>
                </a:ext>
              </a:extLst>
            </p:cNvPr>
            <p:cNvSpPr/>
            <p:nvPr/>
          </p:nvSpPr>
          <p:spPr>
            <a:xfrm rot="900000">
              <a:off x="10181298" y="1849594"/>
              <a:ext cx="1200269" cy="1118325"/>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pic>
          <p:nvPicPr>
            <p:cNvPr id="93" name="Graphic 92">
              <a:extLst>
                <a:ext uri="{FF2B5EF4-FFF2-40B4-BE49-F238E27FC236}">
                  <a16:creationId xmlns:a16="http://schemas.microsoft.com/office/drawing/2014/main" id="{C98DFC68-D54C-E476-EBF6-A7B96DFDF2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66772" y="2127268"/>
              <a:ext cx="562978" cy="562979"/>
            </a:xfrm>
            <a:prstGeom prst="rect">
              <a:avLst/>
            </a:prstGeom>
          </p:spPr>
        </p:pic>
        <p:pic>
          <p:nvPicPr>
            <p:cNvPr id="95" name="Graphic 94">
              <a:extLst>
                <a:ext uri="{FF2B5EF4-FFF2-40B4-BE49-F238E27FC236}">
                  <a16:creationId xmlns:a16="http://schemas.microsoft.com/office/drawing/2014/main" id="{0BDC1FFB-5AD6-84CD-B60F-573C1BDE8F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83240" y="2135992"/>
              <a:ext cx="562978" cy="562979"/>
            </a:xfrm>
            <a:prstGeom prst="rect">
              <a:avLst/>
            </a:prstGeom>
          </p:spPr>
        </p:pic>
        <p:pic>
          <p:nvPicPr>
            <p:cNvPr id="97" name="Graphic 96">
              <a:extLst>
                <a:ext uri="{FF2B5EF4-FFF2-40B4-BE49-F238E27FC236}">
                  <a16:creationId xmlns:a16="http://schemas.microsoft.com/office/drawing/2014/main" id="{158A65FF-A026-D56C-8076-D297235C6E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98914" y="2135992"/>
              <a:ext cx="562978" cy="562979"/>
            </a:xfrm>
            <a:prstGeom prst="rect">
              <a:avLst/>
            </a:prstGeom>
          </p:spPr>
        </p:pic>
        <p:pic>
          <p:nvPicPr>
            <p:cNvPr id="72" name="Graphic 71">
              <a:extLst>
                <a:ext uri="{FF2B5EF4-FFF2-40B4-BE49-F238E27FC236}">
                  <a16:creationId xmlns:a16="http://schemas.microsoft.com/office/drawing/2014/main" id="{3CBF2A63-D9D9-C5AA-09EE-DB7A3D38857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421589" y="2075265"/>
              <a:ext cx="562978" cy="562979"/>
            </a:xfrm>
            <a:prstGeom prst="rect">
              <a:avLst/>
            </a:prstGeom>
          </p:spPr>
        </p:pic>
        <p:sp>
          <p:nvSpPr>
            <p:cNvPr id="94" name="TextBox 52">
              <a:extLst>
                <a:ext uri="{FF2B5EF4-FFF2-40B4-BE49-F238E27FC236}">
                  <a16:creationId xmlns:a16="http://schemas.microsoft.com/office/drawing/2014/main" id="{29FA46E7-B335-82B5-60A7-7E648B0A4DD0}"/>
                </a:ext>
              </a:extLst>
            </p:cNvPr>
            <p:cNvSpPr txBox="1"/>
            <p:nvPr/>
          </p:nvSpPr>
          <p:spPr>
            <a:xfrm>
              <a:off x="4374480" y="3225431"/>
              <a:ext cx="9202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615F"/>
                  </a:solidFill>
                  <a:effectLst/>
                  <a:uLnTx/>
                  <a:uFillTx/>
                  <a:latin typeface="Arial" panose="020B0604020202020204"/>
                  <a:ea typeface="+mn-ea"/>
                  <a:cs typeface="Gotham Bold" pitchFamily="2" charset="0"/>
                </a:rPr>
                <a:t>PRICE</a:t>
              </a:r>
            </a:p>
          </p:txBody>
        </p:sp>
        <p:pic>
          <p:nvPicPr>
            <p:cNvPr id="12" name="Graphic 11">
              <a:extLst>
                <a:ext uri="{FF2B5EF4-FFF2-40B4-BE49-F238E27FC236}">
                  <a16:creationId xmlns:a16="http://schemas.microsoft.com/office/drawing/2014/main" id="{0FFB7968-CD19-CA1E-E53D-6E05989014E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38371" y="2147331"/>
              <a:ext cx="592628" cy="522852"/>
            </a:xfrm>
            <a:prstGeom prst="rect">
              <a:avLst/>
            </a:prstGeom>
          </p:spPr>
        </p:pic>
      </p:grpSp>
      <p:pic>
        <p:nvPicPr>
          <p:cNvPr id="6" name="Picture 5">
            <a:extLst>
              <a:ext uri="{FF2B5EF4-FFF2-40B4-BE49-F238E27FC236}">
                <a16:creationId xmlns:a16="http://schemas.microsoft.com/office/drawing/2014/main" id="{107E102A-4942-BC3D-2D22-4F24FE3686FA}"/>
              </a:ext>
            </a:extLst>
          </p:cNvPr>
          <p:cNvPicPr>
            <a:picLocks noChangeAspect="1"/>
          </p:cNvPicPr>
          <p:nvPr/>
        </p:nvPicPr>
        <p:blipFill>
          <a:blip r:embed="rId13"/>
          <a:stretch>
            <a:fillRect/>
          </a:stretch>
        </p:blipFill>
        <p:spPr>
          <a:xfrm>
            <a:off x="2829567" y="2437513"/>
            <a:ext cx="609600" cy="666750"/>
          </a:xfrm>
          <a:prstGeom prst="rect">
            <a:avLst/>
          </a:prstGeom>
        </p:spPr>
      </p:pic>
    </p:spTree>
    <p:extLst>
      <p:ext uri="{BB962C8B-B14F-4D97-AF65-F5344CB8AC3E}">
        <p14:creationId xmlns:p14="http://schemas.microsoft.com/office/powerpoint/2010/main" val="342906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4CC718C-393A-7AEC-C87F-5BBFB6DE6EFD}"/>
              </a:ext>
            </a:extLst>
          </p:cNvPr>
          <p:cNvSpPr>
            <a:spLocks noGrp="1"/>
          </p:cNvSpPr>
          <p:nvPr>
            <p:ph type="title"/>
          </p:nvPr>
        </p:nvSpPr>
        <p:spPr/>
        <p:txBody>
          <a:bodyPr>
            <a:normAutofit fontScale="90000"/>
          </a:bodyPr>
          <a:lstStyle/>
          <a:p>
            <a:r>
              <a:rPr lang="en-GB" sz="4000" dirty="0">
                <a:solidFill>
                  <a:schemeClr val="accent2"/>
                </a:solidFill>
              </a:rPr>
              <a:t>Insight 4: “Smart-mix” of strategies across stakeholders is essential</a:t>
            </a:r>
            <a:br>
              <a:rPr lang="en-GB" dirty="0"/>
            </a:br>
            <a:endParaRPr lang="en-GB" dirty="0"/>
          </a:p>
        </p:txBody>
      </p:sp>
      <p:grpSp>
        <p:nvGrpSpPr>
          <p:cNvPr id="12" name="Group 11">
            <a:extLst>
              <a:ext uri="{FF2B5EF4-FFF2-40B4-BE49-F238E27FC236}">
                <a16:creationId xmlns:a16="http://schemas.microsoft.com/office/drawing/2014/main" id="{9D98C953-B72C-938A-CF6A-4A318A5A3397}"/>
              </a:ext>
            </a:extLst>
          </p:cNvPr>
          <p:cNvGrpSpPr/>
          <p:nvPr/>
        </p:nvGrpSpPr>
        <p:grpSpPr>
          <a:xfrm>
            <a:off x="690721" y="1705076"/>
            <a:ext cx="10883662" cy="4762331"/>
            <a:chOff x="678688" y="1202907"/>
            <a:chExt cx="10883662" cy="4762331"/>
          </a:xfrm>
        </p:grpSpPr>
        <p:graphicFrame>
          <p:nvGraphicFramePr>
            <p:cNvPr id="39" name="Chart 122">
              <a:extLst>
                <a:ext uri="{FF2B5EF4-FFF2-40B4-BE49-F238E27FC236}">
                  <a16:creationId xmlns:a16="http://schemas.microsoft.com/office/drawing/2014/main" id="{1F2283E8-CC18-4811-3B84-7DEBA6F0DFA0}"/>
                </a:ext>
              </a:extLst>
            </p:cNvPr>
            <p:cNvGraphicFramePr/>
            <p:nvPr>
              <p:extLst>
                <p:ext uri="{D42A27DB-BD31-4B8C-83A1-F6EECF244321}">
                  <p14:modId xmlns:p14="http://schemas.microsoft.com/office/powerpoint/2010/main" val="748862695"/>
                </p:ext>
              </p:extLst>
            </p:nvPr>
          </p:nvGraphicFramePr>
          <p:xfrm>
            <a:off x="3658801" y="1202907"/>
            <a:ext cx="4895652" cy="4762331"/>
          </p:xfrm>
          <a:graphic>
            <a:graphicData uri="http://schemas.openxmlformats.org/drawingml/2006/chart">
              <c:chart xmlns:c="http://schemas.openxmlformats.org/drawingml/2006/chart" xmlns:r="http://schemas.openxmlformats.org/officeDocument/2006/relationships" r:id="rId3"/>
            </a:graphicData>
          </a:graphic>
        </p:graphicFrame>
        <p:grpSp>
          <p:nvGrpSpPr>
            <p:cNvPr id="9" name="Group 8">
              <a:extLst>
                <a:ext uri="{FF2B5EF4-FFF2-40B4-BE49-F238E27FC236}">
                  <a16:creationId xmlns:a16="http://schemas.microsoft.com/office/drawing/2014/main" id="{7C4B9DC9-6DEF-159F-BEA7-2444E75902ED}"/>
                </a:ext>
              </a:extLst>
            </p:cNvPr>
            <p:cNvGrpSpPr/>
            <p:nvPr/>
          </p:nvGrpSpPr>
          <p:grpSpPr>
            <a:xfrm>
              <a:off x="678688" y="1361590"/>
              <a:ext cx="10883662" cy="4158884"/>
              <a:chOff x="666655" y="1361590"/>
              <a:chExt cx="10883662" cy="4158884"/>
            </a:xfrm>
          </p:grpSpPr>
          <p:sp>
            <p:nvSpPr>
              <p:cNvPr id="56" name="Rectangle 145">
                <a:extLst>
                  <a:ext uri="{FF2B5EF4-FFF2-40B4-BE49-F238E27FC236}">
                    <a16:creationId xmlns:a16="http://schemas.microsoft.com/office/drawing/2014/main" id="{49CCED19-EF05-5690-CBCB-42881C7D50B2}"/>
                  </a:ext>
                </a:extLst>
              </p:cNvPr>
              <p:cNvSpPr/>
              <p:nvPr/>
            </p:nvSpPr>
            <p:spPr>
              <a:xfrm>
                <a:off x="666655" y="1361590"/>
                <a:ext cx="2846566" cy="1586147"/>
              </a:xfrm>
              <a:prstGeom prst="roundRect">
                <a:avLst>
                  <a:gd name="adj" fmla="val 6651"/>
                </a:avLst>
              </a:prstGeom>
              <a:solidFill>
                <a:schemeClr val="bg1"/>
              </a:solidFill>
              <a:ln>
                <a:solidFill>
                  <a:schemeClr val="accent2"/>
                </a:solidFill>
              </a:ln>
              <a:effectLst>
                <a:outerShdw blurRad="254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615F"/>
                    </a:solidFill>
                    <a:effectLst/>
                    <a:uLnTx/>
                    <a:uFillTx/>
                    <a:latin typeface="Arial" panose="020B0604020202020204"/>
                    <a:ea typeface="+mn-ea"/>
                    <a:cs typeface="Gotham Light" pitchFamily="50" charset="0"/>
                  </a:rPr>
                  <a:t>The range of factors that together create the context in which different stakeholders operate, and which can facilitate production, sourcing, processing, service provision, marketing, rural development and social welfare</a:t>
                </a:r>
                <a:r>
                  <a:rPr kumimoji="0" lang="en-GB" sz="1400" b="0" i="0" u="none" strike="noStrike" kern="1200" cap="none" spc="0" normalizeH="0" baseline="0" noProof="0" dirty="0">
                    <a:ln>
                      <a:noFill/>
                    </a:ln>
                    <a:solidFill>
                      <a:srgbClr val="00615F"/>
                    </a:solidFill>
                    <a:effectLst/>
                    <a:uLnTx/>
                    <a:uFillTx/>
                    <a:latin typeface="Arial" panose="020B0604020202020204"/>
                    <a:ea typeface="+mn-ea"/>
                    <a:cs typeface="Gotham Light" pitchFamily="50" charset="0"/>
                  </a:rPr>
                  <a:t>.</a:t>
                </a:r>
              </a:p>
            </p:txBody>
          </p:sp>
          <p:sp>
            <p:nvSpPr>
              <p:cNvPr id="57" name="Rectangle 148">
                <a:extLst>
                  <a:ext uri="{FF2B5EF4-FFF2-40B4-BE49-F238E27FC236}">
                    <a16:creationId xmlns:a16="http://schemas.microsoft.com/office/drawing/2014/main" id="{F5D26DE4-E2C7-A43F-10DD-22D2D3559728}"/>
                  </a:ext>
                </a:extLst>
              </p:cNvPr>
              <p:cNvSpPr/>
              <p:nvPr/>
            </p:nvSpPr>
            <p:spPr>
              <a:xfrm>
                <a:off x="678688" y="3174817"/>
                <a:ext cx="2849166" cy="1071516"/>
              </a:xfrm>
              <a:prstGeom prst="roundRect">
                <a:avLst>
                  <a:gd name="adj" fmla="val 8328"/>
                </a:avLst>
              </a:prstGeom>
              <a:solidFill>
                <a:schemeClr val="bg1"/>
              </a:solidFill>
              <a:ln>
                <a:solidFill>
                  <a:schemeClr val="accent2"/>
                </a:solidFill>
              </a:ln>
              <a:effectLst>
                <a:outerShdw blurRad="254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615F"/>
                    </a:solidFill>
                    <a:effectLst/>
                    <a:uLnTx/>
                    <a:uFillTx/>
                    <a:latin typeface="Arial" panose="020B0604020202020204"/>
                    <a:ea typeface="+mn-ea"/>
                    <a:cs typeface="Gotham Light" pitchFamily="50" charset="0"/>
                  </a:rPr>
                  <a:t>Strategies and actions requiring alignment, coordination and/or collaboration across the sector and/or landscape.</a:t>
                </a:r>
              </a:p>
            </p:txBody>
          </p:sp>
          <p:sp>
            <p:nvSpPr>
              <p:cNvPr id="60" name="Rectangle 153">
                <a:extLst>
                  <a:ext uri="{FF2B5EF4-FFF2-40B4-BE49-F238E27FC236}">
                    <a16:creationId xmlns:a16="http://schemas.microsoft.com/office/drawing/2014/main" id="{B9FAB40C-A981-718F-FAF9-6AF228510A41}"/>
                  </a:ext>
                </a:extLst>
              </p:cNvPr>
              <p:cNvSpPr/>
              <p:nvPr/>
            </p:nvSpPr>
            <p:spPr>
              <a:xfrm>
                <a:off x="678688" y="4473413"/>
                <a:ext cx="2851070" cy="1047061"/>
              </a:xfrm>
              <a:prstGeom prst="roundRect">
                <a:avLst>
                  <a:gd name="adj" fmla="val 8666"/>
                </a:avLst>
              </a:prstGeom>
              <a:solidFill>
                <a:schemeClr val="bg1"/>
              </a:solidFill>
              <a:ln>
                <a:solidFill>
                  <a:schemeClr val="accent2"/>
                </a:solidFill>
              </a:ln>
              <a:effectLst>
                <a:outerShdw blurRad="254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615F"/>
                    </a:solidFill>
                    <a:effectLst/>
                    <a:uLnTx/>
                    <a:uFillTx/>
                    <a:latin typeface="Arial" panose="020B0604020202020204"/>
                    <a:ea typeface="+mn-ea"/>
                    <a:cs typeface="Gotham Light" pitchFamily="50" charset="0"/>
                  </a:rPr>
                  <a:t>Efforts and technologies that enable information to be shared across the value chain and among stakeholders.</a:t>
                </a:r>
              </a:p>
            </p:txBody>
          </p:sp>
          <p:grpSp>
            <p:nvGrpSpPr>
              <p:cNvPr id="8" name="Group 7">
                <a:extLst>
                  <a:ext uri="{FF2B5EF4-FFF2-40B4-BE49-F238E27FC236}">
                    <a16:creationId xmlns:a16="http://schemas.microsoft.com/office/drawing/2014/main" id="{7B8DB378-331B-A0A4-D4BE-BAEDCA523CCC}"/>
                  </a:ext>
                </a:extLst>
              </p:cNvPr>
              <p:cNvGrpSpPr/>
              <p:nvPr/>
            </p:nvGrpSpPr>
            <p:grpSpPr>
              <a:xfrm>
                <a:off x="3513221" y="1546316"/>
                <a:ext cx="8037096" cy="3828044"/>
                <a:chOff x="3513221" y="1546316"/>
                <a:chExt cx="8037096" cy="3828044"/>
              </a:xfrm>
            </p:grpSpPr>
            <p:sp>
              <p:nvSpPr>
                <p:cNvPr id="55" name="Rectangle 143">
                  <a:extLst>
                    <a:ext uri="{FF2B5EF4-FFF2-40B4-BE49-F238E27FC236}">
                      <a16:creationId xmlns:a16="http://schemas.microsoft.com/office/drawing/2014/main" id="{38A0B6B6-E8DC-3510-D80A-2657762A9D7A}"/>
                    </a:ext>
                  </a:extLst>
                </p:cNvPr>
                <p:cNvSpPr/>
                <p:nvPr/>
              </p:nvSpPr>
              <p:spPr>
                <a:xfrm>
                  <a:off x="8626641" y="1546316"/>
                  <a:ext cx="2919957" cy="1211763"/>
                </a:xfrm>
                <a:prstGeom prst="roundRect">
                  <a:avLst>
                    <a:gd name="adj" fmla="val 9872"/>
                  </a:avLst>
                </a:prstGeom>
                <a:solidFill>
                  <a:schemeClr val="bg1"/>
                </a:solidFill>
                <a:ln>
                  <a:solidFill>
                    <a:schemeClr val="accent2"/>
                  </a:solidFill>
                </a:ln>
                <a:effectLst>
                  <a:outerShdw blurRad="254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615F"/>
                      </a:solidFill>
                      <a:effectLst/>
                      <a:uLnTx/>
                      <a:uFillTx/>
                      <a:latin typeface="Arial" panose="020B0604020202020204"/>
                      <a:ea typeface="+mn-ea"/>
                      <a:cs typeface="Gotham Light" pitchFamily="50" charset="0"/>
                    </a:rPr>
                    <a:t>Engagement between private sector or government and households/farmer groups at origin, focusing on production and processing.</a:t>
                  </a:r>
                </a:p>
              </p:txBody>
            </p:sp>
            <p:sp>
              <p:nvSpPr>
                <p:cNvPr id="58" name="Rectangle 151">
                  <a:extLst>
                    <a:ext uri="{FF2B5EF4-FFF2-40B4-BE49-F238E27FC236}">
                      <a16:creationId xmlns:a16="http://schemas.microsoft.com/office/drawing/2014/main" id="{74C632BF-8E20-24F1-5143-1CA12421DD70}"/>
                    </a:ext>
                  </a:extLst>
                </p:cNvPr>
                <p:cNvSpPr/>
                <p:nvPr/>
              </p:nvSpPr>
              <p:spPr>
                <a:xfrm>
                  <a:off x="8626643" y="3315567"/>
                  <a:ext cx="2907998" cy="551013"/>
                </a:xfrm>
                <a:prstGeom prst="roundRect">
                  <a:avLst>
                    <a:gd name="adj" fmla="val 12300"/>
                  </a:avLst>
                </a:prstGeom>
                <a:solidFill>
                  <a:schemeClr val="bg1"/>
                </a:solidFill>
                <a:ln>
                  <a:solidFill>
                    <a:schemeClr val="accent2"/>
                  </a:solidFill>
                </a:ln>
                <a:effectLst>
                  <a:outerShdw blurRad="254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615F"/>
                      </a:solidFill>
                      <a:effectLst/>
                      <a:uLnTx/>
                      <a:uFillTx/>
                      <a:latin typeface="Arial" panose="020B0604020202020204"/>
                      <a:ea typeface="+mn-ea"/>
                      <a:cs typeface="Gotham Light" pitchFamily="50" charset="0"/>
                    </a:rPr>
                    <a:t>Sourcing principles </a:t>
                  </a:r>
                  <a:br>
                    <a:rPr kumimoji="0" lang="en-GB" sz="1200" b="0" i="0" u="none" strike="noStrike" kern="1200" cap="none" spc="0" normalizeH="0" baseline="0" noProof="0" dirty="0">
                      <a:ln>
                        <a:noFill/>
                      </a:ln>
                      <a:solidFill>
                        <a:srgbClr val="00615F"/>
                      </a:solidFill>
                      <a:effectLst/>
                      <a:uLnTx/>
                      <a:uFillTx/>
                      <a:latin typeface="Arial" panose="020B0604020202020204"/>
                      <a:ea typeface="+mn-ea"/>
                      <a:cs typeface="Gotham Light" pitchFamily="50" charset="0"/>
                    </a:rPr>
                  </a:br>
                  <a:r>
                    <a:rPr kumimoji="0" lang="en-GB" sz="1200" b="0" i="0" u="none" strike="noStrike" kern="1200" cap="none" spc="0" normalizeH="0" baseline="0" noProof="0" dirty="0">
                      <a:ln>
                        <a:noFill/>
                      </a:ln>
                      <a:solidFill>
                        <a:srgbClr val="00615F"/>
                      </a:solidFill>
                      <a:effectLst/>
                      <a:uLnTx/>
                      <a:uFillTx/>
                      <a:latin typeface="Arial" panose="020B0604020202020204"/>
                      <a:ea typeface="+mn-ea"/>
                      <a:cs typeface="Gotham Light" pitchFamily="50" charset="0"/>
                    </a:rPr>
                    <a:t>and actions.</a:t>
                  </a:r>
                </a:p>
              </p:txBody>
            </p:sp>
            <p:sp>
              <p:nvSpPr>
                <p:cNvPr id="59" name="Rectangle 152">
                  <a:extLst>
                    <a:ext uri="{FF2B5EF4-FFF2-40B4-BE49-F238E27FC236}">
                      <a16:creationId xmlns:a16="http://schemas.microsoft.com/office/drawing/2014/main" id="{B775D164-6450-C661-5D7B-D1B2B37C6F35}"/>
                    </a:ext>
                  </a:extLst>
                </p:cNvPr>
                <p:cNvSpPr/>
                <p:nvPr/>
              </p:nvSpPr>
              <p:spPr>
                <a:xfrm>
                  <a:off x="8626643" y="4646938"/>
                  <a:ext cx="2923674" cy="727422"/>
                </a:xfrm>
                <a:prstGeom prst="roundRect">
                  <a:avLst>
                    <a:gd name="adj" fmla="val 13359"/>
                  </a:avLst>
                </a:prstGeom>
                <a:solidFill>
                  <a:schemeClr val="bg1"/>
                </a:solidFill>
                <a:ln>
                  <a:solidFill>
                    <a:schemeClr val="accent2"/>
                  </a:solidFill>
                </a:ln>
                <a:effectLst>
                  <a:outerShdw blurRad="254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615F"/>
                      </a:solidFill>
                      <a:effectLst/>
                      <a:uLnTx/>
                      <a:uFillTx/>
                      <a:latin typeface="Arial" panose="020B0604020202020204"/>
                      <a:ea typeface="+mn-ea"/>
                      <a:cs typeface="Gotham Light" pitchFamily="50" charset="0"/>
                    </a:rPr>
                    <a:t>Efforts around marketing, branding and product innovation.</a:t>
                  </a:r>
                </a:p>
              </p:txBody>
            </p:sp>
            <p:cxnSp>
              <p:nvCxnSpPr>
                <p:cNvPr id="41" name="Straight Connector 139">
                  <a:extLst>
                    <a:ext uri="{FF2B5EF4-FFF2-40B4-BE49-F238E27FC236}">
                      <a16:creationId xmlns:a16="http://schemas.microsoft.com/office/drawing/2014/main" id="{241C4FB7-867D-007B-7D91-2F9D7AF8C83B}"/>
                    </a:ext>
                  </a:extLst>
                </p:cNvPr>
                <p:cNvCxnSpPr>
                  <a:cxnSpLocks/>
                </p:cNvCxnSpPr>
                <p:nvPr/>
              </p:nvCxnSpPr>
              <p:spPr>
                <a:xfrm>
                  <a:off x="7688179" y="2143647"/>
                  <a:ext cx="938463" cy="0"/>
                </a:xfrm>
                <a:prstGeom prst="line">
                  <a:avLst/>
                </a:prstGeom>
                <a:ln w="28575">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50" name="Straight Connector 134">
                  <a:extLst>
                    <a:ext uri="{FF2B5EF4-FFF2-40B4-BE49-F238E27FC236}">
                      <a16:creationId xmlns:a16="http://schemas.microsoft.com/office/drawing/2014/main" id="{7B375F03-C82A-2A57-6C8D-17D5553B9FC4}"/>
                    </a:ext>
                  </a:extLst>
                </p:cNvPr>
                <p:cNvCxnSpPr>
                  <a:cxnSpLocks/>
                </p:cNvCxnSpPr>
                <p:nvPr/>
              </p:nvCxnSpPr>
              <p:spPr>
                <a:xfrm flipH="1">
                  <a:off x="3549316" y="3591073"/>
                  <a:ext cx="372979" cy="0"/>
                </a:xfrm>
                <a:prstGeom prst="line">
                  <a:avLst/>
                </a:prstGeom>
                <a:ln w="28575">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51" name="Straight Connector 138">
                  <a:extLst>
                    <a:ext uri="{FF2B5EF4-FFF2-40B4-BE49-F238E27FC236}">
                      <a16:creationId xmlns:a16="http://schemas.microsoft.com/office/drawing/2014/main" id="{17FEBA89-51B7-6CC1-EA19-0CA4272B7FB2}"/>
                    </a:ext>
                  </a:extLst>
                </p:cNvPr>
                <p:cNvCxnSpPr>
                  <a:cxnSpLocks/>
                </p:cNvCxnSpPr>
                <p:nvPr/>
              </p:nvCxnSpPr>
              <p:spPr>
                <a:xfrm>
                  <a:off x="8330841" y="3591073"/>
                  <a:ext cx="295801" cy="0"/>
                </a:xfrm>
                <a:prstGeom prst="line">
                  <a:avLst/>
                </a:prstGeom>
                <a:ln w="28575">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52" name="Straight Connector 141">
                  <a:extLst>
                    <a:ext uri="{FF2B5EF4-FFF2-40B4-BE49-F238E27FC236}">
                      <a16:creationId xmlns:a16="http://schemas.microsoft.com/office/drawing/2014/main" id="{181057D9-28D6-415E-0F96-CDE586771ECA}"/>
                    </a:ext>
                  </a:extLst>
                </p:cNvPr>
                <p:cNvCxnSpPr>
                  <a:cxnSpLocks/>
                </p:cNvCxnSpPr>
                <p:nvPr/>
              </p:nvCxnSpPr>
              <p:spPr>
                <a:xfrm flipH="1">
                  <a:off x="3525253" y="5010649"/>
                  <a:ext cx="986589" cy="0"/>
                </a:xfrm>
                <a:prstGeom prst="line">
                  <a:avLst/>
                </a:prstGeom>
                <a:ln w="28575">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53" name="Straight Connector 144">
                  <a:extLst>
                    <a:ext uri="{FF2B5EF4-FFF2-40B4-BE49-F238E27FC236}">
                      <a16:creationId xmlns:a16="http://schemas.microsoft.com/office/drawing/2014/main" id="{75F177E1-09EE-86C2-3913-1FE27AE1BAD1}"/>
                    </a:ext>
                  </a:extLst>
                </p:cNvPr>
                <p:cNvCxnSpPr>
                  <a:cxnSpLocks/>
                </p:cNvCxnSpPr>
                <p:nvPr/>
              </p:nvCxnSpPr>
              <p:spPr>
                <a:xfrm flipH="1">
                  <a:off x="3513221" y="2143647"/>
                  <a:ext cx="1106905" cy="0"/>
                </a:xfrm>
                <a:prstGeom prst="line">
                  <a:avLst/>
                </a:prstGeom>
                <a:ln w="28575">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54" name="Straight Connector 142">
                  <a:extLst>
                    <a:ext uri="{FF2B5EF4-FFF2-40B4-BE49-F238E27FC236}">
                      <a16:creationId xmlns:a16="http://schemas.microsoft.com/office/drawing/2014/main" id="{5023957C-215D-7E2D-A654-38939ABF5DC1}"/>
                    </a:ext>
                  </a:extLst>
                </p:cNvPr>
                <p:cNvCxnSpPr>
                  <a:cxnSpLocks/>
                </p:cNvCxnSpPr>
                <p:nvPr/>
              </p:nvCxnSpPr>
              <p:spPr>
                <a:xfrm>
                  <a:off x="7772400" y="5010649"/>
                  <a:ext cx="854242" cy="0"/>
                </a:xfrm>
                <a:prstGeom prst="line">
                  <a:avLst/>
                </a:prstGeom>
                <a:ln w="28575">
                  <a:solidFill>
                    <a:schemeClr val="accent2"/>
                  </a:solidFill>
                  <a:headEnd type="none"/>
                  <a:tailEnd type="oval"/>
                </a:ln>
              </p:spPr>
              <p:style>
                <a:lnRef idx="1">
                  <a:schemeClr val="accent1"/>
                </a:lnRef>
                <a:fillRef idx="0">
                  <a:schemeClr val="accent1"/>
                </a:fillRef>
                <a:effectRef idx="0">
                  <a:schemeClr val="accent1"/>
                </a:effectRef>
                <a:fontRef idx="minor">
                  <a:schemeClr val="tx1"/>
                </a:fontRef>
              </p:style>
            </p:cxnSp>
            <p:graphicFrame>
              <p:nvGraphicFramePr>
                <p:cNvPr id="40" name="Chart 123">
                  <a:extLst>
                    <a:ext uri="{FF2B5EF4-FFF2-40B4-BE49-F238E27FC236}">
                      <a16:creationId xmlns:a16="http://schemas.microsoft.com/office/drawing/2014/main" id="{D45A0FB4-F479-964F-81B7-CA3AD4C94438}"/>
                    </a:ext>
                  </a:extLst>
                </p:cNvPr>
                <p:cNvGraphicFramePr/>
                <p:nvPr>
                  <p:extLst>
                    <p:ext uri="{D42A27DB-BD31-4B8C-83A1-F6EECF244321}">
                      <p14:modId xmlns:p14="http://schemas.microsoft.com/office/powerpoint/2010/main" val="3629443437"/>
                    </p:ext>
                  </p:extLst>
                </p:nvPr>
              </p:nvGraphicFramePr>
              <p:xfrm>
                <a:off x="4561171" y="2378000"/>
                <a:ext cx="3090914" cy="2411828"/>
              </p:xfrm>
              <a:graphic>
                <a:graphicData uri="http://schemas.openxmlformats.org/drawingml/2006/chart">
                  <c:chart xmlns:c="http://schemas.openxmlformats.org/drawingml/2006/chart" xmlns:r="http://schemas.openxmlformats.org/officeDocument/2006/relationships" r:id="rId4"/>
                </a:graphicData>
              </a:graphic>
            </p:graphicFrame>
            <p:grpSp>
              <p:nvGrpSpPr>
                <p:cNvPr id="42" name="Group 124">
                  <a:extLst>
                    <a:ext uri="{FF2B5EF4-FFF2-40B4-BE49-F238E27FC236}">
                      <a16:creationId xmlns:a16="http://schemas.microsoft.com/office/drawing/2014/main" id="{FF4854BA-BB54-C23F-313E-A7FE27E20FC5}"/>
                    </a:ext>
                  </a:extLst>
                </p:cNvPr>
                <p:cNvGrpSpPr/>
                <p:nvPr/>
              </p:nvGrpSpPr>
              <p:grpSpPr>
                <a:xfrm>
                  <a:off x="3815215" y="1957198"/>
                  <a:ext cx="4626405" cy="3262521"/>
                  <a:chOff x="3087404" y="1106090"/>
                  <a:chExt cx="6131334" cy="4323783"/>
                </a:xfrm>
              </p:grpSpPr>
              <p:sp>
                <p:nvSpPr>
                  <p:cNvPr id="43" name="Title 2">
                    <a:extLst>
                      <a:ext uri="{FF2B5EF4-FFF2-40B4-BE49-F238E27FC236}">
                        <a16:creationId xmlns:a16="http://schemas.microsoft.com/office/drawing/2014/main" id="{ED342293-942B-FED0-49ED-6949B5F19699}"/>
                      </a:ext>
                    </a:extLst>
                  </p:cNvPr>
                  <p:cNvSpPr txBox="1">
                    <a:spLocks/>
                  </p:cNvSpPr>
                  <p:nvPr/>
                </p:nvSpPr>
                <p:spPr>
                  <a:xfrm>
                    <a:off x="6352718" y="1106090"/>
                    <a:ext cx="1765288" cy="572525"/>
                  </a:xfrm>
                  <a:prstGeom prst="rect">
                    <a:avLst/>
                  </a:prstGeom>
                </p:spPr>
                <p:txBody>
                  <a:bodyPr lIns="0" tIns="0" rIns="0" bIns="0" anchor="ctr"/>
                  <a:lstStyle>
                    <a:lvl1pPr algn="l" defTabSz="914400" rtl="0" eaLnBrk="1" latinLnBrk="0" hangingPunct="1">
                      <a:lnSpc>
                        <a:spcPct val="80000"/>
                      </a:lnSpc>
                      <a:spcBef>
                        <a:spcPct val="0"/>
                      </a:spcBef>
                      <a:buNone/>
                      <a:defRPr sz="3000" b="1" kern="1200" cap="all" baseline="0">
                        <a:solidFill>
                          <a:schemeClr val="tx1">
                            <a:lumMod val="85000"/>
                            <a:lumOff val="15000"/>
                          </a:schemeClr>
                        </a:solidFill>
                        <a:latin typeface="Calibri" panose="020F0502020204030204" pitchFamily="34" charset="0"/>
                        <a:ea typeface="+mj-ea"/>
                        <a:cs typeface="Calibri" panose="020F0502020204030204" pitchFamily="34" charset="0"/>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GB" sz="1050" b="1" i="0" u="none" strike="noStrike" kern="1200" cap="all" spc="0" normalizeH="0" baseline="0" noProof="0" dirty="0">
                        <a:ln>
                          <a:noFill/>
                        </a:ln>
                        <a:solidFill>
                          <a:srgbClr val="00615F"/>
                        </a:solidFill>
                        <a:effectLst/>
                        <a:uLnTx/>
                        <a:uFillTx/>
                        <a:latin typeface="Arial" panose="020B0604020202020204"/>
                        <a:ea typeface="+mj-ea"/>
                        <a:cs typeface="Gotham Bold" pitchFamily="2" charset="0"/>
                      </a:rPr>
                      <a:t>Production &amp; processing</a:t>
                    </a:r>
                  </a:p>
                </p:txBody>
              </p:sp>
              <p:sp>
                <p:nvSpPr>
                  <p:cNvPr id="44" name="Title 2">
                    <a:extLst>
                      <a:ext uri="{FF2B5EF4-FFF2-40B4-BE49-F238E27FC236}">
                        <a16:creationId xmlns:a16="http://schemas.microsoft.com/office/drawing/2014/main" id="{3DE31393-8DAD-EB69-5B29-8F95137ED6B6}"/>
                      </a:ext>
                    </a:extLst>
                  </p:cNvPr>
                  <p:cNvSpPr txBox="1">
                    <a:spLocks/>
                  </p:cNvSpPr>
                  <p:nvPr/>
                </p:nvSpPr>
                <p:spPr>
                  <a:xfrm>
                    <a:off x="7453450" y="3002744"/>
                    <a:ext cx="1765288" cy="572525"/>
                  </a:xfrm>
                  <a:prstGeom prst="rect">
                    <a:avLst/>
                  </a:prstGeom>
                </p:spPr>
                <p:txBody>
                  <a:bodyPr lIns="0" tIns="0" rIns="0" bIns="0" anchor="ctr"/>
                  <a:lstStyle>
                    <a:lvl1pPr algn="l" defTabSz="914400" rtl="0" eaLnBrk="1" latinLnBrk="0" hangingPunct="1">
                      <a:lnSpc>
                        <a:spcPct val="80000"/>
                      </a:lnSpc>
                      <a:spcBef>
                        <a:spcPct val="0"/>
                      </a:spcBef>
                      <a:buNone/>
                      <a:defRPr sz="3000" b="1" kern="1200" cap="all" baseline="0">
                        <a:solidFill>
                          <a:schemeClr val="tx1">
                            <a:lumMod val="85000"/>
                            <a:lumOff val="15000"/>
                          </a:schemeClr>
                        </a:solidFill>
                        <a:latin typeface="Calibri" panose="020F0502020204030204" pitchFamily="34" charset="0"/>
                        <a:ea typeface="+mj-ea"/>
                        <a:cs typeface="Calibri" panose="020F0502020204030204" pitchFamily="34" charset="0"/>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GB" sz="1050" b="1" i="0" u="none" strike="noStrike" kern="1200" cap="all" spc="0" normalizeH="0" baseline="0" noProof="0">
                        <a:ln>
                          <a:noFill/>
                        </a:ln>
                        <a:solidFill>
                          <a:srgbClr val="00615F"/>
                        </a:solidFill>
                        <a:effectLst/>
                        <a:uLnTx/>
                        <a:uFillTx/>
                        <a:latin typeface="Arial" panose="020B0604020202020204"/>
                        <a:ea typeface="+mj-ea"/>
                        <a:cs typeface="Gotham Bold" pitchFamily="2" charset="0"/>
                      </a:rPr>
                      <a:t>Procurement PRACTICES</a:t>
                    </a:r>
                    <a:endParaRPr kumimoji="0" lang="en-GB" sz="1050" b="1" i="0" u="none" strike="noStrike" kern="1200" cap="all" spc="0" normalizeH="0" baseline="0" noProof="0" dirty="0">
                      <a:ln>
                        <a:noFill/>
                      </a:ln>
                      <a:solidFill>
                        <a:srgbClr val="00615F"/>
                      </a:solidFill>
                      <a:effectLst/>
                      <a:uLnTx/>
                      <a:uFillTx/>
                      <a:latin typeface="Arial" panose="020B0604020202020204"/>
                      <a:ea typeface="+mj-ea"/>
                      <a:cs typeface="Gotham Bold" pitchFamily="2" charset="0"/>
                    </a:endParaRPr>
                  </a:p>
                </p:txBody>
              </p:sp>
              <p:sp>
                <p:nvSpPr>
                  <p:cNvPr id="45" name="Title 2">
                    <a:extLst>
                      <a:ext uri="{FF2B5EF4-FFF2-40B4-BE49-F238E27FC236}">
                        <a16:creationId xmlns:a16="http://schemas.microsoft.com/office/drawing/2014/main" id="{9C029968-15A5-F36B-C3AF-97EA4B408F8F}"/>
                      </a:ext>
                    </a:extLst>
                  </p:cNvPr>
                  <p:cNvSpPr txBox="1">
                    <a:spLocks/>
                  </p:cNvSpPr>
                  <p:nvPr/>
                </p:nvSpPr>
                <p:spPr>
                  <a:xfrm>
                    <a:off x="6364319" y="4857348"/>
                    <a:ext cx="1765288" cy="572525"/>
                  </a:xfrm>
                  <a:prstGeom prst="rect">
                    <a:avLst/>
                  </a:prstGeom>
                </p:spPr>
                <p:txBody>
                  <a:bodyPr lIns="0" tIns="0" rIns="0" bIns="0" anchor="ctr"/>
                  <a:lstStyle>
                    <a:lvl1pPr algn="l" defTabSz="914400" rtl="0" eaLnBrk="1" latinLnBrk="0" hangingPunct="1">
                      <a:lnSpc>
                        <a:spcPct val="80000"/>
                      </a:lnSpc>
                      <a:spcBef>
                        <a:spcPct val="0"/>
                      </a:spcBef>
                      <a:buNone/>
                      <a:defRPr sz="3000" b="1" kern="1200" cap="all" baseline="0">
                        <a:solidFill>
                          <a:schemeClr val="tx1">
                            <a:lumMod val="85000"/>
                            <a:lumOff val="15000"/>
                          </a:schemeClr>
                        </a:solidFill>
                        <a:latin typeface="Calibri" panose="020F0502020204030204" pitchFamily="34" charset="0"/>
                        <a:ea typeface="+mj-ea"/>
                        <a:cs typeface="Calibri" panose="020F0502020204030204" pitchFamily="34" charset="0"/>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GB" sz="1050" b="1" i="0" u="none" strike="noStrike" kern="1200" cap="all" spc="0" normalizeH="0" baseline="0" noProof="0">
                        <a:ln>
                          <a:noFill/>
                        </a:ln>
                        <a:solidFill>
                          <a:srgbClr val="00615F"/>
                        </a:solidFill>
                        <a:effectLst/>
                        <a:uLnTx/>
                        <a:uFillTx/>
                        <a:latin typeface="Arial" panose="020B0604020202020204"/>
                        <a:ea typeface="+mj-ea"/>
                        <a:cs typeface="Gotham Bold" pitchFamily="2" charset="0"/>
                      </a:rPr>
                      <a:t>consumer engagement</a:t>
                    </a:r>
                    <a:br>
                      <a:rPr kumimoji="0" lang="en-GB" sz="1050" b="1" i="0" u="none" strike="noStrike" kern="1200" cap="all" spc="0" normalizeH="0" baseline="0" noProof="0">
                        <a:ln>
                          <a:noFill/>
                        </a:ln>
                        <a:solidFill>
                          <a:srgbClr val="00615F"/>
                        </a:solidFill>
                        <a:effectLst/>
                        <a:uLnTx/>
                        <a:uFillTx/>
                        <a:latin typeface="Arial" panose="020B0604020202020204"/>
                        <a:ea typeface="+mj-ea"/>
                        <a:cs typeface="Gotham Bold" pitchFamily="2" charset="0"/>
                      </a:rPr>
                    </a:br>
                    <a:r>
                      <a:rPr kumimoji="0" lang="en-GB" sz="1050" b="1" i="0" u="none" strike="noStrike" kern="1200" cap="all" spc="0" normalizeH="0" baseline="0" noProof="0">
                        <a:ln>
                          <a:noFill/>
                        </a:ln>
                        <a:solidFill>
                          <a:srgbClr val="00615F"/>
                        </a:solidFill>
                        <a:effectLst/>
                        <a:uLnTx/>
                        <a:uFillTx/>
                        <a:latin typeface="Arial" panose="020B0604020202020204"/>
                        <a:ea typeface="+mj-ea"/>
                        <a:cs typeface="Gotham Bold" pitchFamily="2" charset="0"/>
                      </a:rPr>
                      <a:t>&amp; PRODUCT INNOVATION</a:t>
                    </a:r>
                    <a:endParaRPr kumimoji="0" lang="en-GB" sz="1050" b="1" i="0" u="none" strike="noStrike" kern="1200" cap="all" spc="0" normalizeH="0" baseline="0" noProof="0" dirty="0">
                      <a:ln>
                        <a:noFill/>
                      </a:ln>
                      <a:solidFill>
                        <a:srgbClr val="00615F"/>
                      </a:solidFill>
                      <a:effectLst/>
                      <a:uLnTx/>
                      <a:uFillTx/>
                      <a:latin typeface="Arial" panose="020B0604020202020204"/>
                      <a:ea typeface="+mj-ea"/>
                      <a:cs typeface="Gotham Bold" pitchFamily="2" charset="0"/>
                    </a:endParaRPr>
                  </a:p>
                </p:txBody>
              </p:sp>
              <p:sp>
                <p:nvSpPr>
                  <p:cNvPr id="46" name="Title 2">
                    <a:extLst>
                      <a:ext uri="{FF2B5EF4-FFF2-40B4-BE49-F238E27FC236}">
                        <a16:creationId xmlns:a16="http://schemas.microsoft.com/office/drawing/2014/main" id="{981C4485-DF76-3C06-3744-7B00D4B98454}"/>
                      </a:ext>
                    </a:extLst>
                  </p:cNvPr>
                  <p:cNvSpPr txBox="1">
                    <a:spLocks/>
                  </p:cNvSpPr>
                  <p:nvPr/>
                </p:nvSpPr>
                <p:spPr>
                  <a:xfrm>
                    <a:off x="4091832" y="4857348"/>
                    <a:ext cx="1765288" cy="572525"/>
                  </a:xfrm>
                  <a:prstGeom prst="rect">
                    <a:avLst/>
                  </a:prstGeom>
                </p:spPr>
                <p:txBody>
                  <a:bodyPr lIns="0" tIns="0" rIns="0" bIns="0" anchor="ctr"/>
                  <a:lstStyle>
                    <a:lvl1pPr algn="l" defTabSz="914400" rtl="0" eaLnBrk="1" latinLnBrk="0" hangingPunct="1">
                      <a:lnSpc>
                        <a:spcPct val="80000"/>
                      </a:lnSpc>
                      <a:spcBef>
                        <a:spcPct val="0"/>
                      </a:spcBef>
                      <a:buNone/>
                      <a:defRPr sz="3000" b="1" kern="1200" cap="all" baseline="0">
                        <a:solidFill>
                          <a:schemeClr val="tx1">
                            <a:lumMod val="85000"/>
                            <a:lumOff val="15000"/>
                          </a:schemeClr>
                        </a:solidFill>
                        <a:latin typeface="Calibri" panose="020F0502020204030204" pitchFamily="34" charset="0"/>
                        <a:ea typeface="+mj-ea"/>
                        <a:cs typeface="Calibri" panose="020F0502020204030204" pitchFamily="34" charset="0"/>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GB" sz="1050" b="1" i="0" u="none" strike="noStrike" kern="1200" cap="all" spc="0" normalizeH="0" baseline="0" noProof="0">
                        <a:ln>
                          <a:noFill/>
                        </a:ln>
                        <a:solidFill>
                          <a:srgbClr val="00615F"/>
                        </a:solidFill>
                        <a:effectLst/>
                        <a:uLnTx/>
                        <a:uFillTx/>
                        <a:latin typeface="Arial" panose="020B0604020202020204"/>
                        <a:ea typeface="+mj-ea"/>
                        <a:cs typeface="Gotham Bold" pitchFamily="2" charset="0"/>
                      </a:rPr>
                      <a:t>Traceability &amp; transparency</a:t>
                    </a:r>
                    <a:endParaRPr kumimoji="0" lang="en-GB" sz="1050" b="1" i="0" u="none" strike="noStrike" kern="1200" cap="all" spc="0" normalizeH="0" baseline="0" noProof="0" dirty="0">
                      <a:ln>
                        <a:noFill/>
                      </a:ln>
                      <a:solidFill>
                        <a:srgbClr val="00615F"/>
                      </a:solidFill>
                      <a:effectLst/>
                      <a:uLnTx/>
                      <a:uFillTx/>
                      <a:latin typeface="Arial" panose="020B0604020202020204"/>
                      <a:ea typeface="+mj-ea"/>
                      <a:cs typeface="Gotham Bold" pitchFamily="2" charset="0"/>
                    </a:endParaRPr>
                  </a:p>
                </p:txBody>
              </p:sp>
              <p:sp>
                <p:nvSpPr>
                  <p:cNvPr id="47" name="Title 2">
                    <a:extLst>
                      <a:ext uri="{FF2B5EF4-FFF2-40B4-BE49-F238E27FC236}">
                        <a16:creationId xmlns:a16="http://schemas.microsoft.com/office/drawing/2014/main" id="{C7AEF90E-878B-F743-67DF-E1CA589EBEAF}"/>
                      </a:ext>
                    </a:extLst>
                  </p:cNvPr>
                  <p:cNvSpPr txBox="1">
                    <a:spLocks/>
                  </p:cNvSpPr>
                  <p:nvPr/>
                </p:nvSpPr>
                <p:spPr>
                  <a:xfrm>
                    <a:off x="3087404" y="3002744"/>
                    <a:ext cx="1765288" cy="572525"/>
                  </a:xfrm>
                  <a:prstGeom prst="rect">
                    <a:avLst/>
                  </a:prstGeom>
                </p:spPr>
                <p:txBody>
                  <a:bodyPr lIns="0" tIns="0" rIns="0" bIns="0" anchor="ctr"/>
                  <a:lstStyle>
                    <a:lvl1pPr algn="l" defTabSz="914400" rtl="0" eaLnBrk="1" latinLnBrk="0" hangingPunct="1">
                      <a:lnSpc>
                        <a:spcPct val="80000"/>
                      </a:lnSpc>
                      <a:spcBef>
                        <a:spcPct val="0"/>
                      </a:spcBef>
                      <a:buNone/>
                      <a:defRPr sz="3000" b="1" kern="1200" cap="all" baseline="0">
                        <a:solidFill>
                          <a:schemeClr val="tx1">
                            <a:lumMod val="85000"/>
                            <a:lumOff val="15000"/>
                          </a:schemeClr>
                        </a:solidFill>
                        <a:latin typeface="Calibri" panose="020F0502020204030204" pitchFamily="34" charset="0"/>
                        <a:ea typeface="+mj-ea"/>
                        <a:cs typeface="Calibri" panose="020F0502020204030204" pitchFamily="34" charset="0"/>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GB" sz="1050" b="1" i="0" u="none" strike="noStrike" kern="1200" cap="all" spc="0" normalizeH="0" baseline="0" noProof="0">
                        <a:ln>
                          <a:noFill/>
                        </a:ln>
                        <a:solidFill>
                          <a:srgbClr val="00615F"/>
                        </a:solidFill>
                        <a:effectLst/>
                        <a:uLnTx/>
                        <a:uFillTx/>
                        <a:latin typeface="Arial" panose="020B0604020202020204"/>
                        <a:ea typeface="+mj-ea"/>
                        <a:cs typeface="Gotham Bold" pitchFamily="2" charset="0"/>
                      </a:rPr>
                      <a:t>Sector &amp; Landscape management</a:t>
                    </a:r>
                    <a:endParaRPr kumimoji="0" lang="en-GB" sz="1050" b="1" i="0" u="none" strike="noStrike" kern="1200" cap="all" spc="0" normalizeH="0" baseline="0" noProof="0" dirty="0">
                      <a:ln>
                        <a:noFill/>
                      </a:ln>
                      <a:solidFill>
                        <a:srgbClr val="00615F"/>
                      </a:solidFill>
                      <a:effectLst/>
                      <a:uLnTx/>
                      <a:uFillTx/>
                      <a:latin typeface="Arial" panose="020B0604020202020204"/>
                      <a:ea typeface="+mj-ea"/>
                      <a:cs typeface="Gotham Bold" pitchFamily="2" charset="0"/>
                    </a:endParaRPr>
                  </a:p>
                </p:txBody>
              </p:sp>
              <p:sp>
                <p:nvSpPr>
                  <p:cNvPr id="48" name="Title 2">
                    <a:extLst>
                      <a:ext uri="{FF2B5EF4-FFF2-40B4-BE49-F238E27FC236}">
                        <a16:creationId xmlns:a16="http://schemas.microsoft.com/office/drawing/2014/main" id="{4C9A00CA-D9F0-32F3-44D6-63F684C17148}"/>
                      </a:ext>
                    </a:extLst>
                  </p:cNvPr>
                  <p:cNvSpPr txBox="1">
                    <a:spLocks/>
                  </p:cNvSpPr>
                  <p:nvPr/>
                </p:nvSpPr>
                <p:spPr>
                  <a:xfrm>
                    <a:off x="4133809" y="1106090"/>
                    <a:ext cx="1765288" cy="572525"/>
                  </a:xfrm>
                  <a:prstGeom prst="rect">
                    <a:avLst/>
                  </a:prstGeom>
                </p:spPr>
                <p:txBody>
                  <a:bodyPr lIns="0" tIns="0" rIns="0" bIns="0" anchor="ctr"/>
                  <a:lstStyle>
                    <a:lvl1pPr algn="l" defTabSz="914400" rtl="0" eaLnBrk="1" latinLnBrk="0" hangingPunct="1">
                      <a:lnSpc>
                        <a:spcPct val="80000"/>
                      </a:lnSpc>
                      <a:spcBef>
                        <a:spcPct val="0"/>
                      </a:spcBef>
                      <a:buNone/>
                      <a:defRPr sz="3000" b="1" kern="1200" cap="all" baseline="0">
                        <a:solidFill>
                          <a:schemeClr val="tx1">
                            <a:lumMod val="85000"/>
                            <a:lumOff val="15000"/>
                          </a:schemeClr>
                        </a:solidFill>
                        <a:latin typeface="Calibri" panose="020F0502020204030204" pitchFamily="34" charset="0"/>
                        <a:ea typeface="+mj-ea"/>
                        <a:cs typeface="Calibri" panose="020F0502020204030204" pitchFamily="34" charset="0"/>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GB" sz="1050" b="1" i="0" u="none" strike="noStrike" kern="1200" cap="all" spc="0" normalizeH="0" baseline="0" noProof="0" dirty="0">
                        <a:ln>
                          <a:noFill/>
                        </a:ln>
                        <a:solidFill>
                          <a:srgbClr val="00615F"/>
                        </a:solidFill>
                        <a:effectLst/>
                        <a:uLnTx/>
                        <a:uFillTx/>
                        <a:latin typeface="Arial" panose="020B0604020202020204"/>
                        <a:ea typeface="+mj-ea"/>
                        <a:cs typeface="Gotham Bold" pitchFamily="2" charset="0"/>
                      </a:rPr>
                      <a:t>Enabling environment</a:t>
                    </a:r>
                  </a:p>
                </p:txBody>
              </p:sp>
            </p:grpSp>
            <p:sp>
              <p:nvSpPr>
                <p:cNvPr id="49" name="Title 2">
                  <a:extLst>
                    <a:ext uri="{FF2B5EF4-FFF2-40B4-BE49-F238E27FC236}">
                      <a16:creationId xmlns:a16="http://schemas.microsoft.com/office/drawing/2014/main" id="{848911D9-0F24-2A10-006F-BE8441AA2B55}"/>
                    </a:ext>
                  </a:extLst>
                </p:cNvPr>
                <p:cNvSpPr txBox="1">
                  <a:spLocks/>
                </p:cNvSpPr>
                <p:nvPr/>
              </p:nvSpPr>
              <p:spPr>
                <a:xfrm>
                  <a:off x="5504001" y="3493679"/>
                  <a:ext cx="1205251" cy="262530"/>
                </a:xfrm>
                <a:prstGeom prst="rect">
                  <a:avLst/>
                </a:prstGeom>
              </p:spPr>
              <p:txBody>
                <a:bodyPr anchor="ctr"/>
                <a:lstStyle>
                  <a:lvl1pPr algn="l" defTabSz="914400" rtl="0" eaLnBrk="1" latinLnBrk="0" hangingPunct="1">
                    <a:lnSpc>
                      <a:spcPct val="80000"/>
                    </a:lnSpc>
                    <a:spcBef>
                      <a:spcPct val="0"/>
                    </a:spcBef>
                    <a:buNone/>
                    <a:defRPr sz="3000" b="1" kern="1200" cap="all" baseline="0">
                      <a:solidFill>
                        <a:schemeClr val="tx1">
                          <a:lumMod val="85000"/>
                          <a:lumOff val="15000"/>
                        </a:schemeClr>
                      </a:solidFill>
                      <a:latin typeface="Calibri" panose="020F0502020204030204" pitchFamily="34" charset="0"/>
                      <a:ea typeface="+mj-ea"/>
                      <a:cs typeface="Calibri" panose="020F0502020204030204" pitchFamily="34" charset="0"/>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j-ea"/>
                      <a:cs typeface="Gotham Bold" pitchFamily="2" charset="0"/>
                    </a:rPr>
                    <a:t>Smart-mix of strategies</a:t>
                  </a:r>
                </a:p>
              </p:txBody>
            </p:sp>
            <p:pic>
              <p:nvPicPr>
                <p:cNvPr id="75" name="Graphic 74">
                  <a:extLst>
                    <a:ext uri="{FF2B5EF4-FFF2-40B4-BE49-F238E27FC236}">
                      <a16:creationId xmlns:a16="http://schemas.microsoft.com/office/drawing/2014/main" id="{9DCE02D0-E933-8702-B59B-2725B49A362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08548" y="4161280"/>
                  <a:ext cx="302156" cy="302156"/>
                </a:xfrm>
                <a:prstGeom prst="rect">
                  <a:avLst/>
                </a:prstGeom>
              </p:spPr>
            </p:pic>
            <p:pic>
              <p:nvPicPr>
                <p:cNvPr id="99" name="Graphic 98">
                  <a:extLst>
                    <a:ext uri="{FF2B5EF4-FFF2-40B4-BE49-F238E27FC236}">
                      <a16:creationId xmlns:a16="http://schemas.microsoft.com/office/drawing/2014/main" id="{BA851439-1755-E70C-9F0F-60976BBD845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524112" y="2693335"/>
                  <a:ext cx="302156" cy="302156"/>
                </a:xfrm>
                <a:prstGeom prst="rect">
                  <a:avLst/>
                </a:prstGeom>
              </p:spPr>
            </p:pic>
            <p:pic>
              <p:nvPicPr>
                <p:cNvPr id="101" name="Graphic 100">
                  <a:extLst>
                    <a:ext uri="{FF2B5EF4-FFF2-40B4-BE49-F238E27FC236}">
                      <a16:creationId xmlns:a16="http://schemas.microsoft.com/office/drawing/2014/main" id="{800FF8A3-FF66-7DDA-3E87-B6B333D2D69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10827" y="3437380"/>
                  <a:ext cx="302156" cy="302156"/>
                </a:xfrm>
                <a:prstGeom prst="rect">
                  <a:avLst/>
                </a:prstGeom>
              </p:spPr>
            </p:pic>
            <p:pic>
              <p:nvPicPr>
                <p:cNvPr id="102" name="Graphic 101">
                  <a:extLst>
                    <a:ext uri="{FF2B5EF4-FFF2-40B4-BE49-F238E27FC236}">
                      <a16:creationId xmlns:a16="http://schemas.microsoft.com/office/drawing/2014/main" id="{7D22831D-7E35-EC39-DE56-AE1A4490002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05622" y="3437380"/>
                  <a:ext cx="302156" cy="302156"/>
                </a:xfrm>
                <a:prstGeom prst="rect">
                  <a:avLst/>
                </a:prstGeom>
              </p:spPr>
            </p:pic>
            <p:pic>
              <p:nvPicPr>
                <p:cNvPr id="4" name="Graphic 3">
                  <a:extLst>
                    <a:ext uri="{FF2B5EF4-FFF2-40B4-BE49-F238E27FC236}">
                      <a16:creationId xmlns:a16="http://schemas.microsoft.com/office/drawing/2014/main" id="{5E878DCB-19EE-CF7D-488C-E5476AE0B02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55686" y="2675571"/>
                  <a:ext cx="311220" cy="311220"/>
                </a:xfrm>
                <a:prstGeom prst="rect">
                  <a:avLst/>
                </a:prstGeom>
              </p:spPr>
            </p:pic>
            <p:pic>
              <p:nvPicPr>
                <p:cNvPr id="11" name="Graphic 505">
                  <a:extLst>
                    <a:ext uri="{FF2B5EF4-FFF2-40B4-BE49-F238E27FC236}">
                      <a16:creationId xmlns:a16="http://schemas.microsoft.com/office/drawing/2014/main" id="{65F84DD3-5F89-75C7-EA87-49295500F79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66888" y="4157092"/>
                  <a:ext cx="330093" cy="330086"/>
                </a:xfrm>
                <a:prstGeom prst="rect">
                  <a:avLst/>
                </a:prstGeom>
              </p:spPr>
            </p:pic>
          </p:grpSp>
        </p:grpSp>
      </p:grpSp>
    </p:spTree>
    <p:extLst>
      <p:ext uri="{BB962C8B-B14F-4D97-AF65-F5344CB8AC3E}">
        <p14:creationId xmlns:p14="http://schemas.microsoft.com/office/powerpoint/2010/main" val="226953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7F12A0A-E604-768A-1940-D5100BD3D8AF}"/>
              </a:ext>
            </a:extLst>
          </p:cNvPr>
          <p:cNvSpPr>
            <a:spLocks noGrp="1"/>
          </p:cNvSpPr>
          <p:nvPr>
            <p:ph type="title"/>
          </p:nvPr>
        </p:nvSpPr>
        <p:spPr/>
        <p:txBody>
          <a:bodyPr>
            <a:normAutofit fontScale="90000"/>
          </a:bodyPr>
          <a:lstStyle/>
          <a:p>
            <a:r>
              <a:rPr lang="en-US" dirty="0"/>
              <a:t>Insight 5: Data is a necessity and crucial foundation</a:t>
            </a:r>
            <a:endParaRPr lang="en-GB" dirty="0"/>
          </a:p>
        </p:txBody>
      </p:sp>
      <p:sp>
        <p:nvSpPr>
          <p:cNvPr id="16" name="Text Placeholder 15">
            <a:extLst>
              <a:ext uri="{FF2B5EF4-FFF2-40B4-BE49-F238E27FC236}">
                <a16:creationId xmlns:a16="http://schemas.microsoft.com/office/drawing/2014/main" id="{20B456DA-93B5-DA48-0978-86EA20F99259}"/>
              </a:ext>
            </a:extLst>
          </p:cNvPr>
          <p:cNvSpPr>
            <a:spLocks noGrp="1"/>
          </p:cNvSpPr>
          <p:nvPr>
            <p:ph type="body" sz="quarter" idx="22"/>
          </p:nvPr>
        </p:nvSpPr>
        <p:spPr>
          <a:xfrm>
            <a:off x="658813" y="1371551"/>
            <a:ext cx="11096033" cy="3971925"/>
          </a:xfrm>
        </p:spPr>
        <p:txBody>
          <a:bodyPr/>
          <a:lstStyle/>
          <a:p>
            <a:pPr marL="285750" indent="-285750">
              <a:buFont typeface="Arial" panose="020B0604020202020204" pitchFamily="34" charset="0"/>
              <a:buChar char="•"/>
            </a:pPr>
            <a:r>
              <a:rPr lang="en-US" sz="2300" b="1" dirty="0">
                <a:solidFill>
                  <a:schemeClr val="accent2"/>
                </a:solidFill>
              </a:rPr>
              <a:t>Don’t let perfection get in the way of progress</a:t>
            </a:r>
            <a:r>
              <a:rPr lang="en-GB" sz="2300" dirty="0">
                <a:solidFill>
                  <a:schemeClr val="accent2"/>
                </a:solidFill>
              </a:rPr>
              <a:t>: </a:t>
            </a:r>
            <a:r>
              <a:rPr lang="en-GB" sz="2300" dirty="0"/>
              <a:t>start with what you have: fill gaps and build specificity and granularity over time</a:t>
            </a:r>
          </a:p>
          <a:p>
            <a:pPr marL="285750" indent="-285750">
              <a:buFont typeface="Arial" panose="020B0604020202020204" pitchFamily="34" charset="0"/>
              <a:buChar char="•"/>
            </a:pPr>
            <a:r>
              <a:rPr lang="en-US" sz="2300" b="1" dirty="0">
                <a:solidFill>
                  <a:schemeClr val="accent2"/>
                </a:solidFill>
              </a:rPr>
              <a:t>Go fast alone, or go far together: </a:t>
            </a:r>
            <a:r>
              <a:rPr lang="en-US" sz="2300" dirty="0"/>
              <a:t>bring stakeholders along during data discovery and analyses processes to build buy-in and accountability from the start</a:t>
            </a:r>
            <a:endParaRPr lang="en-GB" sz="2300" dirty="0"/>
          </a:p>
          <a:p>
            <a:pPr marL="285750" indent="-285750">
              <a:buFont typeface="Arial" panose="020B0604020202020204" pitchFamily="34" charset="0"/>
              <a:buChar char="•"/>
            </a:pPr>
            <a:r>
              <a:rPr lang="en-US" sz="2300" b="1" dirty="0">
                <a:solidFill>
                  <a:schemeClr val="accent2"/>
                </a:solidFill>
              </a:rPr>
              <a:t>For maximum impact, develop evidence-based strategies </a:t>
            </a:r>
            <a:r>
              <a:rPr lang="en-US" sz="2300" dirty="0"/>
              <a:t>using primary and secondary data and data modeling, and document assumptions to compare to results</a:t>
            </a:r>
            <a:endParaRPr lang="en-GB" sz="2300" dirty="0"/>
          </a:p>
          <a:p>
            <a:pPr marL="285750" indent="-285750">
              <a:buFont typeface="Arial" panose="020B0604020202020204" pitchFamily="34" charset="0"/>
              <a:buChar char="•"/>
            </a:pPr>
            <a:r>
              <a:rPr lang="en-US" sz="2300" b="1" dirty="0">
                <a:solidFill>
                  <a:schemeClr val="accent2"/>
                </a:solidFill>
              </a:rPr>
              <a:t>Align pre-competitively and Share publicly </a:t>
            </a:r>
            <a:r>
              <a:rPr lang="en-US" sz="2300" dirty="0"/>
              <a:t>(according to GDPRS) to promote a data-sharing ecosystem that is more efficient, collaborative and resource efficient over time</a:t>
            </a:r>
          </a:p>
        </p:txBody>
      </p:sp>
      <p:sp>
        <p:nvSpPr>
          <p:cNvPr id="19" name="Text Placeholder 17">
            <a:extLst>
              <a:ext uri="{FF2B5EF4-FFF2-40B4-BE49-F238E27FC236}">
                <a16:creationId xmlns:a16="http://schemas.microsoft.com/office/drawing/2014/main" id="{01897618-9AB3-5D90-E592-79457A685A92}"/>
              </a:ext>
            </a:extLst>
          </p:cNvPr>
          <p:cNvSpPr txBox="1">
            <a:spLocks/>
          </p:cNvSpPr>
          <p:nvPr/>
        </p:nvSpPr>
        <p:spPr>
          <a:xfrm>
            <a:off x="6419849" y="1271434"/>
            <a:ext cx="5113337" cy="43955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Clr>
                <a:srgbClr val="47DA86"/>
              </a:buClr>
              <a:buFont typeface="Arial" panose="020B0604020202020204" pitchFamily="34" charset="0"/>
              <a:buNone/>
              <a:tabLst/>
              <a:defRPr sz="2000" kern="1200">
                <a:solidFill>
                  <a:schemeClr val="accent2"/>
                </a:solidFill>
                <a:latin typeface="+mn-lt"/>
                <a:ea typeface="+mn-ea"/>
                <a:cs typeface="Arial" panose="020B0604020202020204" pitchFamily="34" charset="0"/>
              </a:defRPr>
            </a:lvl1pPr>
            <a:lvl2pPr marL="457200" indent="0" algn="l" defTabSz="914400" rtl="0" eaLnBrk="1" latinLnBrk="0" hangingPunct="1">
              <a:lnSpc>
                <a:spcPct val="100000"/>
              </a:lnSpc>
              <a:spcBef>
                <a:spcPts val="600"/>
              </a:spcBef>
              <a:spcAft>
                <a:spcPts val="600"/>
              </a:spcAft>
              <a:buClr>
                <a:srgbClr val="47DA86"/>
              </a:buClr>
              <a:buFont typeface="Arial" panose="020B0604020202020204" pitchFamily="34" charset="0"/>
              <a:buNone/>
              <a:tabLst/>
              <a:defRPr sz="1400" kern="1200">
                <a:solidFill>
                  <a:srgbClr val="FFFFFF"/>
                </a:solidFill>
                <a:latin typeface="+mn-lt"/>
                <a:ea typeface="+mn-ea"/>
                <a:cs typeface="Arial" panose="020B0604020202020204" pitchFamily="34" charset="0"/>
              </a:defRPr>
            </a:lvl2pPr>
            <a:lvl3pPr marL="914400" indent="0" algn="l" defTabSz="914400" rtl="0" eaLnBrk="1" latinLnBrk="0" hangingPunct="1">
              <a:lnSpc>
                <a:spcPct val="100000"/>
              </a:lnSpc>
              <a:spcBef>
                <a:spcPts val="600"/>
              </a:spcBef>
              <a:spcAft>
                <a:spcPts val="600"/>
              </a:spcAft>
              <a:buClr>
                <a:srgbClr val="47DA86"/>
              </a:buClr>
              <a:buFont typeface="Verdana" panose="020B0604030504040204" pitchFamily="34" charset="0"/>
              <a:buNone/>
              <a:tabLst/>
              <a:defRPr sz="1200" kern="1200">
                <a:solidFill>
                  <a:srgbClr val="FFFFFF"/>
                </a:solidFill>
                <a:latin typeface="+mn-lt"/>
                <a:ea typeface="+mn-ea"/>
                <a:cs typeface="Arial" panose="020B0604020202020204" pitchFamily="34" charset="0"/>
              </a:defRPr>
            </a:lvl3pPr>
            <a:lvl4pPr marL="1371600" indent="0" algn="l" defTabSz="914400" rtl="0" eaLnBrk="1" latinLnBrk="0" hangingPunct="1">
              <a:lnSpc>
                <a:spcPct val="80000"/>
              </a:lnSpc>
              <a:spcBef>
                <a:spcPts val="1200"/>
              </a:spcBef>
              <a:spcAft>
                <a:spcPts val="300"/>
              </a:spcAft>
              <a:buClr>
                <a:srgbClr val="47DA86"/>
              </a:buClr>
              <a:buFont typeface="Arial" panose="020B0604020202020204" pitchFamily="34" charset="0"/>
              <a:buNone/>
              <a:tabLst/>
              <a:defRPr sz="1400" b="1" kern="1200" cap="all" baseline="0">
                <a:solidFill>
                  <a:srgbClr val="FFFFFF"/>
                </a:solidFill>
                <a:latin typeface="+mn-lt"/>
                <a:ea typeface="+mn-ea"/>
                <a:cs typeface="Arial" panose="020B0604020202020204" pitchFamily="34" charset="0"/>
              </a:defRPr>
            </a:lvl4pPr>
            <a:lvl5pPr marL="1828800" indent="0" algn="l" defTabSz="914400" rtl="0" eaLnBrk="1" latinLnBrk="0" hangingPunct="1">
              <a:lnSpc>
                <a:spcPct val="80000"/>
              </a:lnSpc>
              <a:spcBef>
                <a:spcPts val="1200"/>
              </a:spcBef>
              <a:spcAft>
                <a:spcPts val="300"/>
              </a:spcAft>
              <a:buClr>
                <a:srgbClr val="47DA86"/>
              </a:buClr>
              <a:buFont typeface="Arial" panose="020B0604020202020204" pitchFamily="34" charset="0"/>
              <a:buNone/>
              <a:tabLst/>
              <a:defRPr sz="2000" b="1" kern="1200">
                <a:solidFill>
                  <a:schemeClr val="accent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p>
        </p:txBody>
      </p:sp>
    </p:spTree>
    <p:extLst>
      <p:ext uri="{BB962C8B-B14F-4D97-AF65-F5344CB8AC3E}">
        <p14:creationId xmlns:p14="http://schemas.microsoft.com/office/powerpoint/2010/main" val="1441813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35161E4-E0CE-85FB-76FF-C82CB4783568}"/>
              </a:ext>
            </a:extLst>
          </p:cNvPr>
          <p:cNvSpPr>
            <a:spLocks noGrp="1"/>
          </p:cNvSpPr>
          <p:nvPr>
            <p:ph type="body" sz="quarter" idx="16"/>
          </p:nvPr>
        </p:nvSpPr>
        <p:spPr/>
        <p:txBody>
          <a:bodyPr/>
          <a:lstStyle/>
          <a:p>
            <a:r>
              <a:rPr lang="en-US" dirty="0"/>
              <a:t>Thank you</a:t>
            </a:r>
          </a:p>
        </p:txBody>
      </p:sp>
      <p:sp>
        <p:nvSpPr>
          <p:cNvPr id="3" name="Text Placeholder 2">
            <a:extLst>
              <a:ext uri="{FF2B5EF4-FFF2-40B4-BE49-F238E27FC236}">
                <a16:creationId xmlns:a16="http://schemas.microsoft.com/office/drawing/2014/main" id="{612D2662-4BDE-193D-3584-BBD34EF51BD9}"/>
              </a:ext>
            </a:extLst>
          </p:cNvPr>
          <p:cNvSpPr>
            <a:spLocks noGrp="1"/>
          </p:cNvSpPr>
          <p:nvPr>
            <p:ph type="body" sz="quarter" idx="19"/>
          </p:nvPr>
        </p:nvSpPr>
        <p:spPr/>
        <p:txBody>
          <a:bodyPr/>
          <a:lstStyle/>
          <a:p>
            <a:endParaRPr lang="en-US"/>
          </a:p>
        </p:txBody>
      </p:sp>
      <p:sp>
        <p:nvSpPr>
          <p:cNvPr id="4" name="Text Placeholder 3">
            <a:extLst>
              <a:ext uri="{FF2B5EF4-FFF2-40B4-BE49-F238E27FC236}">
                <a16:creationId xmlns:a16="http://schemas.microsoft.com/office/drawing/2014/main" id="{F5AE4C05-1CBB-1466-9034-FFE07986947F}"/>
              </a:ext>
            </a:extLst>
          </p:cNvPr>
          <p:cNvSpPr>
            <a:spLocks noGrp="1"/>
          </p:cNvSpPr>
          <p:nvPr>
            <p:ph type="body" sz="quarter" idx="20"/>
          </p:nvPr>
        </p:nvSpPr>
        <p:spPr>
          <a:xfrm>
            <a:off x="658812" y="2203789"/>
            <a:ext cx="5113337" cy="447092"/>
          </a:xfrm>
        </p:spPr>
        <p:txBody>
          <a:bodyPr/>
          <a:lstStyle/>
          <a:p>
            <a:r>
              <a:rPr lang="en-US" dirty="0"/>
              <a:t>Vaibhav Panpaliya</a:t>
            </a:r>
          </a:p>
        </p:txBody>
      </p:sp>
      <p:sp>
        <p:nvSpPr>
          <p:cNvPr id="5" name="Text Placeholder 4">
            <a:extLst>
              <a:ext uri="{FF2B5EF4-FFF2-40B4-BE49-F238E27FC236}">
                <a16:creationId xmlns:a16="http://schemas.microsoft.com/office/drawing/2014/main" id="{F931BF48-DE4D-C667-0D7A-203C3A35E04D}"/>
              </a:ext>
            </a:extLst>
          </p:cNvPr>
          <p:cNvSpPr>
            <a:spLocks noGrp="1"/>
          </p:cNvSpPr>
          <p:nvPr>
            <p:ph type="body" sz="quarter" idx="22"/>
          </p:nvPr>
        </p:nvSpPr>
        <p:spPr>
          <a:xfrm>
            <a:off x="658811" y="2794364"/>
            <a:ext cx="5113337" cy="962820"/>
          </a:xfrm>
        </p:spPr>
        <p:txBody>
          <a:bodyPr/>
          <a:lstStyle/>
          <a:p>
            <a:r>
              <a:rPr lang="en-US" dirty="0"/>
              <a:t>Senior Innovation Manager – Better Income</a:t>
            </a:r>
          </a:p>
        </p:txBody>
      </p:sp>
    </p:spTree>
    <p:extLst>
      <p:ext uri="{BB962C8B-B14F-4D97-AF65-F5344CB8AC3E}">
        <p14:creationId xmlns:p14="http://schemas.microsoft.com/office/powerpoint/2010/main" val="5106065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tekst 4">
            <a:extLst>
              <a:ext uri="{FF2B5EF4-FFF2-40B4-BE49-F238E27FC236}">
                <a16:creationId xmlns:a16="http://schemas.microsoft.com/office/drawing/2014/main" id="{F10AE334-F4A8-60AA-A293-1B18D4A9629E}"/>
              </a:ext>
            </a:extLst>
          </p:cNvPr>
          <p:cNvSpPr>
            <a:spLocks noGrp="1"/>
          </p:cNvSpPr>
          <p:nvPr>
            <p:ph type="body" sz="quarter" idx="16"/>
          </p:nvPr>
        </p:nvSpPr>
        <p:spPr/>
        <p:txBody>
          <a:bodyPr/>
          <a:lstStyle/>
          <a:p>
            <a:r>
              <a:rPr lang="en-GB"/>
              <a:t>Living income, defined</a:t>
            </a:r>
            <a:endParaRPr lang="en-GB" dirty="0"/>
          </a:p>
        </p:txBody>
      </p:sp>
      <p:sp>
        <p:nvSpPr>
          <p:cNvPr id="6" name="Tijdelijke aanduiding voor tekst 5">
            <a:extLst>
              <a:ext uri="{FF2B5EF4-FFF2-40B4-BE49-F238E27FC236}">
                <a16:creationId xmlns:a16="http://schemas.microsoft.com/office/drawing/2014/main" id="{F849AE91-B193-6174-55FE-15FC37821D1E}"/>
              </a:ext>
            </a:extLst>
          </p:cNvPr>
          <p:cNvSpPr>
            <a:spLocks noGrp="1"/>
          </p:cNvSpPr>
          <p:nvPr>
            <p:ph type="body" sz="quarter" idx="17"/>
          </p:nvPr>
        </p:nvSpPr>
        <p:spPr>
          <a:xfrm>
            <a:off x="658812" y="2872829"/>
            <a:ext cx="3626109" cy="2932660"/>
          </a:xfrm>
        </p:spPr>
        <p:txBody>
          <a:bodyPr/>
          <a:lstStyle/>
          <a:p>
            <a:r>
              <a:rPr lang="en-GB" sz="1800" dirty="0">
                <a:effectLst/>
                <a:latin typeface="Segoe UI" panose="020B0502040204020203" pitchFamily="34" charset="0"/>
              </a:rPr>
              <a:t>Living income goes beyond poverty alleviation that focus on basic subsistence and survival. </a:t>
            </a:r>
            <a:endParaRPr lang="en-GB" sz="2000" dirty="0"/>
          </a:p>
        </p:txBody>
      </p:sp>
      <p:grpSp>
        <p:nvGrpSpPr>
          <p:cNvPr id="4" name="Groep 3">
            <a:extLst>
              <a:ext uri="{FF2B5EF4-FFF2-40B4-BE49-F238E27FC236}">
                <a16:creationId xmlns:a16="http://schemas.microsoft.com/office/drawing/2014/main" id="{6B0AA9EB-E14E-7DE6-4056-44D4A3912307}"/>
              </a:ext>
            </a:extLst>
          </p:cNvPr>
          <p:cNvGrpSpPr/>
          <p:nvPr/>
        </p:nvGrpSpPr>
        <p:grpSpPr>
          <a:xfrm>
            <a:off x="6627847" y="911672"/>
            <a:ext cx="4296468" cy="4003145"/>
            <a:chOff x="4888475" y="490567"/>
            <a:chExt cx="3313470" cy="3087257"/>
          </a:xfrm>
        </p:grpSpPr>
        <p:sp>
          <p:nvSpPr>
            <p:cNvPr id="13" name="Graphic 48">
              <a:extLst>
                <a:ext uri="{FF2B5EF4-FFF2-40B4-BE49-F238E27FC236}">
                  <a16:creationId xmlns:a16="http://schemas.microsoft.com/office/drawing/2014/main" id="{4F122825-E143-8A29-E9CC-E81DA2C45E98}"/>
                </a:ext>
              </a:extLst>
            </p:cNvPr>
            <p:cNvSpPr/>
            <p:nvPr/>
          </p:nvSpPr>
          <p:spPr>
            <a:xfrm rot="11700000">
              <a:off x="4888475" y="490567"/>
              <a:ext cx="3313470" cy="3087257"/>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blipFill dpi="0" rotWithShape="0">
              <a:blip r:embed="rId3"/>
              <a:srcRect/>
              <a:stretch>
                <a:fillRect/>
              </a:stretch>
            </a:blipFill>
            <a:ln w="9449" cap="flat">
              <a:noFill/>
              <a:prstDash val="solid"/>
              <a:miter/>
            </a:ln>
          </p:spPr>
          <p:txBody>
            <a:bodyPr rtlCol="0" anchor="ctr"/>
            <a:lstStyle/>
            <a:p>
              <a:endParaRPr lang="en-GB" sz="2000" dirty="0"/>
            </a:p>
          </p:txBody>
        </p:sp>
        <p:sp>
          <p:nvSpPr>
            <p:cNvPr id="12" name="Tijdelijke aanduiding voor tekst 5">
              <a:extLst>
                <a:ext uri="{FF2B5EF4-FFF2-40B4-BE49-F238E27FC236}">
                  <a16:creationId xmlns:a16="http://schemas.microsoft.com/office/drawing/2014/main" id="{0CFD2C49-863C-1AA4-0250-D176FB65ED79}"/>
                </a:ext>
              </a:extLst>
            </p:cNvPr>
            <p:cNvSpPr txBox="1">
              <a:spLocks/>
            </p:cNvSpPr>
            <p:nvPr/>
          </p:nvSpPr>
          <p:spPr>
            <a:xfrm>
              <a:off x="5403403" y="930280"/>
              <a:ext cx="2531053" cy="2183731"/>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spcAft>
                  <a:spcPts val="600"/>
                </a:spcAft>
                <a:buClr>
                  <a:srgbClr val="47DA86"/>
                </a:buClr>
                <a:buFont typeface="Arial" panose="020B0604020202020204" pitchFamily="34" charset="0"/>
                <a:buNone/>
                <a:tabLst/>
                <a:defRPr sz="1400" b="0" kern="1200">
                  <a:solidFill>
                    <a:schemeClr val="bg1"/>
                  </a:solidFill>
                  <a:latin typeface="+mn-lt"/>
                  <a:ea typeface="+mn-ea"/>
                  <a:cs typeface="Arial" panose="020B0604020202020204" pitchFamily="34" charset="0"/>
                </a:defRPr>
              </a:lvl1pPr>
              <a:lvl2pPr marL="360363" indent="-176213" algn="l" defTabSz="914400" rtl="0" eaLnBrk="1" latinLnBrk="0" hangingPunct="1">
                <a:lnSpc>
                  <a:spcPct val="100000"/>
                </a:lnSpc>
                <a:spcBef>
                  <a:spcPts val="0"/>
                </a:spcBef>
                <a:spcAft>
                  <a:spcPts val="600"/>
                </a:spcAft>
                <a:buClr>
                  <a:srgbClr val="47DA86"/>
                </a:buClr>
                <a:buFont typeface="Arial" panose="020B0604020202020204" pitchFamily="34" charset="0"/>
                <a:buChar char="•"/>
                <a:tabLst/>
                <a:defRPr sz="1400" kern="1200">
                  <a:solidFill>
                    <a:srgbClr val="FFFFFF"/>
                  </a:solidFill>
                  <a:latin typeface="+mn-lt"/>
                  <a:ea typeface="+mn-ea"/>
                  <a:cs typeface="Arial" panose="020B0604020202020204" pitchFamily="34" charset="0"/>
                </a:defRPr>
              </a:lvl2pPr>
              <a:lvl3pPr marL="538163" indent="-177800" algn="l" defTabSz="914400" rtl="0" eaLnBrk="1" latinLnBrk="0" hangingPunct="1">
                <a:lnSpc>
                  <a:spcPct val="100000"/>
                </a:lnSpc>
                <a:spcBef>
                  <a:spcPts val="0"/>
                </a:spcBef>
                <a:spcAft>
                  <a:spcPts val="600"/>
                </a:spcAft>
                <a:buClr>
                  <a:srgbClr val="47DA86"/>
                </a:buClr>
                <a:buFont typeface="Arial" panose="020B0604020202020204" pitchFamily="34" charset="0"/>
                <a:buChar char="•"/>
                <a:tabLst/>
                <a:defRPr sz="1400" kern="1200">
                  <a:solidFill>
                    <a:srgbClr val="FFFFFF"/>
                  </a:solidFill>
                  <a:latin typeface="+mn-lt"/>
                  <a:ea typeface="+mn-ea"/>
                  <a:cs typeface="Arial" panose="020B0604020202020204" pitchFamily="34" charset="0"/>
                </a:defRPr>
              </a:lvl3pPr>
              <a:lvl4pPr marL="714375" indent="-176213" algn="l" defTabSz="914400" rtl="0" eaLnBrk="1" latinLnBrk="0" hangingPunct="1">
                <a:lnSpc>
                  <a:spcPct val="100000"/>
                </a:lnSpc>
                <a:spcBef>
                  <a:spcPts val="0"/>
                </a:spcBef>
                <a:spcAft>
                  <a:spcPts val="600"/>
                </a:spcAft>
                <a:buClr>
                  <a:srgbClr val="47DA86"/>
                </a:buClr>
                <a:buFont typeface="Arial" panose="020B0604020202020204" pitchFamily="34" charset="0"/>
                <a:buChar char="•"/>
                <a:tabLst/>
                <a:defRPr sz="1400" kern="1200">
                  <a:solidFill>
                    <a:srgbClr val="FFFFFF"/>
                  </a:solidFill>
                  <a:latin typeface="+mn-lt"/>
                  <a:ea typeface="+mn-ea"/>
                  <a:cs typeface="Arial" panose="020B0604020202020204" pitchFamily="34" charset="0"/>
                </a:defRPr>
              </a:lvl4pPr>
              <a:lvl5pPr marL="892175" indent="-177800" algn="l" defTabSz="914400" rtl="0" eaLnBrk="1" latinLnBrk="0" hangingPunct="1">
                <a:lnSpc>
                  <a:spcPct val="100000"/>
                </a:lnSpc>
                <a:spcBef>
                  <a:spcPts val="0"/>
                </a:spcBef>
                <a:spcAft>
                  <a:spcPts val="600"/>
                </a:spcAft>
                <a:buClr>
                  <a:srgbClr val="47DA86"/>
                </a:buClr>
                <a:buFont typeface="Arial" panose="020B0604020202020204" pitchFamily="34" charset="0"/>
                <a:buChar char="•"/>
                <a:tabLst/>
                <a:defRPr sz="1400" kern="1200">
                  <a:solidFill>
                    <a:srgbClr val="FFFFFF"/>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GB" sz="2800" b="1" dirty="0">
                <a:solidFill>
                  <a:schemeClr val="tx2"/>
                </a:solidFill>
              </a:endParaRPr>
            </a:p>
          </p:txBody>
        </p:sp>
      </p:grpSp>
      <p:sp>
        <p:nvSpPr>
          <p:cNvPr id="7" name="Graphic 48">
            <a:extLst>
              <a:ext uri="{FF2B5EF4-FFF2-40B4-BE49-F238E27FC236}">
                <a16:creationId xmlns:a16="http://schemas.microsoft.com/office/drawing/2014/main" id="{FD483CCF-069D-409C-814B-A0A874E0161D}"/>
              </a:ext>
            </a:extLst>
          </p:cNvPr>
          <p:cNvSpPr/>
          <p:nvPr/>
        </p:nvSpPr>
        <p:spPr>
          <a:xfrm rot="900000">
            <a:off x="6438855" y="3954156"/>
            <a:ext cx="1543377" cy="1438010"/>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bg1"/>
          </a:solidFill>
          <a:ln w="9449" cap="flat">
            <a:noFill/>
            <a:prstDash val="solid"/>
            <a:miter/>
          </a:ln>
        </p:spPr>
        <p:txBody>
          <a:bodyPr rtlCol="0" anchor="ctr"/>
          <a:lstStyle/>
          <a:p>
            <a:endParaRPr lang="en-GB" dirty="0"/>
          </a:p>
        </p:txBody>
      </p:sp>
      <p:pic>
        <p:nvPicPr>
          <p:cNvPr id="9" name="Graphic 8">
            <a:extLst>
              <a:ext uri="{FF2B5EF4-FFF2-40B4-BE49-F238E27FC236}">
                <a16:creationId xmlns:a16="http://schemas.microsoft.com/office/drawing/2014/main" id="{186C4CA7-7387-E0A0-7153-241419A6FD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09687" y="4247427"/>
            <a:ext cx="783717" cy="783717"/>
          </a:xfrm>
          <a:prstGeom prst="rect">
            <a:avLst/>
          </a:prstGeom>
        </p:spPr>
      </p:pic>
      <p:sp>
        <p:nvSpPr>
          <p:cNvPr id="10" name="TextBox 9">
            <a:extLst>
              <a:ext uri="{FF2B5EF4-FFF2-40B4-BE49-F238E27FC236}">
                <a16:creationId xmlns:a16="http://schemas.microsoft.com/office/drawing/2014/main" id="{47456EE9-97E5-74AC-87E5-A8DF730ADC04}"/>
              </a:ext>
            </a:extLst>
          </p:cNvPr>
          <p:cNvSpPr txBox="1"/>
          <p:nvPr/>
        </p:nvSpPr>
        <p:spPr>
          <a:xfrm>
            <a:off x="6662262" y="1660884"/>
            <a:ext cx="4441952" cy="2308324"/>
          </a:xfrm>
          <a:prstGeom prst="rect">
            <a:avLst/>
          </a:prstGeom>
          <a:noFill/>
        </p:spPr>
        <p:txBody>
          <a:bodyPr wrap="square">
            <a:spAutoFit/>
          </a:bodyPr>
          <a:lstStyle/>
          <a:p>
            <a:pPr algn="ctr"/>
            <a:r>
              <a:rPr lang="en-GB" sz="2400" dirty="0"/>
              <a:t>The </a:t>
            </a:r>
            <a:r>
              <a:rPr lang="en-GB" sz="2400" b="1" dirty="0">
                <a:solidFill>
                  <a:schemeClr val="bg1"/>
                </a:solidFill>
              </a:rPr>
              <a:t>net annual income </a:t>
            </a:r>
            <a:r>
              <a:rPr lang="en-GB" sz="2400" dirty="0"/>
              <a:t>required for a </a:t>
            </a:r>
            <a:r>
              <a:rPr lang="en-GB" sz="2400" b="1" dirty="0"/>
              <a:t>household</a:t>
            </a:r>
          </a:p>
          <a:p>
            <a:pPr algn="ctr"/>
            <a:r>
              <a:rPr lang="en-GB" sz="2400" b="1" dirty="0"/>
              <a:t> </a:t>
            </a:r>
            <a:r>
              <a:rPr lang="en-GB" sz="2400" dirty="0"/>
              <a:t>in a </a:t>
            </a:r>
            <a:r>
              <a:rPr lang="en-GB" sz="2400" b="1" dirty="0"/>
              <a:t>particular place </a:t>
            </a:r>
          </a:p>
          <a:p>
            <a:pPr algn="ctr"/>
            <a:r>
              <a:rPr lang="en-GB" sz="2400" dirty="0"/>
              <a:t>to afford a </a:t>
            </a:r>
            <a:r>
              <a:rPr lang="en-GB" sz="2400" b="1" dirty="0">
                <a:solidFill>
                  <a:schemeClr val="bg1"/>
                </a:solidFill>
              </a:rPr>
              <a:t>decent standard </a:t>
            </a:r>
          </a:p>
          <a:p>
            <a:pPr algn="ctr"/>
            <a:r>
              <a:rPr lang="en-GB" sz="2400" b="1" dirty="0">
                <a:solidFill>
                  <a:schemeClr val="bg1"/>
                </a:solidFill>
              </a:rPr>
              <a:t>of living</a:t>
            </a:r>
            <a:r>
              <a:rPr lang="en-GB" sz="2400" dirty="0">
                <a:solidFill>
                  <a:schemeClr val="bg1"/>
                </a:solidFill>
              </a:rPr>
              <a:t> </a:t>
            </a:r>
            <a:r>
              <a:rPr lang="en-GB" sz="2400" dirty="0"/>
              <a:t>for all members </a:t>
            </a:r>
          </a:p>
          <a:p>
            <a:pPr algn="ctr"/>
            <a:r>
              <a:rPr lang="en-GB" sz="2400" dirty="0"/>
              <a:t>of that household</a:t>
            </a:r>
          </a:p>
        </p:txBody>
      </p:sp>
    </p:spTree>
    <p:extLst>
      <p:ext uri="{BB962C8B-B14F-4D97-AF65-F5344CB8AC3E}">
        <p14:creationId xmlns:p14="http://schemas.microsoft.com/office/powerpoint/2010/main" val="3642733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Tijdelijke aanduiding voor afbeelding 41">
            <a:extLst>
              <a:ext uri="{FF2B5EF4-FFF2-40B4-BE49-F238E27FC236}">
                <a16:creationId xmlns:a16="http://schemas.microsoft.com/office/drawing/2014/main" id="{2F454918-4A8F-97A1-0498-35313B2AF92B}"/>
              </a:ext>
            </a:extLst>
          </p:cNvPr>
          <p:cNvPicPr>
            <a:picLocks noGrp="1" noChangeAspect="1"/>
          </p:cNvPicPr>
          <p:nvPr>
            <p:ph type="pic" sz="quarter" idx="18"/>
          </p:nvPr>
        </p:nvPicPr>
        <p:blipFill>
          <a:blip r:embed="rId3"/>
          <a:srcRect l="14542" r="14542"/>
          <a:stretch>
            <a:fillRect/>
          </a:stretch>
        </p:blipFill>
        <p:spPr/>
      </p:pic>
      <p:sp>
        <p:nvSpPr>
          <p:cNvPr id="5" name="Tijdelijke aanduiding voor tekst 4">
            <a:extLst>
              <a:ext uri="{FF2B5EF4-FFF2-40B4-BE49-F238E27FC236}">
                <a16:creationId xmlns:a16="http://schemas.microsoft.com/office/drawing/2014/main" id="{F10AE334-F4A8-60AA-A293-1B18D4A9629E}"/>
              </a:ext>
            </a:extLst>
          </p:cNvPr>
          <p:cNvSpPr>
            <a:spLocks noGrp="1"/>
          </p:cNvSpPr>
          <p:nvPr>
            <p:ph type="body" sz="quarter" idx="16"/>
          </p:nvPr>
        </p:nvSpPr>
        <p:spPr>
          <a:xfrm>
            <a:off x="658812" y="549276"/>
            <a:ext cx="5113337" cy="1781850"/>
          </a:xfrm>
        </p:spPr>
        <p:txBody>
          <a:bodyPr/>
          <a:lstStyle/>
          <a:p>
            <a:r>
              <a:rPr lang="en-GB" dirty="0"/>
              <a:t>How is</a:t>
            </a:r>
            <a:br>
              <a:rPr lang="en-GB" dirty="0"/>
            </a:br>
            <a:r>
              <a:rPr lang="en-GB" dirty="0"/>
              <a:t>a living income calculated?</a:t>
            </a:r>
          </a:p>
        </p:txBody>
      </p:sp>
      <p:sp>
        <p:nvSpPr>
          <p:cNvPr id="10" name="Vrije vorm: vorm 9">
            <a:extLst>
              <a:ext uri="{FF2B5EF4-FFF2-40B4-BE49-F238E27FC236}">
                <a16:creationId xmlns:a16="http://schemas.microsoft.com/office/drawing/2014/main" id="{F47861AC-6CEC-EFE9-8119-2B08C53C76CC}"/>
              </a:ext>
            </a:extLst>
          </p:cNvPr>
          <p:cNvSpPr/>
          <p:nvPr/>
        </p:nvSpPr>
        <p:spPr>
          <a:xfrm>
            <a:off x="1021518" y="2682153"/>
            <a:ext cx="2058455" cy="2062857"/>
          </a:xfrm>
          <a:custGeom>
            <a:avLst/>
            <a:gdLst>
              <a:gd name="connsiteX0" fmla="*/ 438516 w 2490730"/>
              <a:gd name="connsiteY0" fmla="*/ 2143269 h 2496057"/>
              <a:gd name="connsiteX1" fmla="*/ 516608 w 2490730"/>
              <a:gd name="connsiteY1" fmla="*/ 2163385 h 2496057"/>
              <a:gd name="connsiteX2" fmla="*/ 532931 w 2490730"/>
              <a:gd name="connsiteY2" fmla="*/ 2217451 h 2496057"/>
              <a:gd name="connsiteX3" fmla="*/ 462481 w 2490730"/>
              <a:gd name="connsiteY3" fmla="*/ 2218596 h 2496057"/>
              <a:gd name="connsiteX4" fmla="*/ 422589 w 2490730"/>
              <a:gd name="connsiteY4" fmla="*/ 2145737 h 2496057"/>
              <a:gd name="connsiteX5" fmla="*/ 438516 w 2490730"/>
              <a:gd name="connsiteY5" fmla="*/ 2143269 h 2496057"/>
              <a:gd name="connsiteX6" fmla="*/ 2462091 w 2490730"/>
              <a:gd name="connsiteY6" fmla="*/ 1167454 h 2496057"/>
              <a:gd name="connsiteX7" fmla="*/ 2487669 w 2490730"/>
              <a:gd name="connsiteY7" fmla="*/ 1186668 h 2496057"/>
              <a:gd name="connsiteX8" fmla="*/ 2488472 w 2490730"/>
              <a:gd name="connsiteY8" fmla="*/ 1191005 h 2496057"/>
              <a:gd name="connsiteX9" fmla="*/ 2220025 w 2490730"/>
              <a:gd name="connsiteY9" fmla="*/ 2041358 h 2496057"/>
              <a:gd name="connsiteX10" fmla="*/ 1411271 w 2490730"/>
              <a:gd name="connsiteY10" fmla="*/ 2488388 h 2496057"/>
              <a:gd name="connsiteX11" fmla="*/ 1321428 w 2490730"/>
              <a:gd name="connsiteY11" fmla="*/ 2495957 h 2496057"/>
              <a:gd name="connsiteX12" fmla="*/ 1319340 w 2490730"/>
              <a:gd name="connsiteY12" fmla="*/ 2496057 h 2496057"/>
              <a:gd name="connsiteX13" fmla="*/ 1317271 w 2490730"/>
              <a:gd name="connsiteY13" fmla="*/ 2495676 h 2496057"/>
              <a:gd name="connsiteX14" fmla="*/ 1293280 w 2490730"/>
              <a:gd name="connsiteY14" fmla="*/ 2470218 h 2496057"/>
              <a:gd name="connsiteX15" fmla="*/ 1318958 w 2490730"/>
              <a:gd name="connsiteY15" fmla="*/ 2438377 h 2496057"/>
              <a:gd name="connsiteX16" fmla="*/ 2281219 w 2490730"/>
              <a:gd name="connsiteY16" fmla="*/ 1826556 h 2496057"/>
              <a:gd name="connsiteX17" fmla="*/ 2437638 w 2490730"/>
              <a:gd name="connsiteY17" fmla="*/ 1198473 h 2496057"/>
              <a:gd name="connsiteX18" fmla="*/ 2443300 w 2490730"/>
              <a:gd name="connsiteY18" fmla="*/ 1177312 h 2496057"/>
              <a:gd name="connsiteX19" fmla="*/ 2462091 w 2490730"/>
              <a:gd name="connsiteY19" fmla="*/ 1167454 h 2496057"/>
              <a:gd name="connsiteX20" fmla="*/ 2384489 w 2490730"/>
              <a:gd name="connsiteY20" fmla="*/ 743137 h 2496057"/>
              <a:gd name="connsiteX21" fmla="*/ 2426094 w 2490730"/>
              <a:gd name="connsiteY21" fmla="*/ 770576 h 2496057"/>
              <a:gd name="connsiteX22" fmla="*/ 2484337 w 2490730"/>
              <a:gd name="connsiteY22" fmla="*/ 1036815 h 2496057"/>
              <a:gd name="connsiteX23" fmla="*/ 2460606 w 2490730"/>
              <a:gd name="connsiteY23" fmla="*/ 1062433 h 2496057"/>
              <a:gd name="connsiteX24" fmla="*/ 2431956 w 2490730"/>
              <a:gd name="connsiteY24" fmla="*/ 1031033 h 2496057"/>
              <a:gd name="connsiteX25" fmla="*/ 2366907 w 2490730"/>
              <a:gd name="connsiteY25" fmla="*/ 826289 h 2496057"/>
              <a:gd name="connsiteX26" fmla="*/ 2368614 w 2490730"/>
              <a:gd name="connsiteY26" fmla="*/ 747869 h 2496057"/>
              <a:gd name="connsiteX27" fmla="*/ 2384489 w 2490730"/>
              <a:gd name="connsiteY27" fmla="*/ 743137 h 2496057"/>
              <a:gd name="connsiteX28" fmla="*/ 1200384 w 2490730"/>
              <a:gd name="connsiteY28" fmla="*/ 410 h 2496057"/>
              <a:gd name="connsiteX29" fmla="*/ 2182482 w 2490730"/>
              <a:gd name="connsiteY29" fmla="*/ 438325 h 2496057"/>
              <a:gd name="connsiteX30" fmla="*/ 2188545 w 2490730"/>
              <a:gd name="connsiteY30" fmla="*/ 452720 h 2496057"/>
              <a:gd name="connsiteX31" fmla="*/ 2181939 w 2490730"/>
              <a:gd name="connsiteY31" fmla="*/ 468802 h 2496057"/>
              <a:gd name="connsiteX32" fmla="*/ 2165296 w 2490730"/>
              <a:gd name="connsiteY32" fmla="*/ 474423 h 2496057"/>
              <a:gd name="connsiteX33" fmla="*/ 2150740 w 2490730"/>
              <a:gd name="connsiteY33" fmla="*/ 466613 h 2496057"/>
              <a:gd name="connsiteX34" fmla="*/ 1351402 w 2490730"/>
              <a:gd name="connsiteY34" fmla="*/ 94088 h 2496057"/>
              <a:gd name="connsiteX35" fmla="*/ 510204 w 2490730"/>
              <a:gd name="connsiteY35" fmla="*/ 408973 h 2496057"/>
              <a:gd name="connsiteX36" fmla="*/ 92968 w 2490730"/>
              <a:gd name="connsiteY36" fmla="*/ 1207066 h 2496057"/>
              <a:gd name="connsiteX37" fmla="*/ 365309 w 2490730"/>
              <a:gd name="connsiteY37" fmla="*/ 2049489 h 2496057"/>
              <a:gd name="connsiteX38" fmla="*/ 369084 w 2490730"/>
              <a:gd name="connsiteY38" fmla="*/ 2079524 h 2496057"/>
              <a:gd name="connsiteX39" fmla="*/ 353203 w 2490730"/>
              <a:gd name="connsiteY39" fmla="*/ 2092172 h 2496057"/>
              <a:gd name="connsiteX40" fmla="*/ 345634 w 2490730"/>
              <a:gd name="connsiteY40" fmla="*/ 2093236 h 2496057"/>
              <a:gd name="connsiteX41" fmla="*/ 331560 w 2490730"/>
              <a:gd name="connsiteY41" fmla="*/ 2089482 h 2496057"/>
              <a:gd name="connsiteX42" fmla="*/ 329111 w 2490730"/>
              <a:gd name="connsiteY42" fmla="*/ 2088056 h 2496057"/>
              <a:gd name="connsiteX43" fmla="*/ 324353 w 2490730"/>
              <a:gd name="connsiteY43" fmla="*/ 2082857 h 2496057"/>
              <a:gd name="connsiteX44" fmla="*/ 315037 w 2490730"/>
              <a:gd name="connsiteY44" fmla="*/ 2072577 h 2496057"/>
              <a:gd name="connsiteX45" fmla="*/ 253743 w 2490730"/>
              <a:gd name="connsiteY45" fmla="*/ 486931 h 2496057"/>
              <a:gd name="connsiteX46" fmla="*/ 1200384 w 2490730"/>
              <a:gd name="connsiteY46" fmla="*/ 410 h 2496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490730" h="2496057">
                <a:moveTo>
                  <a:pt x="438516" y="2143269"/>
                </a:moveTo>
                <a:cubicBezTo>
                  <a:pt x="462017" y="2144525"/>
                  <a:pt x="503192" y="2155525"/>
                  <a:pt x="516608" y="2163385"/>
                </a:cubicBezTo>
                <a:cubicBezTo>
                  <a:pt x="534497" y="2173865"/>
                  <a:pt x="547527" y="2191954"/>
                  <a:pt x="532931" y="2217451"/>
                </a:cubicBezTo>
                <a:cubicBezTo>
                  <a:pt x="518335" y="2242949"/>
                  <a:pt x="478282" y="2232067"/>
                  <a:pt x="462481" y="2218596"/>
                </a:cubicBezTo>
                <a:cubicBezTo>
                  <a:pt x="439534" y="2199061"/>
                  <a:pt x="413715" y="2154631"/>
                  <a:pt x="422589" y="2145737"/>
                </a:cubicBezTo>
                <a:cubicBezTo>
                  <a:pt x="424812" y="2143514"/>
                  <a:pt x="430682" y="2142850"/>
                  <a:pt x="438516" y="2143269"/>
                </a:cubicBezTo>
                <a:close/>
                <a:moveTo>
                  <a:pt x="2462091" y="1167454"/>
                </a:moveTo>
                <a:cubicBezTo>
                  <a:pt x="2473475" y="1166932"/>
                  <a:pt x="2484035" y="1174943"/>
                  <a:pt x="2487669" y="1186668"/>
                </a:cubicBezTo>
                <a:lnTo>
                  <a:pt x="2488472" y="1191005"/>
                </a:lnTo>
                <a:cubicBezTo>
                  <a:pt x="2506943" y="1499003"/>
                  <a:pt x="2411618" y="1800998"/>
                  <a:pt x="2220025" y="2041358"/>
                </a:cubicBezTo>
                <a:cubicBezTo>
                  <a:pt x="2021185" y="2290832"/>
                  <a:pt x="1733966" y="2449579"/>
                  <a:pt x="1411271" y="2488388"/>
                </a:cubicBezTo>
                <a:cubicBezTo>
                  <a:pt x="1381999" y="2492002"/>
                  <a:pt x="1351743" y="2494532"/>
                  <a:pt x="1321428" y="2495957"/>
                </a:cubicBezTo>
                <a:lnTo>
                  <a:pt x="1319340" y="2496057"/>
                </a:lnTo>
                <a:lnTo>
                  <a:pt x="1317271" y="2495676"/>
                </a:lnTo>
                <a:cubicBezTo>
                  <a:pt x="1304462" y="2493307"/>
                  <a:pt x="1294605" y="2482847"/>
                  <a:pt x="1293280" y="2470218"/>
                </a:cubicBezTo>
                <a:cubicBezTo>
                  <a:pt x="1291674" y="2454739"/>
                  <a:pt x="1303198" y="2440465"/>
                  <a:pt x="1318958" y="2438377"/>
                </a:cubicBezTo>
                <a:cubicBezTo>
                  <a:pt x="1723465" y="2408221"/>
                  <a:pt x="2082800" y="2179546"/>
                  <a:pt x="2281219" y="1826556"/>
                </a:cubicBezTo>
                <a:cubicBezTo>
                  <a:pt x="2389995" y="1638436"/>
                  <a:pt x="2444022" y="1421346"/>
                  <a:pt x="2437638" y="1198473"/>
                </a:cubicBezTo>
                <a:cubicBezTo>
                  <a:pt x="2436614" y="1190904"/>
                  <a:pt x="2438621" y="1183275"/>
                  <a:pt x="2443300" y="1177312"/>
                </a:cubicBezTo>
                <a:cubicBezTo>
                  <a:pt x="2447997" y="1171309"/>
                  <a:pt x="2454844" y="1167716"/>
                  <a:pt x="2462091" y="1167454"/>
                </a:cubicBezTo>
                <a:close/>
                <a:moveTo>
                  <a:pt x="2384489" y="743137"/>
                </a:moveTo>
                <a:cubicBezTo>
                  <a:pt x="2399871" y="743085"/>
                  <a:pt x="2413762" y="755865"/>
                  <a:pt x="2426094" y="770576"/>
                </a:cubicBezTo>
                <a:cubicBezTo>
                  <a:pt x="2479458" y="834220"/>
                  <a:pt x="2494917" y="993770"/>
                  <a:pt x="2484337" y="1036815"/>
                </a:cubicBezTo>
                <a:cubicBezTo>
                  <a:pt x="2479879" y="1054944"/>
                  <a:pt x="2475703" y="1062714"/>
                  <a:pt x="2460606" y="1062433"/>
                </a:cubicBezTo>
                <a:cubicBezTo>
                  <a:pt x="2445508" y="1062172"/>
                  <a:pt x="2432719" y="1049624"/>
                  <a:pt x="2431956" y="1031033"/>
                </a:cubicBezTo>
                <a:cubicBezTo>
                  <a:pt x="2430189" y="987988"/>
                  <a:pt x="2402804" y="875899"/>
                  <a:pt x="2366907" y="826289"/>
                </a:cubicBezTo>
                <a:cubicBezTo>
                  <a:pt x="2345605" y="796857"/>
                  <a:pt x="2339623" y="765276"/>
                  <a:pt x="2368614" y="747869"/>
                </a:cubicBezTo>
                <a:cubicBezTo>
                  <a:pt x="2374070" y="744597"/>
                  <a:pt x="2379362" y="743154"/>
                  <a:pt x="2384489" y="743137"/>
                </a:cubicBezTo>
                <a:close/>
                <a:moveTo>
                  <a:pt x="1200384" y="410"/>
                </a:moveTo>
                <a:cubicBezTo>
                  <a:pt x="1579635" y="-9187"/>
                  <a:pt x="1937525" y="150203"/>
                  <a:pt x="2182482" y="438325"/>
                </a:cubicBezTo>
                <a:cubicBezTo>
                  <a:pt x="2186196" y="442180"/>
                  <a:pt x="2188384" y="447299"/>
                  <a:pt x="2188545" y="452720"/>
                </a:cubicBezTo>
                <a:cubicBezTo>
                  <a:pt x="2188725" y="458804"/>
                  <a:pt x="2186316" y="464666"/>
                  <a:pt x="2181939" y="468802"/>
                </a:cubicBezTo>
                <a:cubicBezTo>
                  <a:pt x="2177523" y="472958"/>
                  <a:pt x="2171399" y="475046"/>
                  <a:pt x="2165296" y="474423"/>
                </a:cubicBezTo>
                <a:cubicBezTo>
                  <a:pt x="2159574" y="473861"/>
                  <a:pt x="2154354" y="471050"/>
                  <a:pt x="2150740" y="466613"/>
                </a:cubicBezTo>
                <a:cubicBezTo>
                  <a:pt x="1943327" y="234405"/>
                  <a:pt x="1659481" y="102119"/>
                  <a:pt x="1351402" y="94088"/>
                </a:cubicBezTo>
                <a:cubicBezTo>
                  <a:pt x="1047821" y="85997"/>
                  <a:pt x="749198" y="197986"/>
                  <a:pt x="510204" y="408973"/>
                </a:cubicBezTo>
                <a:cubicBezTo>
                  <a:pt x="270708" y="620382"/>
                  <a:pt x="122521" y="903806"/>
                  <a:pt x="92968" y="1207066"/>
                </a:cubicBezTo>
                <a:cubicBezTo>
                  <a:pt x="62973" y="1514944"/>
                  <a:pt x="159683" y="1814128"/>
                  <a:pt x="365309" y="2049489"/>
                </a:cubicBezTo>
                <a:cubicBezTo>
                  <a:pt x="372738" y="2058443"/>
                  <a:pt x="374103" y="2070088"/>
                  <a:pt x="369084" y="2079524"/>
                </a:cubicBezTo>
                <a:cubicBezTo>
                  <a:pt x="365831" y="2085607"/>
                  <a:pt x="360049" y="2090205"/>
                  <a:pt x="353203" y="2092172"/>
                </a:cubicBezTo>
                <a:cubicBezTo>
                  <a:pt x="350754" y="2092895"/>
                  <a:pt x="348184" y="2093236"/>
                  <a:pt x="345634" y="2093236"/>
                </a:cubicBezTo>
                <a:cubicBezTo>
                  <a:pt x="340756" y="2093236"/>
                  <a:pt x="335877" y="2091951"/>
                  <a:pt x="331560" y="2089482"/>
                </a:cubicBezTo>
                <a:lnTo>
                  <a:pt x="329111" y="2088056"/>
                </a:lnTo>
                <a:lnTo>
                  <a:pt x="324353" y="2082857"/>
                </a:lnTo>
                <a:cubicBezTo>
                  <a:pt x="321221" y="2079444"/>
                  <a:pt x="318089" y="2076051"/>
                  <a:pt x="315037" y="2072577"/>
                </a:cubicBezTo>
                <a:cubicBezTo>
                  <a:pt x="-80335" y="1636429"/>
                  <a:pt x="-106716" y="954640"/>
                  <a:pt x="253743" y="486931"/>
                </a:cubicBezTo>
                <a:cubicBezTo>
                  <a:pt x="482598" y="187385"/>
                  <a:pt x="827638" y="10047"/>
                  <a:pt x="1200384" y="410"/>
                </a:cubicBezTo>
                <a:close/>
              </a:path>
            </a:pathLst>
          </a:custGeom>
          <a:solidFill>
            <a:srgbClr val="47DA86"/>
          </a:solidFill>
          <a:ln w="6350" cap="flat">
            <a:noFill/>
            <a:prstDash val="solid"/>
            <a:miter/>
          </a:ln>
        </p:spPr>
        <p:txBody>
          <a:bodyPr wrap="square" rtlCol="0" anchor="ctr">
            <a:noAutofit/>
          </a:bodyPr>
          <a:lstStyle/>
          <a:p>
            <a:endParaRPr lang="en-GB" dirty="0"/>
          </a:p>
        </p:txBody>
      </p:sp>
      <p:sp>
        <p:nvSpPr>
          <p:cNvPr id="11" name="Tekstvak 10">
            <a:extLst>
              <a:ext uri="{FF2B5EF4-FFF2-40B4-BE49-F238E27FC236}">
                <a16:creationId xmlns:a16="http://schemas.microsoft.com/office/drawing/2014/main" id="{0F5E0AAD-E0A8-4659-FF9D-1CA98D50B699}"/>
              </a:ext>
            </a:extLst>
          </p:cNvPr>
          <p:cNvSpPr txBox="1"/>
          <p:nvPr/>
        </p:nvSpPr>
        <p:spPr>
          <a:xfrm>
            <a:off x="661736" y="4947498"/>
            <a:ext cx="2851484" cy="276999"/>
          </a:xfrm>
          <a:prstGeom prst="rect">
            <a:avLst/>
          </a:prstGeom>
          <a:noFill/>
        </p:spPr>
        <p:txBody>
          <a:bodyPr wrap="square" lIns="0" tIns="0" rIns="0" bIns="0" rtlCol="0">
            <a:spAutoFit/>
          </a:bodyPr>
          <a:lstStyle/>
          <a:p>
            <a:pPr algn="ctr"/>
            <a:r>
              <a:rPr lang="en-GB" b="1" dirty="0">
                <a:solidFill>
                  <a:schemeClr val="accent2"/>
                </a:solidFill>
                <a:cs typeface="Arial" panose="020B0604020202020204" pitchFamily="34" charset="0"/>
              </a:rPr>
              <a:t>Basic costs for the Family</a:t>
            </a:r>
          </a:p>
        </p:txBody>
      </p:sp>
      <p:sp>
        <p:nvSpPr>
          <p:cNvPr id="14" name="Tekstvak 13">
            <a:extLst>
              <a:ext uri="{FF2B5EF4-FFF2-40B4-BE49-F238E27FC236}">
                <a16:creationId xmlns:a16="http://schemas.microsoft.com/office/drawing/2014/main" id="{89231F7E-9372-B2A0-1E86-503BD8DD16C9}"/>
              </a:ext>
            </a:extLst>
          </p:cNvPr>
          <p:cNvSpPr txBox="1"/>
          <p:nvPr/>
        </p:nvSpPr>
        <p:spPr>
          <a:xfrm>
            <a:off x="661736" y="5224223"/>
            <a:ext cx="2851484" cy="246221"/>
          </a:xfrm>
          <a:prstGeom prst="rect">
            <a:avLst/>
          </a:prstGeom>
          <a:noFill/>
        </p:spPr>
        <p:txBody>
          <a:bodyPr wrap="square" lIns="0" tIns="0" rIns="0" bIns="0" rtlCol="0">
            <a:spAutoFit/>
          </a:bodyPr>
          <a:lstStyle/>
          <a:p>
            <a:pPr algn="ctr"/>
            <a:r>
              <a:rPr lang="en-GB" sz="1600" dirty="0">
                <a:solidFill>
                  <a:schemeClr val="bg1"/>
                </a:solidFill>
                <a:cs typeface="Arial" panose="020B0604020202020204" pitchFamily="34" charset="0"/>
              </a:rPr>
              <a:t>All costs are local</a:t>
            </a:r>
          </a:p>
        </p:txBody>
      </p:sp>
      <p:sp>
        <p:nvSpPr>
          <p:cNvPr id="20" name="Tekstvak 19">
            <a:extLst>
              <a:ext uri="{FF2B5EF4-FFF2-40B4-BE49-F238E27FC236}">
                <a16:creationId xmlns:a16="http://schemas.microsoft.com/office/drawing/2014/main" id="{F4A8277A-FD73-E683-8302-E697D6A00C50}"/>
              </a:ext>
            </a:extLst>
          </p:cNvPr>
          <p:cNvSpPr txBox="1"/>
          <p:nvPr/>
        </p:nvSpPr>
        <p:spPr>
          <a:xfrm>
            <a:off x="5146024" y="779814"/>
            <a:ext cx="2113697" cy="315432"/>
          </a:xfrm>
          <a:prstGeom prst="rect">
            <a:avLst/>
          </a:prstGeom>
          <a:noFill/>
        </p:spPr>
        <p:txBody>
          <a:bodyPr wrap="square" lIns="0" tIns="0" rIns="0" bIns="0" rtlCol="0" anchor="ctr">
            <a:noAutofit/>
          </a:bodyPr>
          <a:lstStyle/>
          <a:p>
            <a:pPr algn="r"/>
            <a:r>
              <a:rPr lang="en-GB" sz="1600" dirty="0">
                <a:solidFill>
                  <a:schemeClr val="bg1"/>
                </a:solidFill>
                <a:cs typeface="Arial" panose="020B0604020202020204" pitchFamily="34" charset="0"/>
              </a:rPr>
              <a:t>Food</a:t>
            </a:r>
          </a:p>
        </p:txBody>
      </p:sp>
      <p:sp>
        <p:nvSpPr>
          <p:cNvPr id="22" name="Tekstvak 21">
            <a:extLst>
              <a:ext uri="{FF2B5EF4-FFF2-40B4-BE49-F238E27FC236}">
                <a16:creationId xmlns:a16="http://schemas.microsoft.com/office/drawing/2014/main" id="{6579D807-D9A0-0890-CD5D-142EE4CAF31B}"/>
              </a:ext>
            </a:extLst>
          </p:cNvPr>
          <p:cNvSpPr txBox="1"/>
          <p:nvPr/>
        </p:nvSpPr>
        <p:spPr>
          <a:xfrm>
            <a:off x="4299100" y="1488108"/>
            <a:ext cx="2113697" cy="315432"/>
          </a:xfrm>
          <a:prstGeom prst="rect">
            <a:avLst/>
          </a:prstGeom>
          <a:noFill/>
        </p:spPr>
        <p:txBody>
          <a:bodyPr wrap="square" lIns="0" tIns="0" rIns="0" bIns="0" rtlCol="0" anchor="ctr">
            <a:noAutofit/>
          </a:bodyPr>
          <a:lstStyle/>
          <a:p>
            <a:pPr algn="r"/>
            <a:r>
              <a:rPr lang="en-GB" sz="1600">
                <a:solidFill>
                  <a:schemeClr val="bg1"/>
                </a:solidFill>
                <a:cs typeface="Arial" panose="020B0604020202020204" pitchFamily="34" charset="0"/>
              </a:rPr>
              <a:t>Housing</a:t>
            </a:r>
            <a:endParaRPr lang="en-GB" sz="1600" dirty="0">
              <a:solidFill>
                <a:schemeClr val="bg1"/>
              </a:solidFill>
              <a:cs typeface="Arial" panose="020B0604020202020204" pitchFamily="34" charset="0"/>
            </a:endParaRPr>
          </a:p>
        </p:txBody>
      </p:sp>
      <p:sp>
        <p:nvSpPr>
          <p:cNvPr id="23" name="Tekstvak 22">
            <a:extLst>
              <a:ext uri="{FF2B5EF4-FFF2-40B4-BE49-F238E27FC236}">
                <a16:creationId xmlns:a16="http://schemas.microsoft.com/office/drawing/2014/main" id="{BF6A5DAA-F783-1977-910D-72CB7845DE94}"/>
              </a:ext>
            </a:extLst>
          </p:cNvPr>
          <p:cNvSpPr txBox="1"/>
          <p:nvPr/>
        </p:nvSpPr>
        <p:spPr>
          <a:xfrm>
            <a:off x="3896342" y="2458974"/>
            <a:ext cx="2113697" cy="315432"/>
          </a:xfrm>
          <a:prstGeom prst="rect">
            <a:avLst/>
          </a:prstGeom>
          <a:noFill/>
        </p:spPr>
        <p:txBody>
          <a:bodyPr wrap="square" lIns="0" tIns="0" rIns="0" bIns="0" rtlCol="0" anchor="ctr">
            <a:noAutofit/>
          </a:bodyPr>
          <a:lstStyle/>
          <a:p>
            <a:pPr algn="r"/>
            <a:r>
              <a:rPr lang="en-GB" sz="1600">
                <a:solidFill>
                  <a:schemeClr val="bg1"/>
                </a:solidFill>
                <a:cs typeface="Arial" panose="020B0604020202020204" pitchFamily="34" charset="0"/>
              </a:rPr>
              <a:t>Education</a:t>
            </a:r>
            <a:endParaRPr lang="en-GB" sz="1600" dirty="0">
              <a:solidFill>
                <a:schemeClr val="bg1"/>
              </a:solidFill>
              <a:cs typeface="Arial" panose="020B0604020202020204" pitchFamily="34" charset="0"/>
            </a:endParaRPr>
          </a:p>
        </p:txBody>
      </p:sp>
      <p:sp>
        <p:nvSpPr>
          <p:cNvPr id="24" name="Tekstvak 23">
            <a:extLst>
              <a:ext uri="{FF2B5EF4-FFF2-40B4-BE49-F238E27FC236}">
                <a16:creationId xmlns:a16="http://schemas.microsoft.com/office/drawing/2014/main" id="{15BF0493-52D6-68A1-AFD7-7C1C985E2DF4}"/>
              </a:ext>
            </a:extLst>
          </p:cNvPr>
          <p:cNvSpPr txBox="1"/>
          <p:nvPr/>
        </p:nvSpPr>
        <p:spPr>
          <a:xfrm>
            <a:off x="3875078" y="3485067"/>
            <a:ext cx="2113697" cy="315432"/>
          </a:xfrm>
          <a:prstGeom prst="rect">
            <a:avLst/>
          </a:prstGeom>
          <a:noFill/>
        </p:spPr>
        <p:txBody>
          <a:bodyPr wrap="square" lIns="0" tIns="0" rIns="0" bIns="0" rtlCol="0" anchor="ctr">
            <a:noAutofit/>
          </a:bodyPr>
          <a:lstStyle/>
          <a:p>
            <a:pPr algn="r"/>
            <a:r>
              <a:rPr lang="en-GB" sz="1600">
                <a:solidFill>
                  <a:schemeClr val="bg1"/>
                </a:solidFill>
                <a:cs typeface="Arial" panose="020B0604020202020204" pitchFamily="34" charset="0"/>
              </a:rPr>
              <a:t>Health care</a:t>
            </a:r>
            <a:endParaRPr lang="en-GB" sz="1600" dirty="0">
              <a:solidFill>
                <a:schemeClr val="bg1"/>
              </a:solidFill>
              <a:cs typeface="Arial" panose="020B0604020202020204" pitchFamily="34" charset="0"/>
            </a:endParaRPr>
          </a:p>
        </p:txBody>
      </p:sp>
      <p:sp>
        <p:nvSpPr>
          <p:cNvPr id="25" name="Tekstvak 24">
            <a:extLst>
              <a:ext uri="{FF2B5EF4-FFF2-40B4-BE49-F238E27FC236}">
                <a16:creationId xmlns:a16="http://schemas.microsoft.com/office/drawing/2014/main" id="{725B4735-5B93-F1A0-CE64-7F84E5C2B336}"/>
              </a:ext>
            </a:extLst>
          </p:cNvPr>
          <p:cNvSpPr txBox="1"/>
          <p:nvPr/>
        </p:nvSpPr>
        <p:spPr>
          <a:xfrm>
            <a:off x="4211404" y="4499084"/>
            <a:ext cx="2113697" cy="315432"/>
          </a:xfrm>
          <a:prstGeom prst="rect">
            <a:avLst/>
          </a:prstGeom>
          <a:noFill/>
        </p:spPr>
        <p:txBody>
          <a:bodyPr wrap="square" lIns="0" tIns="0" rIns="0" bIns="0" rtlCol="0" anchor="ctr">
            <a:noAutofit/>
          </a:bodyPr>
          <a:lstStyle/>
          <a:p>
            <a:pPr algn="r"/>
            <a:r>
              <a:rPr lang="en-GB" sz="1600">
                <a:solidFill>
                  <a:schemeClr val="bg1"/>
                </a:solidFill>
                <a:cs typeface="Arial" panose="020B0604020202020204" pitchFamily="34" charset="0"/>
              </a:rPr>
              <a:t>Transportation</a:t>
            </a:r>
            <a:endParaRPr lang="en-GB" sz="1600" dirty="0">
              <a:solidFill>
                <a:schemeClr val="bg1"/>
              </a:solidFill>
              <a:cs typeface="Arial" panose="020B0604020202020204" pitchFamily="34" charset="0"/>
            </a:endParaRPr>
          </a:p>
        </p:txBody>
      </p:sp>
      <p:sp>
        <p:nvSpPr>
          <p:cNvPr id="26" name="Tekstvak 25">
            <a:extLst>
              <a:ext uri="{FF2B5EF4-FFF2-40B4-BE49-F238E27FC236}">
                <a16:creationId xmlns:a16="http://schemas.microsoft.com/office/drawing/2014/main" id="{68ACAB2A-8305-F0E7-FBF9-745D6BAD47CF}"/>
              </a:ext>
            </a:extLst>
          </p:cNvPr>
          <p:cNvSpPr txBox="1"/>
          <p:nvPr/>
        </p:nvSpPr>
        <p:spPr>
          <a:xfrm>
            <a:off x="3826169" y="5147030"/>
            <a:ext cx="3428999" cy="385010"/>
          </a:xfrm>
          <a:prstGeom prst="rect">
            <a:avLst/>
          </a:prstGeom>
          <a:noFill/>
        </p:spPr>
        <p:txBody>
          <a:bodyPr wrap="square" lIns="0" tIns="0" rIns="0" bIns="0" rtlCol="0" anchor="ctr">
            <a:noAutofit/>
          </a:bodyPr>
          <a:lstStyle/>
          <a:p>
            <a:pPr algn="r"/>
            <a:r>
              <a:rPr lang="en-GB" sz="1600">
                <a:solidFill>
                  <a:schemeClr val="bg1"/>
                </a:solidFill>
                <a:cs typeface="Arial" panose="020B0604020202020204" pitchFamily="34" charset="0"/>
              </a:rPr>
              <a:t>Other essential needs</a:t>
            </a:r>
            <a:br>
              <a:rPr lang="en-GB" sz="1600">
                <a:solidFill>
                  <a:schemeClr val="bg1"/>
                </a:solidFill>
                <a:cs typeface="Arial" panose="020B0604020202020204" pitchFamily="34" charset="0"/>
              </a:rPr>
            </a:br>
            <a:r>
              <a:rPr lang="en-GB" sz="1100">
                <a:solidFill>
                  <a:schemeClr val="bg1"/>
                </a:solidFill>
                <a:cs typeface="Arial" panose="020B0604020202020204" pitchFamily="34" charset="0"/>
              </a:rPr>
              <a:t>including provision for unexpected events </a:t>
            </a:r>
            <a:endParaRPr lang="en-GB" sz="1600" dirty="0">
              <a:solidFill>
                <a:schemeClr val="bg1"/>
              </a:solidFill>
              <a:cs typeface="Arial" panose="020B0604020202020204" pitchFamily="34" charset="0"/>
            </a:endParaRPr>
          </a:p>
        </p:txBody>
      </p:sp>
      <p:grpSp>
        <p:nvGrpSpPr>
          <p:cNvPr id="21" name="Groep 20">
            <a:extLst>
              <a:ext uri="{FF2B5EF4-FFF2-40B4-BE49-F238E27FC236}">
                <a16:creationId xmlns:a16="http://schemas.microsoft.com/office/drawing/2014/main" id="{B8D4B772-A172-4204-7A2F-A28257F4EE7B}"/>
              </a:ext>
            </a:extLst>
          </p:cNvPr>
          <p:cNvGrpSpPr/>
          <p:nvPr/>
        </p:nvGrpSpPr>
        <p:grpSpPr>
          <a:xfrm>
            <a:off x="7339104" y="634301"/>
            <a:ext cx="650895" cy="606458"/>
            <a:chOff x="7339104" y="634301"/>
            <a:chExt cx="650895" cy="606458"/>
          </a:xfrm>
        </p:grpSpPr>
        <p:sp>
          <p:nvSpPr>
            <p:cNvPr id="4" name="Graphic 48">
              <a:extLst>
                <a:ext uri="{FF2B5EF4-FFF2-40B4-BE49-F238E27FC236}">
                  <a16:creationId xmlns:a16="http://schemas.microsoft.com/office/drawing/2014/main" id="{BD3817E5-6462-CFA6-53B8-81ED9739A91B}"/>
                </a:ext>
              </a:extLst>
            </p:cNvPr>
            <p:cNvSpPr/>
            <p:nvPr/>
          </p:nvSpPr>
          <p:spPr>
            <a:xfrm>
              <a:off x="7339104" y="634301"/>
              <a:ext cx="650895" cy="606458"/>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bg1"/>
            </a:solidFill>
            <a:ln w="9449" cap="flat">
              <a:noFill/>
              <a:prstDash val="solid"/>
              <a:miter/>
            </a:ln>
          </p:spPr>
          <p:txBody>
            <a:bodyPr rtlCol="0" anchor="ctr"/>
            <a:lstStyle/>
            <a:p>
              <a:endParaRPr lang="en-GB" dirty="0"/>
            </a:p>
          </p:txBody>
        </p:sp>
        <p:pic>
          <p:nvPicPr>
            <p:cNvPr id="28" name="Graphic 27">
              <a:extLst>
                <a:ext uri="{FF2B5EF4-FFF2-40B4-BE49-F238E27FC236}">
                  <a16:creationId xmlns:a16="http://schemas.microsoft.com/office/drawing/2014/main" id="{E22933D6-5D3E-BFA7-C217-3D2C0F54531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07339" y="780318"/>
              <a:ext cx="314425" cy="314425"/>
            </a:xfrm>
            <a:prstGeom prst="rect">
              <a:avLst/>
            </a:prstGeom>
          </p:spPr>
        </p:pic>
      </p:grpSp>
      <p:grpSp>
        <p:nvGrpSpPr>
          <p:cNvPr id="34" name="Groep 33">
            <a:extLst>
              <a:ext uri="{FF2B5EF4-FFF2-40B4-BE49-F238E27FC236}">
                <a16:creationId xmlns:a16="http://schemas.microsoft.com/office/drawing/2014/main" id="{2C427EC6-ACAC-F8DD-2D63-3E47C08B0603}"/>
              </a:ext>
            </a:extLst>
          </p:cNvPr>
          <p:cNvGrpSpPr/>
          <p:nvPr/>
        </p:nvGrpSpPr>
        <p:grpSpPr>
          <a:xfrm>
            <a:off x="6585124" y="1342595"/>
            <a:ext cx="650895" cy="606458"/>
            <a:chOff x="6585124" y="1342595"/>
            <a:chExt cx="650895" cy="606458"/>
          </a:xfrm>
        </p:grpSpPr>
        <p:sp>
          <p:nvSpPr>
            <p:cNvPr id="15" name="Graphic 48">
              <a:extLst>
                <a:ext uri="{FF2B5EF4-FFF2-40B4-BE49-F238E27FC236}">
                  <a16:creationId xmlns:a16="http://schemas.microsoft.com/office/drawing/2014/main" id="{F804E7BE-FEC0-1C18-95E0-579061AF9339}"/>
                </a:ext>
              </a:extLst>
            </p:cNvPr>
            <p:cNvSpPr/>
            <p:nvPr/>
          </p:nvSpPr>
          <p:spPr>
            <a:xfrm rot="900000">
              <a:off x="6585124" y="1342595"/>
              <a:ext cx="650895" cy="606458"/>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bg1"/>
            </a:solidFill>
            <a:ln w="9449" cap="flat">
              <a:noFill/>
              <a:prstDash val="solid"/>
              <a:miter/>
            </a:ln>
          </p:spPr>
          <p:txBody>
            <a:bodyPr rtlCol="0" anchor="ctr"/>
            <a:lstStyle/>
            <a:p>
              <a:endParaRPr lang="en-GB" dirty="0"/>
            </a:p>
          </p:txBody>
        </p:sp>
        <p:pic>
          <p:nvPicPr>
            <p:cNvPr id="29" name="Graphic 28">
              <a:extLst>
                <a:ext uri="{FF2B5EF4-FFF2-40B4-BE49-F238E27FC236}">
                  <a16:creationId xmlns:a16="http://schemas.microsoft.com/office/drawing/2014/main" id="{D333A947-664C-524C-73CC-2286C7BFA99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47462" y="1481098"/>
              <a:ext cx="302156" cy="302156"/>
            </a:xfrm>
            <a:prstGeom prst="rect">
              <a:avLst/>
            </a:prstGeom>
          </p:spPr>
        </p:pic>
      </p:grpSp>
      <p:grpSp>
        <p:nvGrpSpPr>
          <p:cNvPr id="35" name="Groep 34">
            <a:extLst>
              <a:ext uri="{FF2B5EF4-FFF2-40B4-BE49-F238E27FC236}">
                <a16:creationId xmlns:a16="http://schemas.microsoft.com/office/drawing/2014/main" id="{DC5660B9-DA76-016C-865A-6DE937FD0BBC}"/>
              </a:ext>
            </a:extLst>
          </p:cNvPr>
          <p:cNvGrpSpPr/>
          <p:nvPr/>
        </p:nvGrpSpPr>
        <p:grpSpPr>
          <a:xfrm>
            <a:off x="6197391" y="2291242"/>
            <a:ext cx="606458" cy="650895"/>
            <a:chOff x="6197391" y="2291242"/>
            <a:chExt cx="606458" cy="650895"/>
          </a:xfrm>
        </p:grpSpPr>
        <p:sp>
          <p:nvSpPr>
            <p:cNvPr id="16" name="Graphic 48">
              <a:extLst>
                <a:ext uri="{FF2B5EF4-FFF2-40B4-BE49-F238E27FC236}">
                  <a16:creationId xmlns:a16="http://schemas.microsoft.com/office/drawing/2014/main" id="{C7B014F2-BCB8-CCC1-6DE1-9B4E0AC1CF52}"/>
                </a:ext>
              </a:extLst>
            </p:cNvPr>
            <p:cNvSpPr/>
            <p:nvPr/>
          </p:nvSpPr>
          <p:spPr>
            <a:xfrm rot="2700000">
              <a:off x="6175172" y="2313461"/>
              <a:ext cx="650895" cy="606458"/>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bg1"/>
            </a:solidFill>
            <a:ln w="9449" cap="flat">
              <a:noFill/>
              <a:prstDash val="solid"/>
              <a:miter/>
            </a:ln>
          </p:spPr>
          <p:txBody>
            <a:bodyPr rtlCol="0" anchor="ctr"/>
            <a:lstStyle/>
            <a:p>
              <a:endParaRPr lang="en-GB" dirty="0"/>
            </a:p>
          </p:txBody>
        </p:sp>
        <p:pic>
          <p:nvPicPr>
            <p:cNvPr id="30" name="Graphic 29">
              <a:extLst>
                <a:ext uri="{FF2B5EF4-FFF2-40B4-BE49-F238E27FC236}">
                  <a16:creationId xmlns:a16="http://schemas.microsoft.com/office/drawing/2014/main" id="{E07D8A1B-87D2-0859-C9C2-988912DF72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43407" y="2459478"/>
              <a:ext cx="314425" cy="314425"/>
            </a:xfrm>
            <a:prstGeom prst="rect">
              <a:avLst/>
            </a:prstGeom>
          </p:spPr>
        </p:pic>
      </p:grpSp>
      <p:grpSp>
        <p:nvGrpSpPr>
          <p:cNvPr id="36" name="Groep 35">
            <a:extLst>
              <a:ext uri="{FF2B5EF4-FFF2-40B4-BE49-F238E27FC236}">
                <a16:creationId xmlns:a16="http://schemas.microsoft.com/office/drawing/2014/main" id="{1DA0F857-50EB-8DEE-5EF4-D82A5157F1E8}"/>
              </a:ext>
            </a:extLst>
          </p:cNvPr>
          <p:cNvGrpSpPr/>
          <p:nvPr/>
        </p:nvGrpSpPr>
        <p:grpSpPr>
          <a:xfrm>
            <a:off x="6144229" y="3317335"/>
            <a:ext cx="606458" cy="650895"/>
            <a:chOff x="6144229" y="3317335"/>
            <a:chExt cx="606458" cy="650895"/>
          </a:xfrm>
        </p:grpSpPr>
        <p:sp>
          <p:nvSpPr>
            <p:cNvPr id="17" name="Graphic 48">
              <a:extLst>
                <a:ext uri="{FF2B5EF4-FFF2-40B4-BE49-F238E27FC236}">
                  <a16:creationId xmlns:a16="http://schemas.microsoft.com/office/drawing/2014/main" id="{B7B3D508-6BA1-5617-D563-60588278CE1B}"/>
                </a:ext>
              </a:extLst>
            </p:cNvPr>
            <p:cNvSpPr/>
            <p:nvPr/>
          </p:nvSpPr>
          <p:spPr>
            <a:xfrm rot="4500000">
              <a:off x="6122010" y="3339554"/>
              <a:ext cx="650895" cy="606458"/>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bg1"/>
            </a:solidFill>
            <a:ln w="9449" cap="flat">
              <a:noFill/>
              <a:prstDash val="solid"/>
              <a:miter/>
            </a:ln>
          </p:spPr>
          <p:txBody>
            <a:bodyPr rtlCol="0" anchor="ctr"/>
            <a:lstStyle/>
            <a:p>
              <a:endParaRPr lang="en-GB" dirty="0"/>
            </a:p>
          </p:txBody>
        </p:sp>
        <p:pic>
          <p:nvPicPr>
            <p:cNvPr id="31" name="Graphic 30">
              <a:extLst>
                <a:ext uri="{FF2B5EF4-FFF2-40B4-BE49-F238E27FC236}">
                  <a16:creationId xmlns:a16="http://schemas.microsoft.com/office/drawing/2014/main" id="{EE57BF54-FCBC-B995-9309-68377D26A85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81271" y="3476597"/>
              <a:ext cx="332372" cy="332372"/>
            </a:xfrm>
            <a:prstGeom prst="rect">
              <a:avLst/>
            </a:prstGeom>
          </p:spPr>
        </p:pic>
      </p:grpSp>
      <p:grpSp>
        <p:nvGrpSpPr>
          <p:cNvPr id="37" name="Groep 36">
            <a:extLst>
              <a:ext uri="{FF2B5EF4-FFF2-40B4-BE49-F238E27FC236}">
                <a16:creationId xmlns:a16="http://schemas.microsoft.com/office/drawing/2014/main" id="{9750F323-E128-C9C5-EB48-B8A5EFD53C26}"/>
              </a:ext>
            </a:extLst>
          </p:cNvPr>
          <p:cNvGrpSpPr/>
          <p:nvPr/>
        </p:nvGrpSpPr>
        <p:grpSpPr>
          <a:xfrm>
            <a:off x="6446901" y="4353571"/>
            <a:ext cx="650895" cy="606458"/>
            <a:chOff x="6446901" y="4353571"/>
            <a:chExt cx="650895" cy="606458"/>
          </a:xfrm>
        </p:grpSpPr>
        <p:sp>
          <p:nvSpPr>
            <p:cNvPr id="18" name="Graphic 48">
              <a:extLst>
                <a:ext uri="{FF2B5EF4-FFF2-40B4-BE49-F238E27FC236}">
                  <a16:creationId xmlns:a16="http://schemas.microsoft.com/office/drawing/2014/main" id="{D28DA060-6291-6131-5FFF-0255351EAEF3}"/>
                </a:ext>
              </a:extLst>
            </p:cNvPr>
            <p:cNvSpPr/>
            <p:nvPr/>
          </p:nvSpPr>
          <p:spPr>
            <a:xfrm rot="8100000">
              <a:off x="6446901" y="4353571"/>
              <a:ext cx="650895" cy="606458"/>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bg1"/>
            </a:solidFill>
            <a:ln w="9449" cap="flat">
              <a:noFill/>
              <a:prstDash val="solid"/>
              <a:miter/>
            </a:ln>
          </p:spPr>
          <p:txBody>
            <a:bodyPr rtlCol="0" anchor="ctr"/>
            <a:lstStyle/>
            <a:p>
              <a:endParaRPr lang="en-GB" dirty="0"/>
            </a:p>
          </p:txBody>
        </p:sp>
        <p:pic>
          <p:nvPicPr>
            <p:cNvPr id="32" name="Graphic 31">
              <a:extLst>
                <a:ext uri="{FF2B5EF4-FFF2-40B4-BE49-F238E27FC236}">
                  <a16:creationId xmlns:a16="http://schemas.microsoft.com/office/drawing/2014/main" id="{6D1D2997-0FC8-E638-A0E3-4E400AB614B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606162" y="4490614"/>
              <a:ext cx="332372" cy="332372"/>
            </a:xfrm>
            <a:prstGeom prst="rect">
              <a:avLst/>
            </a:prstGeom>
          </p:spPr>
        </p:pic>
      </p:grpSp>
      <p:grpSp>
        <p:nvGrpSpPr>
          <p:cNvPr id="38" name="Groep 37">
            <a:extLst>
              <a:ext uri="{FF2B5EF4-FFF2-40B4-BE49-F238E27FC236}">
                <a16:creationId xmlns:a16="http://schemas.microsoft.com/office/drawing/2014/main" id="{4EAE4D5C-0B97-6A86-3162-0E943EB7D5E1}"/>
              </a:ext>
            </a:extLst>
          </p:cNvPr>
          <p:cNvGrpSpPr/>
          <p:nvPr/>
        </p:nvGrpSpPr>
        <p:grpSpPr>
          <a:xfrm>
            <a:off x="7302654" y="5036306"/>
            <a:ext cx="650895" cy="606458"/>
            <a:chOff x="7302654" y="5036306"/>
            <a:chExt cx="650895" cy="606458"/>
          </a:xfrm>
        </p:grpSpPr>
        <p:sp>
          <p:nvSpPr>
            <p:cNvPr id="19" name="Graphic 48">
              <a:extLst>
                <a:ext uri="{FF2B5EF4-FFF2-40B4-BE49-F238E27FC236}">
                  <a16:creationId xmlns:a16="http://schemas.microsoft.com/office/drawing/2014/main" id="{B4E87029-0B37-A84F-9FBB-B1E0EF20485E}"/>
                </a:ext>
              </a:extLst>
            </p:cNvPr>
            <p:cNvSpPr/>
            <p:nvPr/>
          </p:nvSpPr>
          <p:spPr>
            <a:xfrm rot="9900000">
              <a:off x="7302654" y="5036306"/>
              <a:ext cx="650895" cy="606458"/>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bg1"/>
            </a:solidFill>
            <a:ln w="9449" cap="flat">
              <a:noFill/>
              <a:prstDash val="solid"/>
              <a:miter/>
            </a:ln>
          </p:spPr>
          <p:txBody>
            <a:bodyPr rtlCol="0" anchor="ctr"/>
            <a:lstStyle/>
            <a:p>
              <a:endParaRPr lang="en-GB" dirty="0"/>
            </a:p>
          </p:txBody>
        </p:sp>
        <p:pic>
          <p:nvPicPr>
            <p:cNvPr id="33" name="Graphic 32">
              <a:extLst>
                <a:ext uri="{FF2B5EF4-FFF2-40B4-BE49-F238E27FC236}">
                  <a16:creationId xmlns:a16="http://schemas.microsoft.com/office/drawing/2014/main" id="{06720BE0-2714-FDAC-C4E4-DC57B6584D2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445297" y="5156731"/>
              <a:ext cx="365609" cy="365609"/>
            </a:xfrm>
            <a:prstGeom prst="rect">
              <a:avLst/>
            </a:prstGeom>
          </p:spPr>
        </p:pic>
      </p:grpSp>
      <p:grpSp>
        <p:nvGrpSpPr>
          <p:cNvPr id="2" name="Groep 1">
            <a:extLst>
              <a:ext uri="{FF2B5EF4-FFF2-40B4-BE49-F238E27FC236}">
                <a16:creationId xmlns:a16="http://schemas.microsoft.com/office/drawing/2014/main" id="{8A47E974-1061-3F4D-E9B8-410BFB6B8262}"/>
              </a:ext>
            </a:extLst>
          </p:cNvPr>
          <p:cNvGrpSpPr/>
          <p:nvPr/>
        </p:nvGrpSpPr>
        <p:grpSpPr>
          <a:xfrm>
            <a:off x="1462823" y="3306475"/>
            <a:ext cx="1203140" cy="923397"/>
            <a:chOff x="7454582" y="4939753"/>
            <a:chExt cx="994331" cy="763138"/>
          </a:xfrm>
          <a:solidFill>
            <a:schemeClr val="accent2"/>
          </a:solidFill>
        </p:grpSpPr>
        <p:grpSp>
          <p:nvGrpSpPr>
            <p:cNvPr id="3" name="Groep 2">
              <a:extLst>
                <a:ext uri="{FF2B5EF4-FFF2-40B4-BE49-F238E27FC236}">
                  <a16:creationId xmlns:a16="http://schemas.microsoft.com/office/drawing/2014/main" id="{136D71DB-BFDA-D022-6552-DDD6918955D0}"/>
                </a:ext>
              </a:extLst>
            </p:cNvPr>
            <p:cNvGrpSpPr/>
            <p:nvPr/>
          </p:nvGrpSpPr>
          <p:grpSpPr>
            <a:xfrm>
              <a:off x="7552908" y="4989125"/>
              <a:ext cx="797678" cy="713766"/>
              <a:chOff x="7645137" y="4989125"/>
              <a:chExt cx="797678" cy="713766"/>
            </a:xfrm>
            <a:grpFill/>
          </p:grpSpPr>
          <p:pic>
            <p:nvPicPr>
              <p:cNvPr id="12" name="Graphic 11">
                <a:extLst>
                  <a:ext uri="{FF2B5EF4-FFF2-40B4-BE49-F238E27FC236}">
                    <a16:creationId xmlns:a16="http://schemas.microsoft.com/office/drawing/2014/main" id="{227577D8-7AD1-12F2-8334-9824A07609B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795115" y="4989125"/>
                <a:ext cx="647700" cy="647700"/>
              </a:xfrm>
              <a:prstGeom prst="rect">
                <a:avLst/>
              </a:prstGeom>
            </p:spPr>
          </p:pic>
          <p:sp>
            <p:nvSpPr>
              <p:cNvPr id="13" name="Graphic 55">
                <a:extLst>
                  <a:ext uri="{FF2B5EF4-FFF2-40B4-BE49-F238E27FC236}">
                    <a16:creationId xmlns:a16="http://schemas.microsoft.com/office/drawing/2014/main" id="{D2F76895-3055-A714-A44D-FB8804EB2587}"/>
                  </a:ext>
                </a:extLst>
              </p:cNvPr>
              <p:cNvSpPr/>
              <p:nvPr/>
            </p:nvSpPr>
            <p:spPr>
              <a:xfrm>
                <a:off x="7645137" y="5248407"/>
                <a:ext cx="531366" cy="454484"/>
              </a:xfrm>
              <a:custGeom>
                <a:avLst/>
                <a:gdLst>
                  <a:gd name="connsiteX0" fmla="*/ 305932 w 492446"/>
                  <a:gd name="connsiteY0" fmla="*/ 274616 h 421195"/>
                  <a:gd name="connsiteX1" fmla="*/ 304855 w 492446"/>
                  <a:gd name="connsiteY1" fmla="*/ 274693 h 421195"/>
                  <a:gd name="connsiteX2" fmla="*/ 305240 w 492446"/>
                  <a:gd name="connsiteY2" fmla="*/ 274308 h 421195"/>
                  <a:gd name="connsiteX3" fmla="*/ 305932 w 492446"/>
                  <a:gd name="connsiteY3" fmla="*/ 274616 h 421195"/>
                  <a:gd name="connsiteX4" fmla="*/ 156121 w 492446"/>
                  <a:gd name="connsiteY4" fmla="*/ 144194 h 421195"/>
                  <a:gd name="connsiteX5" fmla="*/ 224756 w 492446"/>
                  <a:gd name="connsiteY5" fmla="*/ 72097 h 421195"/>
                  <a:gd name="connsiteX6" fmla="*/ 156121 w 492446"/>
                  <a:gd name="connsiteY6" fmla="*/ 0 h 421195"/>
                  <a:gd name="connsiteX7" fmla="*/ 87486 w 492446"/>
                  <a:gd name="connsiteY7" fmla="*/ 72097 h 421195"/>
                  <a:gd name="connsiteX8" fmla="*/ 156121 w 492446"/>
                  <a:gd name="connsiteY8" fmla="*/ 144194 h 421195"/>
                  <a:gd name="connsiteX9" fmla="*/ 252302 w 492446"/>
                  <a:gd name="connsiteY9" fmla="*/ 192977 h 421195"/>
                  <a:gd name="connsiteX10" fmla="*/ 253225 w 492446"/>
                  <a:gd name="connsiteY10" fmla="*/ 180589 h 421195"/>
                  <a:gd name="connsiteX11" fmla="*/ 156121 w 492446"/>
                  <a:gd name="connsiteY11" fmla="*/ 168201 h 421195"/>
                  <a:gd name="connsiteX12" fmla="*/ 0 w 492446"/>
                  <a:gd name="connsiteY12" fmla="*/ 256534 h 421195"/>
                  <a:gd name="connsiteX13" fmla="*/ 156121 w 492446"/>
                  <a:gd name="connsiteY13" fmla="*/ 300315 h 421195"/>
                  <a:gd name="connsiteX14" fmla="*/ 206597 w 492446"/>
                  <a:gd name="connsiteY14" fmla="*/ 299161 h 421195"/>
                  <a:gd name="connsiteX15" fmla="*/ 304855 w 492446"/>
                  <a:gd name="connsiteY15" fmla="*/ 274616 h 421195"/>
                  <a:gd name="connsiteX16" fmla="*/ 305240 w 492446"/>
                  <a:gd name="connsiteY16" fmla="*/ 274231 h 421195"/>
                  <a:gd name="connsiteX17" fmla="*/ 252302 w 492446"/>
                  <a:gd name="connsiteY17" fmla="*/ 192977 h 421195"/>
                  <a:gd name="connsiteX18" fmla="*/ 336326 w 492446"/>
                  <a:gd name="connsiteY18" fmla="*/ 289081 h 421195"/>
                  <a:gd name="connsiteX19" fmla="*/ 180128 w 492446"/>
                  <a:gd name="connsiteY19" fmla="*/ 377414 h 421195"/>
                  <a:gd name="connsiteX20" fmla="*/ 336326 w 492446"/>
                  <a:gd name="connsiteY20" fmla="*/ 421195 h 421195"/>
                  <a:gd name="connsiteX21" fmla="*/ 492446 w 492446"/>
                  <a:gd name="connsiteY21" fmla="*/ 377414 h 421195"/>
                  <a:gd name="connsiteX22" fmla="*/ 336326 w 492446"/>
                  <a:gd name="connsiteY22" fmla="*/ 289081 h 421195"/>
                  <a:gd name="connsiteX23" fmla="*/ 368027 w 492446"/>
                  <a:gd name="connsiteY23" fmla="*/ 129113 h 421195"/>
                  <a:gd name="connsiteX24" fmla="*/ 372336 w 492446"/>
                  <a:gd name="connsiteY24" fmla="*/ 114878 h 421195"/>
                  <a:gd name="connsiteX25" fmla="*/ 336326 w 492446"/>
                  <a:gd name="connsiteY25" fmla="*/ 84870 h 421195"/>
                  <a:gd name="connsiteX26" fmla="*/ 300239 w 492446"/>
                  <a:gd name="connsiteY26" fmla="*/ 114878 h 421195"/>
                  <a:gd name="connsiteX27" fmla="*/ 304547 w 492446"/>
                  <a:gd name="connsiteY27" fmla="*/ 129113 h 421195"/>
                  <a:gd name="connsiteX28" fmla="*/ 267691 w 492446"/>
                  <a:gd name="connsiteY28" fmla="*/ 192977 h 421195"/>
                  <a:gd name="connsiteX29" fmla="*/ 336326 w 492446"/>
                  <a:gd name="connsiteY29" fmla="*/ 264998 h 421195"/>
                  <a:gd name="connsiteX30" fmla="*/ 404960 w 492446"/>
                  <a:gd name="connsiteY30" fmla="*/ 192977 h 421195"/>
                  <a:gd name="connsiteX31" fmla="*/ 368027 w 492446"/>
                  <a:gd name="connsiteY31" fmla="*/ 129113 h 421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92446" h="421195">
                    <a:moveTo>
                      <a:pt x="305932" y="274616"/>
                    </a:moveTo>
                    <a:cubicBezTo>
                      <a:pt x="305548" y="274616"/>
                      <a:pt x="305240" y="274616"/>
                      <a:pt x="304855" y="274693"/>
                    </a:cubicBezTo>
                    <a:cubicBezTo>
                      <a:pt x="304932" y="274539"/>
                      <a:pt x="305086" y="274385"/>
                      <a:pt x="305240" y="274308"/>
                    </a:cubicBezTo>
                    <a:cubicBezTo>
                      <a:pt x="305471" y="274385"/>
                      <a:pt x="305702" y="274462"/>
                      <a:pt x="305932" y="274616"/>
                    </a:cubicBezTo>
                    <a:close/>
                    <a:moveTo>
                      <a:pt x="156121" y="144194"/>
                    </a:moveTo>
                    <a:cubicBezTo>
                      <a:pt x="194055" y="144194"/>
                      <a:pt x="224756" y="111955"/>
                      <a:pt x="224756" y="72097"/>
                    </a:cubicBezTo>
                    <a:cubicBezTo>
                      <a:pt x="224756" y="32240"/>
                      <a:pt x="194055" y="0"/>
                      <a:pt x="156121" y="0"/>
                    </a:cubicBezTo>
                    <a:cubicBezTo>
                      <a:pt x="118187" y="0"/>
                      <a:pt x="87486" y="32240"/>
                      <a:pt x="87486" y="72097"/>
                    </a:cubicBezTo>
                    <a:cubicBezTo>
                      <a:pt x="87486" y="111955"/>
                      <a:pt x="118187" y="144194"/>
                      <a:pt x="156121" y="144194"/>
                    </a:cubicBezTo>
                    <a:close/>
                    <a:moveTo>
                      <a:pt x="252302" y="192977"/>
                    </a:moveTo>
                    <a:cubicBezTo>
                      <a:pt x="252302" y="188745"/>
                      <a:pt x="252610" y="184667"/>
                      <a:pt x="253225" y="180589"/>
                    </a:cubicBezTo>
                    <a:cubicBezTo>
                      <a:pt x="230604" y="173049"/>
                      <a:pt x="199364" y="168201"/>
                      <a:pt x="156121" y="168201"/>
                    </a:cubicBezTo>
                    <a:cubicBezTo>
                      <a:pt x="2386" y="168201"/>
                      <a:pt x="154" y="229526"/>
                      <a:pt x="0" y="256534"/>
                    </a:cubicBezTo>
                    <a:cubicBezTo>
                      <a:pt x="-154" y="293698"/>
                      <a:pt x="72559" y="300315"/>
                      <a:pt x="156121" y="300315"/>
                    </a:cubicBezTo>
                    <a:cubicBezTo>
                      <a:pt x="173664" y="300315"/>
                      <a:pt x="190592" y="300007"/>
                      <a:pt x="206597" y="299161"/>
                    </a:cubicBezTo>
                    <a:cubicBezTo>
                      <a:pt x="227526" y="286619"/>
                      <a:pt x="258688" y="277463"/>
                      <a:pt x="304855" y="274616"/>
                    </a:cubicBezTo>
                    <a:cubicBezTo>
                      <a:pt x="304932" y="274462"/>
                      <a:pt x="305086" y="274308"/>
                      <a:pt x="305240" y="274231"/>
                    </a:cubicBezTo>
                    <a:cubicBezTo>
                      <a:pt x="274231" y="261304"/>
                      <a:pt x="252302" y="229757"/>
                      <a:pt x="252302" y="192977"/>
                    </a:cubicBezTo>
                    <a:close/>
                    <a:moveTo>
                      <a:pt x="336326" y="289081"/>
                    </a:moveTo>
                    <a:cubicBezTo>
                      <a:pt x="182513" y="289081"/>
                      <a:pt x="180282" y="350406"/>
                      <a:pt x="180128" y="377414"/>
                    </a:cubicBezTo>
                    <a:cubicBezTo>
                      <a:pt x="179974" y="414578"/>
                      <a:pt x="252764" y="421195"/>
                      <a:pt x="336326" y="421195"/>
                    </a:cubicBezTo>
                    <a:cubicBezTo>
                      <a:pt x="419888" y="421195"/>
                      <a:pt x="492600" y="414578"/>
                      <a:pt x="492446" y="377414"/>
                    </a:cubicBezTo>
                    <a:cubicBezTo>
                      <a:pt x="492293" y="350406"/>
                      <a:pt x="490061" y="289081"/>
                      <a:pt x="336326" y="289081"/>
                    </a:cubicBezTo>
                    <a:close/>
                    <a:moveTo>
                      <a:pt x="368027" y="129113"/>
                    </a:moveTo>
                    <a:cubicBezTo>
                      <a:pt x="370797" y="124881"/>
                      <a:pt x="372336" y="120034"/>
                      <a:pt x="372336" y="114878"/>
                    </a:cubicBezTo>
                    <a:cubicBezTo>
                      <a:pt x="372336" y="98335"/>
                      <a:pt x="356177" y="84870"/>
                      <a:pt x="336326" y="84870"/>
                    </a:cubicBezTo>
                    <a:cubicBezTo>
                      <a:pt x="316474" y="84870"/>
                      <a:pt x="300239" y="98335"/>
                      <a:pt x="300239" y="114878"/>
                    </a:cubicBezTo>
                    <a:cubicBezTo>
                      <a:pt x="300239" y="120034"/>
                      <a:pt x="301854" y="124881"/>
                      <a:pt x="304547" y="129113"/>
                    </a:cubicBezTo>
                    <a:cubicBezTo>
                      <a:pt x="282618" y="141117"/>
                      <a:pt x="267691" y="165200"/>
                      <a:pt x="267691" y="192977"/>
                    </a:cubicBezTo>
                    <a:cubicBezTo>
                      <a:pt x="267691" y="232758"/>
                      <a:pt x="298392" y="264998"/>
                      <a:pt x="336326" y="264998"/>
                    </a:cubicBezTo>
                    <a:cubicBezTo>
                      <a:pt x="374259" y="264998"/>
                      <a:pt x="404960" y="232758"/>
                      <a:pt x="404960" y="192977"/>
                    </a:cubicBezTo>
                    <a:cubicBezTo>
                      <a:pt x="404960" y="165200"/>
                      <a:pt x="389956" y="141117"/>
                      <a:pt x="368027" y="129113"/>
                    </a:cubicBezTo>
                    <a:close/>
                  </a:path>
                </a:pathLst>
              </a:custGeom>
              <a:grpFill/>
              <a:ln w="28575" cap="flat">
                <a:solidFill>
                  <a:schemeClr val="accent1"/>
                </a:solidFill>
                <a:prstDash val="solid"/>
                <a:miter/>
              </a:ln>
            </p:spPr>
            <p:txBody>
              <a:bodyPr rtlCol="0" anchor="ctr"/>
              <a:lstStyle/>
              <a:p>
                <a:endParaRPr lang="en-GB" dirty="0"/>
              </a:p>
            </p:txBody>
          </p:sp>
        </p:grpSp>
        <p:grpSp>
          <p:nvGrpSpPr>
            <p:cNvPr id="6" name="Groep 5">
              <a:extLst>
                <a:ext uri="{FF2B5EF4-FFF2-40B4-BE49-F238E27FC236}">
                  <a16:creationId xmlns:a16="http://schemas.microsoft.com/office/drawing/2014/main" id="{A3793684-338E-77FD-7C16-468A7DC7B7B6}"/>
                </a:ext>
              </a:extLst>
            </p:cNvPr>
            <p:cNvGrpSpPr/>
            <p:nvPr/>
          </p:nvGrpSpPr>
          <p:grpSpPr>
            <a:xfrm>
              <a:off x="7454582" y="4939753"/>
              <a:ext cx="994331" cy="55231"/>
              <a:chOff x="7477480" y="4797702"/>
              <a:chExt cx="994331" cy="55231"/>
            </a:xfrm>
            <a:grpFill/>
          </p:grpSpPr>
          <p:sp>
            <p:nvSpPr>
              <p:cNvPr id="7" name="Rechthoek 59">
                <a:extLst>
                  <a:ext uri="{FF2B5EF4-FFF2-40B4-BE49-F238E27FC236}">
                    <a16:creationId xmlns:a16="http://schemas.microsoft.com/office/drawing/2014/main" id="{5D333A3F-13EA-5B17-5D7A-48FBB148E5B1}"/>
                  </a:ext>
                </a:extLst>
              </p:cNvPr>
              <p:cNvSpPr/>
              <p:nvPr/>
            </p:nvSpPr>
            <p:spPr>
              <a:xfrm rot="19800000">
                <a:off x="7477480" y="4797702"/>
                <a:ext cx="556182" cy="55231"/>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hthoek 59">
                <a:extLst>
                  <a:ext uri="{FF2B5EF4-FFF2-40B4-BE49-F238E27FC236}">
                    <a16:creationId xmlns:a16="http://schemas.microsoft.com/office/drawing/2014/main" id="{82DCBA9A-C8A3-18FC-1128-9D4C533A57E7}"/>
                  </a:ext>
                </a:extLst>
              </p:cNvPr>
              <p:cNvSpPr/>
              <p:nvPr/>
            </p:nvSpPr>
            <p:spPr>
              <a:xfrm rot="1800000" flipH="1">
                <a:off x="7915629" y="4797702"/>
                <a:ext cx="556182" cy="55231"/>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spTree>
    <p:extLst>
      <p:ext uri="{BB962C8B-B14F-4D97-AF65-F5344CB8AC3E}">
        <p14:creationId xmlns:p14="http://schemas.microsoft.com/office/powerpoint/2010/main" val="912518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hoek 11">
            <a:extLst>
              <a:ext uri="{FF2B5EF4-FFF2-40B4-BE49-F238E27FC236}">
                <a16:creationId xmlns:a16="http://schemas.microsoft.com/office/drawing/2014/main" id="{2368CCC7-5B4C-19EC-4681-88A3B6EAE123}"/>
              </a:ext>
            </a:extLst>
          </p:cNvPr>
          <p:cNvSpPr/>
          <p:nvPr/>
        </p:nvSpPr>
        <p:spPr>
          <a:xfrm>
            <a:off x="2377004" y="4975088"/>
            <a:ext cx="1446662" cy="9759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 name="Groep 13">
            <a:extLst>
              <a:ext uri="{FF2B5EF4-FFF2-40B4-BE49-F238E27FC236}">
                <a16:creationId xmlns:a16="http://schemas.microsoft.com/office/drawing/2014/main" id="{773B2DCF-D64A-2C62-69BB-86F359BC198A}"/>
              </a:ext>
            </a:extLst>
          </p:cNvPr>
          <p:cNvGrpSpPr/>
          <p:nvPr/>
        </p:nvGrpSpPr>
        <p:grpSpPr>
          <a:xfrm>
            <a:off x="3818124" y="4245057"/>
            <a:ext cx="1957172" cy="1705969"/>
            <a:chOff x="5699221" y="4107976"/>
            <a:chExt cx="1957172" cy="1705969"/>
          </a:xfrm>
        </p:grpSpPr>
        <p:sp>
          <p:nvSpPr>
            <p:cNvPr id="11" name="Rechthoek 10">
              <a:extLst>
                <a:ext uri="{FF2B5EF4-FFF2-40B4-BE49-F238E27FC236}">
                  <a16:creationId xmlns:a16="http://schemas.microsoft.com/office/drawing/2014/main" id="{B52BF0EE-D4AD-E63C-C8E8-2F86F4068CE2}"/>
                </a:ext>
              </a:extLst>
            </p:cNvPr>
            <p:cNvSpPr/>
            <p:nvPr/>
          </p:nvSpPr>
          <p:spPr>
            <a:xfrm>
              <a:off x="6209731" y="4107976"/>
              <a:ext cx="1446662" cy="17059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hthoek 12">
              <a:extLst>
                <a:ext uri="{FF2B5EF4-FFF2-40B4-BE49-F238E27FC236}">
                  <a16:creationId xmlns:a16="http://schemas.microsoft.com/office/drawing/2014/main" id="{04513CA1-2903-51F8-0A34-003BC7C4B8DD}"/>
                </a:ext>
              </a:extLst>
            </p:cNvPr>
            <p:cNvSpPr/>
            <p:nvPr/>
          </p:nvSpPr>
          <p:spPr>
            <a:xfrm>
              <a:off x="5699221" y="4107976"/>
              <a:ext cx="510510" cy="1705969"/>
            </a:xfrm>
            <a:custGeom>
              <a:avLst/>
              <a:gdLst>
                <a:gd name="connsiteX0" fmla="*/ 0 w 504968"/>
                <a:gd name="connsiteY0" fmla="*/ 0 h 1705969"/>
                <a:gd name="connsiteX1" fmla="*/ 504968 w 504968"/>
                <a:gd name="connsiteY1" fmla="*/ 0 h 1705969"/>
                <a:gd name="connsiteX2" fmla="*/ 504968 w 504968"/>
                <a:gd name="connsiteY2" fmla="*/ 1705969 h 1705969"/>
                <a:gd name="connsiteX3" fmla="*/ 0 w 504968"/>
                <a:gd name="connsiteY3" fmla="*/ 1705969 h 1705969"/>
                <a:gd name="connsiteX4" fmla="*/ 0 w 504968"/>
                <a:gd name="connsiteY4" fmla="*/ 0 h 1705969"/>
                <a:gd name="connsiteX0" fmla="*/ 0 w 510510"/>
                <a:gd name="connsiteY0" fmla="*/ 714895 h 1705969"/>
                <a:gd name="connsiteX1" fmla="*/ 510510 w 510510"/>
                <a:gd name="connsiteY1" fmla="*/ 0 h 1705969"/>
                <a:gd name="connsiteX2" fmla="*/ 510510 w 510510"/>
                <a:gd name="connsiteY2" fmla="*/ 1705969 h 1705969"/>
                <a:gd name="connsiteX3" fmla="*/ 5542 w 510510"/>
                <a:gd name="connsiteY3" fmla="*/ 1705969 h 1705969"/>
                <a:gd name="connsiteX4" fmla="*/ 0 w 510510"/>
                <a:gd name="connsiteY4" fmla="*/ 714895 h 1705969"/>
                <a:gd name="connsiteX0" fmla="*/ 0 w 510510"/>
                <a:gd name="connsiteY0" fmla="*/ 725979 h 1705969"/>
                <a:gd name="connsiteX1" fmla="*/ 510510 w 510510"/>
                <a:gd name="connsiteY1" fmla="*/ 0 h 1705969"/>
                <a:gd name="connsiteX2" fmla="*/ 510510 w 510510"/>
                <a:gd name="connsiteY2" fmla="*/ 1705969 h 1705969"/>
                <a:gd name="connsiteX3" fmla="*/ 5542 w 510510"/>
                <a:gd name="connsiteY3" fmla="*/ 1705969 h 1705969"/>
                <a:gd name="connsiteX4" fmla="*/ 0 w 510510"/>
                <a:gd name="connsiteY4" fmla="*/ 725979 h 1705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510" h="1705969">
                  <a:moveTo>
                    <a:pt x="0" y="725979"/>
                  </a:moveTo>
                  <a:lnTo>
                    <a:pt x="510510" y="0"/>
                  </a:lnTo>
                  <a:lnTo>
                    <a:pt x="510510" y="1705969"/>
                  </a:lnTo>
                  <a:lnTo>
                    <a:pt x="5542" y="1705969"/>
                  </a:lnTo>
                  <a:cubicBezTo>
                    <a:pt x="3695" y="1375611"/>
                    <a:pt x="1847" y="1056337"/>
                    <a:pt x="0" y="725979"/>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6" name="Groep 15">
            <a:extLst>
              <a:ext uri="{FF2B5EF4-FFF2-40B4-BE49-F238E27FC236}">
                <a16:creationId xmlns:a16="http://schemas.microsoft.com/office/drawing/2014/main" id="{920C6107-F4AF-82E2-1E76-713EA467C42E}"/>
              </a:ext>
            </a:extLst>
          </p:cNvPr>
          <p:cNvGrpSpPr/>
          <p:nvPr/>
        </p:nvGrpSpPr>
        <p:grpSpPr>
          <a:xfrm>
            <a:off x="5775296" y="3521725"/>
            <a:ext cx="1951630" cy="2429301"/>
            <a:chOff x="7656393" y="3384644"/>
            <a:chExt cx="1951630" cy="2429301"/>
          </a:xfrm>
        </p:grpSpPr>
        <p:sp>
          <p:nvSpPr>
            <p:cNvPr id="10" name="Rechthoek 9">
              <a:extLst>
                <a:ext uri="{FF2B5EF4-FFF2-40B4-BE49-F238E27FC236}">
                  <a16:creationId xmlns:a16="http://schemas.microsoft.com/office/drawing/2014/main" id="{E1BB9C09-68F3-CA87-ADAA-A089FD5741B4}"/>
                </a:ext>
              </a:extLst>
            </p:cNvPr>
            <p:cNvSpPr/>
            <p:nvPr/>
          </p:nvSpPr>
          <p:spPr>
            <a:xfrm>
              <a:off x="8161361" y="3384644"/>
              <a:ext cx="1446662" cy="242930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hthoek 14">
              <a:extLst>
                <a:ext uri="{FF2B5EF4-FFF2-40B4-BE49-F238E27FC236}">
                  <a16:creationId xmlns:a16="http://schemas.microsoft.com/office/drawing/2014/main" id="{CB2AC4E7-9C5A-AA66-B2CC-37C8EF353EDC}"/>
                </a:ext>
              </a:extLst>
            </p:cNvPr>
            <p:cNvSpPr/>
            <p:nvPr/>
          </p:nvSpPr>
          <p:spPr>
            <a:xfrm>
              <a:off x="7656393" y="3384644"/>
              <a:ext cx="506705" cy="2429301"/>
            </a:xfrm>
            <a:custGeom>
              <a:avLst/>
              <a:gdLst>
                <a:gd name="connsiteX0" fmla="*/ 0 w 506705"/>
                <a:gd name="connsiteY0" fmla="*/ 0 h 2429301"/>
                <a:gd name="connsiteX1" fmla="*/ 506705 w 506705"/>
                <a:gd name="connsiteY1" fmla="*/ 0 h 2429301"/>
                <a:gd name="connsiteX2" fmla="*/ 506705 w 506705"/>
                <a:gd name="connsiteY2" fmla="*/ 2429301 h 2429301"/>
                <a:gd name="connsiteX3" fmla="*/ 0 w 506705"/>
                <a:gd name="connsiteY3" fmla="*/ 2429301 h 2429301"/>
                <a:gd name="connsiteX4" fmla="*/ 0 w 506705"/>
                <a:gd name="connsiteY4" fmla="*/ 0 h 2429301"/>
                <a:gd name="connsiteX0" fmla="*/ 0 w 506705"/>
                <a:gd name="connsiteY0" fmla="*/ 703811 h 2429301"/>
                <a:gd name="connsiteX1" fmla="*/ 506705 w 506705"/>
                <a:gd name="connsiteY1" fmla="*/ 0 h 2429301"/>
                <a:gd name="connsiteX2" fmla="*/ 506705 w 506705"/>
                <a:gd name="connsiteY2" fmla="*/ 2429301 h 2429301"/>
                <a:gd name="connsiteX3" fmla="*/ 0 w 506705"/>
                <a:gd name="connsiteY3" fmla="*/ 2429301 h 2429301"/>
                <a:gd name="connsiteX4" fmla="*/ 0 w 506705"/>
                <a:gd name="connsiteY4" fmla="*/ 703811 h 2429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05" h="2429301">
                  <a:moveTo>
                    <a:pt x="0" y="703811"/>
                  </a:moveTo>
                  <a:lnTo>
                    <a:pt x="506705" y="0"/>
                  </a:lnTo>
                  <a:lnTo>
                    <a:pt x="506705" y="2429301"/>
                  </a:lnTo>
                  <a:lnTo>
                    <a:pt x="0" y="2429301"/>
                  </a:lnTo>
                  <a:lnTo>
                    <a:pt x="0" y="703811"/>
                  </a:ln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8" name="Groep 17">
            <a:extLst>
              <a:ext uri="{FF2B5EF4-FFF2-40B4-BE49-F238E27FC236}">
                <a16:creationId xmlns:a16="http://schemas.microsoft.com/office/drawing/2014/main" id="{E061B883-440E-6ED7-F477-FF5E12AC787B}"/>
              </a:ext>
            </a:extLst>
          </p:cNvPr>
          <p:cNvGrpSpPr/>
          <p:nvPr/>
        </p:nvGrpSpPr>
        <p:grpSpPr>
          <a:xfrm>
            <a:off x="7721384" y="2784747"/>
            <a:ext cx="1929877" cy="3166280"/>
            <a:chOff x="9602481" y="2647666"/>
            <a:chExt cx="1929877" cy="3166280"/>
          </a:xfrm>
        </p:grpSpPr>
        <p:sp>
          <p:nvSpPr>
            <p:cNvPr id="9" name="Rechthoek 8">
              <a:extLst>
                <a:ext uri="{FF2B5EF4-FFF2-40B4-BE49-F238E27FC236}">
                  <a16:creationId xmlns:a16="http://schemas.microsoft.com/office/drawing/2014/main" id="{4F7214A9-8552-31C3-A3BF-8EC1D68BF0EC}"/>
                </a:ext>
              </a:extLst>
            </p:cNvPr>
            <p:cNvSpPr/>
            <p:nvPr/>
          </p:nvSpPr>
          <p:spPr>
            <a:xfrm>
              <a:off x="10085696" y="2647666"/>
              <a:ext cx="1446662" cy="31662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hthoek 16">
              <a:extLst>
                <a:ext uri="{FF2B5EF4-FFF2-40B4-BE49-F238E27FC236}">
                  <a16:creationId xmlns:a16="http://schemas.microsoft.com/office/drawing/2014/main" id="{4CB731CF-27AB-B091-E101-948915A0DB2F}"/>
                </a:ext>
              </a:extLst>
            </p:cNvPr>
            <p:cNvSpPr/>
            <p:nvPr/>
          </p:nvSpPr>
          <p:spPr>
            <a:xfrm>
              <a:off x="9602481" y="2647666"/>
              <a:ext cx="483215" cy="3166280"/>
            </a:xfrm>
            <a:custGeom>
              <a:avLst/>
              <a:gdLst>
                <a:gd name="connsiteX0" fmla="*/ 0 w 477673"/>
                <a:gd name="connsiteY0" fmla="*/ 0 h 3166280"/>
                <a:gd name="connsiteX1" fmla="*/ 477673 w 477673"/>
                <a:gd name="connsiteY1" fmla="*/ 0 h 3166280"/>
                <a:gd name="connsiteX2" fmla="*/ 477673 w 477673"/>
                <a:gd name="connsiteY2" fmla="*/ 3166280 h 3166280"/>
                <a:gd name="connsiteX3" fmla="*/ 0 w 477673"/>
                <a:gd name="connsiteY3" fmla="*/ 3166280 h 3166280"/>
                <a:gd name="connsiteX4" fmla="*/ 0 w 477673"/>
                <a:gd name="connsiteY4" fmla="*/ 0 h 3166280"/>
                <a:gd name="connsiteX0" fmla="*/ 0 w 483215"/>
                <a:gd name="connsiteY0" fmla="*/ 731520 h 3166280"/>
                <a:gd name="connsiteX1" fmla="*/ 483215 w 483215"/>
                <a:gd name="connsiteY1" fmla="*/ 0 h 3166280"/>
                <a:gd name="connsiteX2" fmla="*/ 483215 w 483215"/>
                <a:gd name="connsiteY2" fmla="*/ 3166280 h 3166280"/>
                <a:gd name="connsiteX3" fmla="*/ 5542 w 483215"/>
                <a:gd name="connsiteY3" fmla="*/ 3166280 h 3166280"/>
                <a:gd name="connsiteX4" fmla="*/ 0 w 483215"/>
                <a:gd name="connsiteY4" fmla="*/ 731520 h 3166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215" h="3166280">
                  <a:moveTo>
                    <a:pt x="0" y="731520"/>
                  </a:moveTo>
                  <a:lnTo>
                    <a:pt x="483215" y="0"/>
                  </a:lnTo>
                  <a:lnTo>
                    <a:pt x="483215" y="3166280"/>
                  </a:lnTo>
                  <a:lnTo>
                    <a:pt x="5542" y="3166280"/>
                  </a:lnTo>
                  <a:cubicBezTo>
                    <a:pt x="3695" y="2354693"/>
                    <a:pt x="1847" y="1543107"/>
                    <a:pt x="0" y="731520"/>
                  </a:cubicBezTo>
                  <a:close/>
                </a:path>
              </a:pathLst>
            </a:custGeom>
            <a:solidFill>
              <a:srgbClr val="0042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 name="Titel 3">
            <a:extLst>
              <a:ext uri="{FF2B5EF4-FFF2-40B4-BE49-F238E27FC236}">
                <a16:creationId xmlns:a16="http://schemas.microsoft.com/office/drawing/2014/main" id="{2DA1B526-EF39-A927-BF8B-A7816E8FD2E1}"/>
              </a:ext>
            </a:extLst>
          </p:cNvPr>
          <p:cNvSpPr>
            <a:spLocks noGrp="1"/>
          </p:cNvSpPr>
          <p:nvPr>
            <p:ph type="title"/>
          </p:nvPr>
        </p:nvSpPr>
        <p:spPr/>
        <p:txBody>
          <a:bodyPr>
            <a:normAutofit fontScale="90000"/>
          </a:bodyPr>
          <a:lstStyle/>
          <a:p>
            <a:pPr>
              <a:lnSpc>
                <a:spcPct val="100000"/>
              </a:lnSpc>
              <a:spcBef>
                <a:spcPts val="600"/>
              </a:spcBef>
              <a:spcAft>
                <a:spcPts val="600"/>
              </a:spcAft>
            </a:pPr>
            <a:r>
              <a:rPr lang="en-GB" sz="4800" dirty="0"/>
              <a:t>Living Income as a Target</a:t>
            </a:r>
          </a:p>
        </p:txBody>
      </p:sp>
      <p:grpSp>
        <p:nvGrpSpPr>
          <p:cNvPr id="37" name="Groep 36">
            <a:extLst>
              <a:ext uri="{FF2B5EF4-FFF2-40B4-BE49-F238E27FC236}">
                <a16:creationId xmlns:a16="http://schemas.microsoft.com/office/drawing/2014/main" id="{42A73A3C-2C20-AABC-CDC9-349EFCD36C62}"/>
              </a:ext>
            </a:extLst>
          </p:cNvPr>
          <p:cNvGrpSpPr/>
          <p:nvPr/>
        </p:nvGrpSpPr>
        <p:grpSpPr>
          <a:xfrm>
            <a:off x="2377004" y="2395591"/>
            <a:ext cx="6047949" cy="2557593"/>
            <a:chOff x="4258101" y="2258510"/>
            <a:chExt cx="6047949" cy="2557593"/>
          </a:xfrm>
        </p:grpSpPr>
        <p:cxnSp>
          <p:nvCxnSpPr>
            <p:cNvPr id="21" name="Rechte verbindingslijn 20">
              <a:extLst>
                <a:ext uri="{FF2B5EF4-FFF2-40B4-BE49-F238E27FC236}">
                  <a16:creationId xmlns:a16="http://schemas.microsoft.com/office/drawing/2014/main" id="{2793560B-B1BA-C84A-C5C5-FF81364C3864}"/>
                </a:ext>
              </a:extLst>
            </p:cNvPr>
            <p:cNvCxnSpPr/>
            <p:nvPr/>
          </p:nvCxnSpPr>
          <p:spPr>
            <a:xfrm>
              <a:off x="4258101" y="4803198"/>
              <a:ext cx="1427804"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2263AD80-CA5F-B810-3A3A-12585833982A}"/>
                </a:ext>
              </a:extLst>
            </p:cNvPr>
            <p:cNvCxnSpPr>
              <a:cxnSpLocks/>
            </p:cNvCxnSpPr>
            <p:nvPr/>
          </p:nvCxnSpPr>
          <p:spPr>
            <a:xfrm>
              <a:off x="6162502" y="4067695"/>
              <a:ext cx="1496291"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2EF42BF5-40E1-FC81-838C-9DC9E8E9E5DC}"/>
                </a:ext>
              </a:extLst>
            </p:cNvPr>
            <p:cNvCxnSpPr>
              <a:cxnSpLocks/>
            </p:cNvCxnSpPr>
            <p:nvPr/>
          </p:nvCxnSpPr>
          <p:spPr>
            <a:xfrm>
              <a:off x="8118764" y="3347259"/>
              <a:ext cx="1485207"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26">
              <a:extLst>
                <a:ext uri="{FF2B5EF4-FFF2-40B4-BE49-F238E27FC236}">
                  <a16:creationId xmlns:a16="http://schemas.microsoft.com/office/drawing/2014/main" id="{7BA971D8-5D5D-B0F0-24CD-38A2B8E7BEE9}"/>
                </a:ext>
              </a:extLst>
            </p:cNvPr>
            <p:cNvCxnSpPr>
              <a:cxnSpLocks/>
            </p:cNvCxnSpPr>
            <p:nvPr/>
          </p:nvCxnSpPr>
          <p:spPr>
            <a:xfrm flipV="1">
              <a:off x="5663740" y="4056611"/>
              <a:ext cx="532013" cy="759492"/>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B2BA8AF2-66B5-2677-1638-63901424F56E}"/>
                </a:ext>
              </a:extLst>
            </p:cNvPr>
            <p:cNvCxnSpPr>
              <a:cxnSpLocks/>
            </p:cNvCxnSpPr>
            <p:nvPr/>
          </p:nvCxnSpPr>
          <p:spPr>
            <a:xfrm flipV="1">
              <a:off x="7629610" y="3325091"/>
              <a:ext cx="527947" cy="753687"/>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a:extLst>
                <a:ext uri="{FF2B5EF4-FFF2-40B4-BE49-F238E27FC236}">
                  <a16:creationId xmlns:a16="http://schemas.microsoft.com/office/drawing/2014/main" id="{7B3AB552-B7CE-1955-90C1-1F45CF422978}"/>
                </a:ext>
              </a:extLst>
            </p:cNvPr>
            <p:cNvCxnSpPr>
              <a:cxnSpLocks/>
            </p:cNvCxnSpPr>
            <p:nvPr/>
          </p:nvCxnSpPr>
          <p:spPr>
            <a:xfrm flipV="1">
              <a:off x="9569246" y="2258510"/>
              <a:ext cx="736804" cy="1099832"/>
            </a:xfrm>
            <a:prstGeom prst="line">
              <a:avLst/>
            </a:prstGeom>
            <a:ln w="7620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grpSp>
      <p:sp>
        <p:nvSpPr>
          <p:cNvPr id="42" name="Tekstvak 41">
            <a:extLst>
              <a:ext uri="{FF2B5EF4-FFF2-40B4-BE49-F238E27FC236}">
                <a16:creationId xmlns:a16="http://schemas.microsoft.com/office/drawing/2014/main" id="{A7B5FA1D-9B20-6DBF-B984-A6E7194C7AB3}"/>
              </a:ext>
            </a:extLst>
          </p:cNvPr>
          <p:cNvSpPr txBox="1"/>
          <p:nvPr/>
        </p:nvSpPr>
        <p:spPr>
          <a:xfrm>
            <a:off x="2533842" y="5014432"/>
            <a:ext cx="1132986" cy="523220"/>
          </a:xfrm>
          <a:prstGeom prst="rect">
            <a:avLst/>
          </a:prstGeom>
          <a:noFill/>
        </p:spPr>
        <p:txBody>
          <a:bodyPr wrap="square" lIns="0" rtlCol="0">
            <a:spAutoFit/>
          </a:bodyPr>
          <a:lstStyle/>
          <a:p>
            <a:pPr algn="ctr"/>
            <a:r>
              <a:rPr lang="en-GB" sz="1400" b="1" i="0" dirty="0">
                <a:solidFill>
                  <a:schemeClr val="bg1"/>
                </a:solidFill>
                <a:latin typeface="Arial" panose="020B0604020202020204" pitchFamily="34" charset="0"/>
                <a:cs typeface="Arial" panose="020B0604020202020204" pitchFamily="34" charset="0"/>
              </a:rPr>
              <a:t>National poverty line</a:t>
            </a:r>
          </a:p>
        </p:txBody>
      </p:sp>
      <p:sp>
        <p:nvSpPr>
          <p:cNvPr id="43" name="Tekstvak 42">
            <a:extLst>
              <a:ext uri="{FF2B5EF4-FFF2-40B4-BE49-F238E27FC236}">
                <a16:creationId xmlns:a16="http://schemas.microsoft.com/office/drawing/2014/main" id="{F73575B6-C84A-18E1-1086-B7819C5CC9AB}"/>
              </a:ext>
            </a:extLst>
          </p:cNvPr>
          <p:cNvSpPr txBox="1"/>
          <p:nvPr/>
        </p:nvSpPr>
        <p:spPr>
          <a:xfrm>
            <a:off x="4328634" y="4364311"/>
            <a:ext cx="1449063" cy="584775"/>
          </a:xfrm>
          <a:prstGeom prst="rect">
            <a:avLst/>
          </a:prstGeom>
          <a:noFill/>
        </p:spPr>
        <p:txBody>
          <a:bodyPr wrap="square" lIns="0" tIns="0" rIns="0" bIns="0" rtlCol="0">
            <a:spAutoFit/>
          </a:bodyPr>
          <a:lstStyle>
            <a:defPPr>
              <a:defRPr lang="en-NL"/>
            </a:defPPr>
            <a:lvl1pPr algn="ctr">
              <a:defRPr sz="1400" b="1" i="0">
                <a:solidFill>
                  <a:schemeClr val="bg1"/>
                </a:solidFill>
                <a:latin typeface="Arial" panose="020B0604020202020204" pitchFamily="34" charset="0"/>
                <a:cs typeface="Arial" panose="020B0604020202020204" pitchFamily="34" charset="0"/>
              </a:defRPr>
            </a:lvl1pPr>
          </a:lstStyle>
          <a:p>
            <a:r>
              <a:rPr lang="en-GB" dirty="0"/>
              <a:t>SDG1:</a:t>
            </a:r>
            <a:br>
              <a:rPr lang="en-GB" dirty="0"/>
            </a:br>
            <a:r>
              <a:rPr lang="en-GB" sz="1200" b="0" dirty="0"/>
              <a:t>Elimination of extreme poverty</a:t>
            </a:r>
          </a:p>
        </p:txBody>
      </p:sp>
      <p:sp>
        <p:nvSpPr>
          <p:cNvPr id="44" name="Tekstvak 43">
            <a:extLst>
              <a:ext uri="{FF2B5EF4-FFF2-40B4-BE49-F238E27FC236}">
                <a16:creationId xmlns:a16="http://schemas.microsoft.com/office/drawing/2014/main" id="{4D8D2FB5-5E4F-8167-7E95-D09BE3375F75}"/>
              </a:ext>
            </a:extLst>
          </p:cNvPr>
          <p:cNvSpPr txBox="1"/>
          <p:nvPr/>
        </p:nvSpPr>
        <p:spPr>
          <a:xfrm>
            <a:off x="6282001" y="3636333"/>
            <a:ext cx="1440873" cy="584775"/>
          </a:xfrm>
          <a:prstGeom prst="rect">
            <a:avLst/>
          </a:prstGeom>
          <a:noFill/>
        </p:spPr>
        <p:txBody>
          <a:bodyPr wrap="square" lIns="0" tIns="0" rIns="0" bIns="0" rtlCol="0">
            <a:spAutoFit/>
          </a:bodyPr>
          <a:lstStyle/>
          <a:p>
            <a:pPr algn="ctr"/>
            <a:r>
              <a:rPr lang="en-GB" sz="1400" b="1" i="0" dirty="0">
                <a:solidFill>
                  <a:schemeClr val="bg1"/>
                </a:solidFill>
                <a:latin typeface="Arial" panose="020B0604020202020204" pitchFamily="34" charset="0"/>
                <a:cs typeface="Arial" panose="020B0604020202020204" pitchFamily="34" charset="0"/>
              </a:rPr>
              <a:t>Living Income</a:t>
            </a:r>
            <a:br>
              <a:rPr lang="en-GB" sz="1400" b="1" i="0" dirty="0">
                <a:solidFill>
                  <a:schemeClr val="bg1"/>
                </a:solidFill>
                <a:latin typeface="Arial" panose="020B0604020202020204" pitchFamily="34" charset="0"/>
                <a:cs typeface="Arial" panose="020B0604020202020204" pitchFamily="34" charset="0"/>
              </a:rPr>
            </a:br>
            <a:r>
              <a:rPr lang="en-GB" sz="1200" i="0" dirty="0">
                <a:solidFill>
                  <a:schemeClr val="bg1"/>
                </a:solidFill>
                <a:latin typeface="Arial" panose="020B0604020202020204" pitchFamily="34" charset="0"/>
                <a:cs typeface="Arial" panose="020B0604020202020204" pitchFamily="34" charset="0"/>
              </a:rPr>
              <a:t>Costs of a decent standard of living</a:t>
            </a:r>
            <a:endParaRPr lang="en-GB" sz="1400" i="0" dirty="0">
              <a:solidFill>
                <a:schemeClr val="bg1"/>
              </a:solidFill>
              <a:latin typeface="Arial" panose="020B0604020202020204" pitchFamily="34" charset="0"/>
              <a:cs typeface="Arial" panose="020B0604020202020204" pitchFamily="34" charset="0"/>
            </a:endParaRPr>
          </a:p>
        </p:txBody>
      </p:sp>
      <p:sp>
        <p:nvSpPr>
          <p:cNvPr id="45" name="Tekstvak 44">
            <a:extLst>
              <a:ext uri="{FF2B5EF4-FFF2-40B4-BE49-F238E27FC236}">
                <a16:creationId xmlns:a16="http://schemas.microsoft.com/office/drawing/2014/main" id="{A3F483A5-C2F6-B7D0-85D4-23135F2A7BBC}"/>
              </a:ext>
            </a:extLst>
          </p:cNvPr>
          <p:cNvSpPr txBox="1"/>
          <p:nvPr/>
        </p:nvSpPr>
        <p:spPr>
          <a:xfrm>
            <a:off x="8223630" y="2919994"/>
            <a:ext cx="1412505" cy="430887"/>
          </a:xfrm>
          <a:prstGeom prst="rect">
            <a:avLst/>
          </a:prstGeom>
          <a:noFill/>
        </p:spPr>
        <p:txBody>
          <a:bodyPr wrap="square" lIns="0" tIns="0" rIns="0" bIns="0" rtlCol="0">
            <a:spAutoFit/>
          </a:bodyPr>
          <a:lstStyle/>
          <a:p>
            <a:pPr algn="ctr"/>
            <a:r>
              <a:rPr lang="en-GB" sz="1400" b="1" i="0" dirty="0">
                <a:solidFill>
                  <a:schemeClr val="bg1"/>
                </a:solidFill>
                <a:latin typeface="Arial" panose="020B0604020202020204" pitchFamily="34" charset="0"/>
                <a:cs typeface="Arial" panose="020B0604020202020204" pitchFamily="34" charset="0"/>
              </a:rPr>
              <a:t>Prosperous income</a:t>
            </a:r>
            <a:endParaRPr lang="en-GB" sz="1400" i="0" dirty="0">
              <a:solidFill>
                <a:schemeClr val="bg1"/>
              </a:solidFill>
              <a:latin typeface="Arial" panose="020B0604020202020204" pitchFamily="34" charset="0"/>
              <a:cs typeface="Arial" panose="020B0604020202020204" pitchFamily="34" charset="0"/>
            </a:endParaRPr>
          </a:p>
        </p:txBody>
      </p:sp>
      <p:grpSp>
        <p:nvGrpSpPr>
          <p:cNvPr id="107" name="Groep 106">
            <a:extLst>
              <a:ext uri="{FF2B5EF4-FFF2-40B4-BE49-F238E27FC236}">
                <a16:creationId xmlns:a16="http://schemas.microsoft.com/office/drawing/2014/main" id="{EEA1DA7C-CAF2-F318-1A36-73D0A4EB0929}"/>
              </a:ext>
            </a:extLst>
          </p:cNvPr>
          <p:cNvGrpSpPr/>
          <p:nvPr/>
        </p:nvGrpSpPr>
        <p:grpSpPr>
          <a:xfrm>
            <a:off x="4691736" y="3423206"/>
            <a:ext cx="722858" cy="740314"/>
            <a:chOff x="6538467" y="3559190"/>
            <a:chExt cx="585323" cy="599458"/>
          </a:xfrm>
        </p:grpSpPr>
        <p:sp>
          <p:nvSpPr>
            <p:cNvPr id="58" name="Vrije vorm: vorm 57">
              <a:extLst>
                <a:ext uri="{FF2B5EF4-FFF2-40B4-BE49-F238E27FC236}">
                  <a16:creationId xmlns:a16="http://schemas.microsoft.com/office/drawing/2014/main" id="{233F98F4-0BEE-651F-F8F8-BE22EAEE581A}"/>
                </a:ext>
              </a:extLst>
            </p:cNvPr>
            <p:cNvSpPr/>
            <p:nvPr/>
          </p:nvSpPr>
          <p:spPr>
            <a:xfrm>
              <a:off x="6938438" y="3680635"/>
              <a:ext cx="146330" cy="58532"/>
            </a:xfrm>
            <a:custGeom>
              <a:avLst/>
              <a:gdLst>
                <a:gd name="connsiteX0" fmla="*/ 0 w 146330"/>
                <a:gd name="connsiteY0" fmla="*/ 19511 h 58532"/>
                <a:gd name="connsiteX1" fmla="*/ 16848 w 146330"/>
                <a:gd name="connsiteY1" fmla="*/ 11082 h 58532"/>
                <a:gd name="connsiteX2" fmla="*/ 63810 w 146330"/>
                <a:gd name="connsiteY2" fmla="*/ 0 h 58532"/>
                <a:gd name="connsiteX3" fmla="*/ 138068 w 146330"/>
                <a:gd name="connsiteY3" fmla="*/ 30759 h 58532"/>
                <a:gd name="connsiteX4" fmla="*/ 146331 w 146330"/>
                <a:gd name="connsiteY4" fmla="*/ 39022 h 58532"/>
                <a:gd name="connsiteX5" fmla="*/ 144516 w 146330"/>
                <a:gd name="connsiteY5" fmla="*/ 39022 h 58532"/>
                <a:gd name="connsiteX6" fmla="*/ 92510 w 146330"/>
                <a:gd name="connsiteY6" fmla="*/ 51294 h 58532"/>
                <a:gd name="connsiteX7" fmla="*/ 61869 w 146330"/>
                <a:gd name="connsiteY7" fmla="*/ 58532 h 58532"/>
                <a:gd name="connsiteX8" fmla="*/ 566 w 146330"/>
                <a:gd name="connsiteY8" fmla="*/ 20652 h 58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330" h="58532">
                  <a:moveTo>
                    <a:pt x="0" y="19511"/>
                  </a:moveTo>
                  <a:lnTo>
                    <a:pt x="16848" y="11082"/>
                  </a:lnTo>
                  <a:cubicBezTo>
                    <a:pt x="31430" y="3795"/>
                    <a:pt x="47508" y="1"/>
                    <a:pt x="63810" y="0"/>
                  </a:cubicBezTo>
                  <a:cubicBezTo>
                    <a:pt x="91662" y="0"/>
                    <a:pt x="118374" y="11064"/>
                    <a:pt x="138068" y="30759"/>
                  </a:cubicBezTo>
                  <a:lnTo>
                    <a:pt x="146331" y="39022"/>
                  </a:lnTo>
                  <a:lnTo>
                    <a:pt x="144516" y="39022"/>
                  </a:lnTo>
                  <a:cubicBezTo>
                    <a:pt x="126464" y="39022"/>
                    <a:pt x="108659" y="43224"/>
                    <a:pt x="92510" y="51294"/>
                  </a:cubicBezTo>
                  <a:cubicBezTo>
                    <a:pt x="82997" y="56054"/>
                    <a:pt x="72506" y="58532"/>
                    <a:pt x="61869" y="58532"/>
                  </a:cubicBezTo>
                  <a:cubicBezTo>
                    <a:pt x="35909" y="58535"/>
                    <a:pt x="12176" y="43870"/>
                    <a:pt x="566" y="20652"/>
                  </a:cubicBezTo>
                  <a:close/>
                </a:path>
              </a:pathLst>
            </a:custGeom>
            <a:solidFill>
              <a:schemeClr val="accent2">
                <a:lumMod val="60000"/>
                <a:lumOff val="40000"/>
              </a:schemeClr>
            </a:solidFill>
            <a:ln w="9674" cap="flat">
              <a:noFill/>
              <a:prstDash val="solid"/>
              <a:miter/>
            </a:ln>
          </p:spPr>
          <p:txBody>
            <a:bodyPr rtlCol="0" anchor="ctr"/>
            <a:lstStyle/>
            <a:p>
              <a:endParaRPr lang="en-GB"/>
            </a:p>
          </p:txBody>
        </p:sp>
        <p:sp>
          <p:nvSpPr>
            <p:cNvPr id="59" name="Vrije vorm: vorm 58">
              <a:extLst>
                <a:ext uri="{FF2B5EF4-FFF2-40B4-BE49-F238E27FC236}">
                  <a16:creationId xmlns:a16="http://schemas.microsoft.com/office/drawing/2014/main" id="{312019F5-1CA9-5E66-090E-D350B08BE6AC}"/>
                </a:ext>
              </a:extLst>
            </p:cNvPr>
            <p:cNvSpPr/>
            <p:nvPr/>
          </p:nvSpPr>
          <p:spPr>
            <a:xfrm>
              <a:off x="6942809" y="3680635"/>
              <a:ext cx="132536" cy="48776"/>
            </a:xfrm>
            <a:custGeom>
              <a:avLst/>
              <a:gdLst>
                <a:gd name="connsiteX0" fmla="*/ 57498 w 132536"/>
                <a:gd name="connsiteY0" fmla="*/ 48777 h 48776"/>
                <a:gd name="connsiteX1" fmla="*/ 88140 w 132536"/>
                <a:gd name="connsiteY1" fmla="*/ 41538 h 48776"/>
                <a:gd name="connsiteX2" fmla="*/ 132537 w 132536"/>
                <a:gd name="connsiteY2" fmla="*/ 29705 h 48776"/>
                <a:gd name="connsiteX3" fmla="*/ 59440 w 132536"/>
                <a:gd name="connsiteY3" fmla="*/ 0 h 48776"/>
                <a:gd name="connsiteX4" fmla="*/ 12477 w 132536"/>
                <a:gd name="connsiteY4" fmla="*/ 11082 h 48776"/>
                <a:gd name="connsiteX5" fmla="*/ 0 w 132536"/>
                <a:gd name="connsiteY5" fmla="*/ 17326 h 48776"/>
                <a:gd name="connsiteX6" fmla="*/ 57498 w 132536"/>
                <a:gd name="connsiteY6" fmla="*/ 48777 h 4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536" h="48776">
                  <a:moveTo>
                    <a:pt x="57498" y="48777"/>
                  </a:moveTo>
                  <a:cubicBezTo>
                    <a:pt x="68136" y="48777"/>
                    <a:pt x="78627" y="46299"/>
                    <a:pt x="88140" y="41538"/>
                  </a:cubicBezTo>
                  <a:cubicBezTo>
                    <a:pt x="102005" y="34682"/>
                    <a:pt x="117098" y="30659"/>
                    <a:pt x="132537" y="29705"/>
                  </a:cubicBezTo>
                  <a:cubicBezTo>
                    <a:pt x="112961" y="10674"/>
                    <a:pt x="86741" y="19"/>
                    <a:pt x="59440" y="0"/>
                  </a:cubicBezTo>
                  <a:cubicBezTo>
                    <a:pt x="43138" y="1"/>
                    <a:pt x="27060" y="3795"/>
                    <a:pt x="12477" y="11082"/>
                  </a:cubicBezTo>
                  <a:lnTo>
                    <a:pt x="0" y="17326"/>
                  </a:lnTo>
                  <a:cubicBezTo>
                    <a:pt x="12577" y="36898"/>
                    <a:pt x="34233" y="48744"/>
                    <a:pt x="57498" y="48777"/>
                  </a:cubicBezTo>
                  <a:close/>
                </a:path>
              </a:pathLst>
            </a:custGeom>
            <a:solidFill>
              <a:schemeClr val="accent2">
                <a:lumMod val="40000"/>
                <a:lumOff val="60000"/>
              </a:schemeClr>
            </a:solidFill>
            <a:ln w="9674" cap="flat">
              <a:noFill/>
              <a:prstDash val="solid"/>
              <a:miter/>
            </a:ln>
          </p:spPr>
          <p:txBody>
            <a:bodyPr rtlCol="0" anchor="ctr"/>
            <a:lstStyle/>
            <a:p>
              <a:endParaRPr lang="en-GB"/>
            </a:p>
          </p:txBody>
        </p:sp>
        <p:sp>
          <p:nvSpPr>
            <p:cNvPr id="60" name="Vrije vorm: vorm 59">
              <a:extLst>
                <a:ext uri="{FF2B5EF4-FFF2-40B4-BE49-F238E27FC236}">
                  <a16:creationId xmlns:a16="http://schemas.microsoft.com/office/drawing/2014/main" id="{42C8414D-30E1-2DF6-AE66-F77F1A0A9308}"/>
                </a:ext>
              </a:extLst>
            </p:cNvPr>
            <p:cNvSpPr/>
            <p:nvPr/>
          </p:nvSpPr>
          <p:spPr>
            <a:xfrm>
              <a:off x="6850640" y="3768433"/>
              <a:ext cx="273150" cy="156086"/>
            </a:xfrm>
            <a:custGeom>
              <a:avLst/>
              <a:gdLst>
                <a:gd name="connsiteX0" fmla="*/ 0 w 273150"/>
                <a:gd name="connsiteY0" fmla="*/ 126820 h 156086"/>
                <a:gd name="connsiteX1" fmla="*/ 184650 w 273150"/>
                <a:gd name="connsiteY1" fmla="*/ 0 h 156086"/>
                <a:gd name="connsiteX2" fmla="*/ 195108 w 273150"/>
                <a:gd name="connsiteY2" fmla="*/ 0 h 156086"/>
                <a:gd name="connsiteX3" fmla="*/ 273151 w 273150"/>
                <a:gd name="connsiteY3" fmla="*/ 39022 h 156086"/>
                <a:gd name="connsiteX4" fmla="*/ 190913 w 273150"/>
                <a:gd name="connsiteY4" fmla="*/ 85584 h 156086"/>
                <a:gd name="connsiteX5" fmla="*/ 164573 w 273150"/>
                <a:gd name="connsiteY5" fmla="*/ 114528 h 156086"/>
                <a:gd name="connsiteX6" fmla="*/ 70658 w 273150"/>
                <a:gd name="connsiteY6" fmla="*/ 156086 h 156086"/>
                <a:gd name="connsiteX7" fmla="*/ 0 w 273150"/>
                <a:gd name="connsiteY7" fmla="*/ 126820 h 15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3150" h="156086">
                  <a:moveTo>
                    <a:pt x="0" y="126820"/>
                  </a:moveTo>
                  <a:cubicBezTo>
                    <a:pt x="29386" y="50417"/>
                    <a:pt x="102790" y="1"/>
                    <a:pt x="184650" y="0"/>
                  </a:cubicBezTo>
                  <a:lnTo>
                    <a:pt x="195108" y="0"/>
                  </a:lnTo>
                  <a:cubicBezTo>
                    <a:pt x="225814" y="0"/>
                    <a:pt x="254727" y="14457"/>
                    <a:pt x="273151" y="39022"/>
                  </a:cubicBezTo>
                  <a:cubicBezTo>
                    <a:pt x="241468" y="45357"/>
                    <a:pt x="212647" y="61675"/>
                    <a:pt x="190913" y="85584"/>
                  </a:cubicBezTo>
                  <a:lnTo>
                    <a:pt x="164573" y="114528"/>
                  </a:lnTo>
                  <a:cubicBezTo>
                    <a:pt x="140516" y="140987"/>
                    <a:pt x="106418" y="156075"/>
                    <a:pt x="70658" y="156086"/>
                  </a:cubicBezTo>
                  <a:cubicBezTo>
                    <a:pt x="44156" y="156088"/>
                    <a:pt x="18739" y="145560"/>
                    <a:pt x="0" y="126820"/>
                  </a:cubicBezTo>
                  <a:close/>
                </a:path>
              </a:pathLst>
            </a:custGeom>
            <a:solidFill>
              <a:schemeClr val="accent2">
                <a:lumMod val="60000"/>
                <a:lumOff val="40000"/>
              </a:schemeClr>
            </a:solidFill>
            <a:ln w="9674" cap="flat">
              <a:noFill/>
              <a:prstDash val="solid"/>
              <a:miter/>
            </a:ln>
          </p:spPr>
          <p:txBody>
            <a:bodyPr rtlCol="0" anchor="ctr"/>
            <a:lstStyle/>
            <a:p>
              <a:endParaRPr lang="en-GB"/>
            </a:p>
          </p:txBody>
        </p:sp>
        <p:sp>
          <p:nvSpPr>
            <p:cNvPr id="61" name="Vrije vorm: vorm 60">
              <a:extLst>
                <a:ext uri="{FF2B5EF4-FFF2-40B4-BE49-F238E27FC236}">
                  <a16:creationId xmlns:a16="http://schemas.microsoft.com/office/drawing/2014/main" id="{0E9426B2-F1FB-28A0-0CD0-7E858599CCE7}"/>
                </a:ext>
              </a:extLst>
            </p:cNvPr>
            <p:cNvSpPr/>
            <p:nvPr/>
          </p:nvSpPr>
          <p:spPr>
            <a:xfrm>
              <a:off x="6856669" y="3768433"/>
              <a:ext cx="252352" cy="136575"/>
            </a:xfrm>
            <a:custGeom>
              <a:avLst/>
              <a:gdLst>
                <a:gd name="connsiteX0" fmla="*/ 178621 w 252352"/>
                <a:gd name="connsiteY0" fmla="*/ 0 h 136575"/>
                <a:gd name="connsiteX1" fmla="*/ 0 w 252352"/>
                <a:gd name="connsiteY1" fmla="*/ 112772 h 136575"/>
                <a:gd name="connsiteX2" fmla="*/ 64629 w 252352"/>
                <a:gd name="connsiteY2" fmla="*/ 136575 h 136575"/>
                <a:gd name="connsiteX3" fmla="*/ 158574 w 252352"/>
                <a:gd name="connsiteY3" fmla="*/ 95018 h 136575"/>
                <a:gd name="connsiteX4" fmla="*/ 184913 w 252352"/>
                <a:gd name="connsiteY4" fmla="*/ 66073 h 136575"/>
                <a:gd name="connsiteX5" fmla="*/ 252352 w 252352"/>
                <a:gd name="connsiteY5" fmla="*/ 23354 h 136575"/>
                <a:gd name="connsiteX6" fmla="*/ 189079 w 252352"/>
                <a:gd name="connsiteY6" fmla="*/ 0 h 13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352" h="136575">
                  <a:moveTo>
                    <a:pt x="178621" y="0"/>
                  </a:moveTo>
                  <a:cubicBezTo>
                    <a:pt x="102317" y="5"/>
                    <a:pt x="32816" y="43885"/>
                    <a:pt x="0" y="112772"/>
                  </a:cubicBezTo>
                  <a:cubicBezTo>
                    <a:pt x="18039" y="128119"/>
                    <a:pt x="40945" y="136555"/>
                    <a:pt x="64629" y="136575"/>
                  </a:cubicBezTo>
                  <a:cubicBezTo>
                    <a:pt x="100400" y="136573"/>
                    <a:pt x="134510" y="121483"/>
                    <a:pt x="158574" y="95018"/>
                  </a:cubicBezTo>
                  <a:lnTo>
                    <a:pt x="184913" y="66073"/>
                  </a:lnTo>
                  <a:cubicBezTo>
                    <a:pt x="203158" y="46047"/>
                    <a:pt x="226450" y="31292"/>
                    <a:pt x="252352" y="23354"/>
                  </a:cubicBezTo>
                  <a:cubicBezTo>
                    <a:pt x="234709" y="8294"/>
                    <a:pt x="212276" y="14"/>
                    <a:pt x="189079" y="0"/>
                  </a:cubicBezTo>
                  <a:close/>
                </a:path>
              </a:pathLst>
            </a:custGeom>
            <a:solidFill>
              <a:schemeClr val="accent2">
                <a:lumMod val="40000"/>
                <a:lumOff val="60000"/>
              </a:schemeClr>
            </a:solidFill>
            <a:ln w="9674" cap="flat">
              <a:noFill/>
              <a:prstDash val="solid"/>
              <a:miter/>
            </a:ln>
          </p:spPr>
          <p:txBody>
            <a:bodyPr rtlCol="0" anchor="ctr"/>
            <a:lstStyle/>
            <a:p>
              <a:endParaRPr lang="en-GB"/>
            </a:p>
          </p:txBody>
        </p:sp>
        <p:sp>
          <p:nvSpPr>
            <p:cNvPr id="62" name="Vrije vorm: vorm 61">
              <a:extLst>
                <a:ext uri="{FF2B5EF4-FFF2-40B4-BE49-F238E27FC236}">
                  <a16:creationId xmlns:a16="http://schemas.microsoft.com/office/drawing/2014/main" id="{77DB6CD4-92AA-9B6A-0477-6B291068E2DA}"/>
                </a:ext>
              </a:extLst>
            </p:cNvPr>
            <p:cNvSpPr/>
            <p:nvPr/>
          </p:nvSpPr>
          <p:spPr>
            <a:xfrm>
              <a:off x="6694554" y="3700145"/>
              <a:ext cx="136575" cy="117064"/>
            </a:xfrm>
            <a:custGeom>
              <a:avLst/>
              <a:gdLst>
                <a:gd name="connsiteX0" fmla="*/ 136575 w 136575"/>
                <a:gd name="connsiteY0" fmla="*/ 117065 h 117064"/>
                <a:gd name="connsiteX1" fmla="*/ 136575 w 136575"/>
                <a:gd name="connsiteY1" fmla="*/ 76463 h 117064"/>
                <a:gd name="connsiteX2" fmla="*/ 60113 w 136575"/>
                <a:gd name="connsiteY2" fmla="*/ 0 h 117064"/>
                <a:gd name="connsiteX3" fmla="*/ 0 w 136575"/>
                <a:gd name="connsiteY3" fmla="*/ 9755 h 117064"/>
                <a:gd name="connsiteX4" fmla="*/ 35958 w 136575"/>
                <a:gd name="connsiteY4" fmla="*/ 49626 h 117064"/>
                <a:gd name="connsiteX5" fmla="*/ 107504 w 136575"/>
                <a:gd name="connsiteY5" fmla="*/ 113836 h 11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575" h="117064">
                  <a:moveTo>
                    <a:pt x="136575" y="117065"/>
                  </a:moveTo>
                  <a:lnTo>
                    <a:pt x="136575" y="76463"/>
                  </a:lnTo>
                  <a:cubicBezTo>
                    <a:pt x="136575" y="34234"/>
                    <a:pt x="102342" y="0"/>
                    <a:pt x="60113" y="0"/>
                  </a:cubicBezTo>
                  <a:cubicBezTo>
                    <a:pt x="39681" y="3"/>
                    <a:pt x="19384" y="3297"/>
                    <a:pt x="0" y="9755"/>
                  </a:cubicBezTo>
                  <a:cubicBezTo>
                    <a:pt x="18156" y="15809"/>
                    <a:pt x="31805" y="30943"/>
                    <a:pt x="35958" y="49626"/>
                  </a:cubicBezTo>
                  <a:cubicBezTo>
                    <a:pt x="43629" y="84123"/>
                    <a:pt x="72382" y="109928"/>
                    <a:pt x="107504" y="113836"/>
                  </a:cubicBezTo>
                  <a:close/>
                </a:path>
              </a:pathLst>
            </a:custGeom>
            <a:solidFill>
              <a:schemeClr val="accent2">
                <a:lumMod val="60000"/>
                <a:lumOff val="40000"/>
              </a:schemeClr>
            </a:solidFill>
            <a:ln w="9674" cap="flat">
              <a:noFill/>
              <a:prstDash val="solid"/>
              <a:miter/>
            </a:ln>
          </p:spPr>
          <p:txBody>
            <a:bodyPr rtlCol="0" anchor="ctr"/>
            <a:lstStyle/>
            <a:p>
              <a:endParaRPr lang="en-GB"/>
            </a:p>
          </p:txBody>
        </p:sp>
        <p:sp>
          <p:nvSpPr>
            <p:cNvPr id="63" name="Vrije vorm: vorm 62">
              <a:extLst>
                <a:ext uri="{FF2B5EF4-FFF2-40B4-BE49-F238E27FC236}">
                  <a16:creationId xmlns:a16="http://schemas.microsoft.com/office/drawing/2014/main" id="{441BEF05-6E40-0445-1787-DCADAFEBADD3}"/>
                </a:ext>
              </a:extLst>
            </p:cNvPr>
            <p:cNvSpPr/>
            <p:nvPr/>
          </p:nvSpPr>
          <p:spPr>
            <a:xfrm>
              <a:off x="6716367" y="3700145"/>
              <a:ext cx="114762" cy="97553"/>
            </a:xfrm>
            <a:custGeom>
              <a:avLst/>
              <a:gdLst>
                <a:gd name="connsiteX0" fmla="*/ 38300 w 114762"/>
                <a:gd name="connsiteY0" fmla="*/ 0 h 97553"/>
                <a:gd name="connsiteX1" fmla="*/ 0 w 114762"/>
                <a:gd name="connsiteY1" fmla="*/ 4058 h 97553"/>
                <a:gd name="connsiteX2" fmla="*/ 14145 w 114762"/>
                <a:gd name="connsiteY2" fmla="*/ 30115 h 97553"/>
                <a:gd name="connsiteX3" fmla="*/ 85691 w 114762"/>
                <a:gd name="connsiteY3" fmla="*/ 94325 h 97553"/>
                <a:gd name="connsiteX4" fmla="*/ 114762 w 114762"/>
                <a:gd name="connsiteY4" fmla="*/ 97554 h 97553"/>
                <a:gd name="connsiteX5" fmla="*/ 114762 w 114762"/>
                <a:gd name="connsiteY5" fmla="*/ 76463 h 97553"/>
                <a:gd name="connsiteX6" fmla="*/ 38300 w 114762"/>
                <a:gd name="connsiteY6" fmla="*/ 0 h 9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762" h="97553">
                  <a:moveTo>
                    <a:pt x="38300" y="0"/>
                  </a:moveTo>
                  <a:cubicBezTo>
                    <a:pt x="25429" y="50"/>
                    <a:pt x="12596" y="1410"/>
                    <a:pt x="0" y="4058"/>
                  </a:cubicBezTo>
                  <a:cubicBezTo>
                    <a:pt x="7038" y="11266"/>
                    <a:pt x="11935" y="20287"/>
                    <a:pt x="14145" y="30115"/>
                  </a:cubicBezTo>
                  <a:cubicBezTo>
                    <a:pt x="21816" y="64612"/>
                    <a:pt x="50569" y="90417"/>
                    <a:pt x="85691" y="94325"/>
                  </a:cubicBezTo>
                  <a:lnTo>
                    <a:pt x="114762" y="97554"/>
                  </a:lnTo>
                  <a:lnTo>
                    <a:pt x="114762" y="76463"/>
                  </a:lnTo>
                  <a:cubicBezTo>
                    <a:pt x="114762" y="34234"/>
                    <a:pt x="80529" y="0"/>
                    <a:pt x="38300" y="0"/>
                  </a:cubicBezTo>
                  <a:close/>
                </a:path>
              </a:pathLst>
            </a:custGeom>
            <a:solidFill>
              <a:schemeClr val="accent2">
                <a:lumMod val="40000"/>
                <a:lumOff val="60000"/>
              </a:schemeClr>
            </a:solidFill>
            <a:ln w="9674" cap="flat">
              <a:noFill/>
              <a:prstDash val="solid"/>
              <a:miter/>
            </a:ln>
          </p:spPr>
          <p:txBody>
            <a:bodyPr rtlCol="0" anchor="ctr"/>
            <a:lstStyle/>
            <a:p>
              <a:endParaRPr lang="en-GB"/>
            </a:p>
          </p:txBody>
        </p:sp>
        <p:sp>
          <p:nvSpPr>
            <p:cNvPr id="64" name="Vrije vorm: vorm 63">
              <a:extLst>
                <a:ext uri="{FF2B5EF4-FFF2-40B4-BE49-F238E27FC236}">
                  <a16:creationId xmlns:a16="http://schemas.microsoft.com/office/drawing/2014/main" id="{4F90C6D9-47E1-0000-CF93-C6A77215430C}"/>
                </a:ext>
              </a:extLst>
            </p:cNvPr>
            <p:cNvSpPr/>
            <p:nvPr/>
          </p:nvSpPr>
          <p:spPr>
            <a:xfrm>
              <a:off x="6538467" y="3865987"/>
              <a:ext cx="273150" cy="156086"/>
            </a:xfrm>
            <a:custGeom>
              <a:avLst/>
              <a:gdLst>
                <a:gd name="connsiteX0" fmla="*/ 273151 w 273150"/>
                <a:gd name="connsiteY0" fmla="*/ 126820 h 156086"/>
                <a:gd name="connsiteX1" fmla="*/ 88501 w 273150"/>
                <a:gd name="connsiteY1" fmla="*/ 0 h 156086"/>
                <a:gd name="connsiteX2" fmla="*/ 78043 w 273150"/>
                <a:gd name="connsiteY2" fmla="*/ 0 h 156086"/>
                <a:gd name="connsiteX3" fmla="*/ 0 w 273150"/>
                <a:gd name="connsiteY3" fmla="*/ 39022 h 156086"/>
                <a:gd name="connsiteX4" fmla="*/ 82238 w 273150"/>
                <a:gd name="connsiteY4" fmla="*/ 85584 h 156086"/>
                <a:gd name="connsiteX5" fmla="*/ 108578 w 273150"/>
                <a:gd name="connsiteY5" fmla="*/ 114528 h 156086"/>
                <a:gd name="connsiteX6" fmla="*/ 202493 w 273150"/>
                <a:gd name="connsiteY6" fmla="*/ 156086 h 156086"/>
                <a:gd name="connsiteX7" fmla="*/ 273151 w 273150"/>
                <a:gd name="connsiteY7" fmla="*/ 126820 h 15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3150" h="156086">
                  <a:moveTo>
                    <a:pt x="273151" y="126820"/>
                  </a:moveTo>
                  <a:cubicBezTo>
                    <a:pt x="243765" y="50417"/>
                    <a:pt x="170361" y="1"/>
                    <a:pt x="88501" y="0"/>
                  </a:cubicBezTo>
                  <a:lnTo>
                    <a:pt x="78043" y="0"/>
                  </a:lnTo>
                  <a:cubicBezTo>
                    <a:pt x="47337" y="0"/>
                    <a:pt x="18423" y="14457"/>
                    <a:pt x="0" y="39022"/>
                  </a:cubicBezTo>
                  <a:cubicBezTo>
                    <a:pt x="31683" y="45357"/>
                    <a:pt x="60504" y="61675"/>
                    <a:pt x="82238" y="85584"/>
                  </a:cubicBezTo>
                  <a:lnTo>
                    <a:pt x="108578" y="114528"/>
                  </a:lnTo>
                  <a:cubicBezTo>
                    <a:pt x="132635" y="140987"/>
                    <a:pt x="166733" y="156075"/>
                    <a:pt x="202493" y="156086"/>
                  </a:cubicBezTo>
                  <a:cubicBezTo>
                    <a:pt x="228995" y="156088"/>
                    <a:pt x="254412" y="145560"/>
                    <a:pt x="273151" y="126820"/>
                  </a:cubicBezTo>
                  <a:close/>
                </a:path>
              </a:pathLst>
            </a:custGeom>
            <a:solidFill>
              <a:schemeClr val="accent2">
                <a:lumMod val="60000"/>
                <a:lumOff val="40000"/>
              </a:schemeClr>
            </a:solidFill>
            <a:ln w="9674" cap="flat">
              <a:noFill/>
              <a:prstDash val="solid"/>
              <a:miter/>
            </a:ln>
          </p:spPr>
          <p:txBody>
            <a:bodyPr rtlCol="0" anchor="ctr"/>
            <a:lstStyle/>
            <a:p>
              <a:endParaRPr lang="en-GB"/>
            </a:p>
          </p:txBody>
        </p:sp>
        <p:sp>
          <p:nvSpPr>
            <p:cNvPr id="65" name="Vrije vorm: vorm 64">
              <a:extLst>
                <a:ext uri="{FF2B5EF4-FFF2-40B4-BE49-F238E27FC236}">
                  <a16:creationId xmlns:a16="http://schemas.microsoft.com/office/drawing/2014/main" id="{37068B89-D390-8C5F-CA34-2ECC73475EBB}"/>
                </a:ext>
              </a:extLst>
            </p:cNvPr>
            <p:cNvSpPr/>
            <p:nvPr/>
          </p:nvSpPr>
          <p:spPr>
            <a:xfrm>
              <a:off x="6553266" y="3865987"/>
              <a:ext cx="252323" cy="136575"/>
            </a:xfrm>
            <a:custGeom>
              <a:avLst/>
              <a:gdLst>
                <a:gd name="connsiteX0" fmla="*/ 73702 w 252323"/>
                <a:gd name="connsiteY0" fmla="*/ 0 h 136575"/>
                <a:gd name="connsiteX1" fmla="*/ 63244 w 252323"/>
                <a:gd name="connsiteY1" fmla="*/ 0 h 136575"/>
                <a:gd name="connsiteX2" fmla="*/ 0 w 252323"/>
                <a:gd name="connsiteY2" fmla="*/ 23354 h 136575"/>
                <a:gd name="connsiteX3" fmla="*/ 67439 w 252323"/>
                <a:gd name="connsiteY3" fmla="*/ 66073 h 136575"/>
                <a:gd name="connsiteX4" fmla="*/ 93779 w 252323"/>
                <a:gd name="connsiteY4" fmla="*/ 95018 h 136575"/>
                <a:gd name="connsiteX5" fmla="*/ 187694 w 252323"/>
                <a:gd name="connsiteY5" fmla="*/ 136575 h 136575"/>
                <a:gd name="connsiteX6" fmla="*/ 252323 w 252323"/>
                <a:gd name="connsiteY6" fmla="*/ 112772 h 136575"/>
                <a:gd name="connsiteX7" fmla="*/ 73702 w 252323"/>
                <a:gd name="connsiteY7" fmla="*/ 0 h 13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323" h="136575">
                  <a:moveTo>
                    <a:pt x="73702" y="0"/>
                  </a:moveTo>
                  <a:lnTo>
                    <a:pt x="63244" y="0"/>
                  </a:lnTo>
                  <a:cubicBezTo>
                    <a:pt x="40057" y="21"/>
                    <a:pt x="17636" y="8301"/>
                    <a:pt x="0" y="23354"/>
                  </a:cubicBezTo>
                  <a:cubicBezTo>
                    <a:pt x="25902" y="31292"/>
                    <a:pt x="49194" y="46047"/>
                    <a:pt x="67439" y="66073"/>
                  </a:cubicBezTo>
                  <a:lnTo>
                    <a:pt x="93779" y="95018"/>
                  </a:lnTo>
                  <a:cubicBezTo>
                    <a:pt x="117836" y="121476"/>
                    <a:pt x="151934" y="136564"/>
                    <a:pt x="187694" y="136575"/>
                  </a:cubicBezTo>
                  <a:cubicBezTo>
                    <a:pt x="211378" y="136555"/>
                    <a:pt x="234284" y="128119"/>
                    <a:pt x="252323" y="112772"/>
                  </a:cubicBezTo>
                  <a:cubicBezTo>
                    <a:pt x="219508" y="43885"/>
                    <a:pt x="150006" y="5"/>
                    <a:pt x="73702" y="0"/>
                  </a:cubicBezTo>
                  <a:close/>
                </a:path>
              </a:pathLst>
            </a:custGeom>
            <a:solidFill>
              <a:schemeClr val="accent2">
                <a:lumMod val="40000"/>
                <a:lumOff val="60000"/>
              </a:schemeClr>
            </a:solidFill>
            <a:ln w="9674" cap="flat">
              <a:noFill/>
              <a:prstDash val="solid"/>
              <a:miter/>
            </a:ln>
          </p:spPr>
          <p:txBody>
            <a:bodyPr rtlCol="0" anchor="ctr"/>
            <a:lstStyle/>
            <a:p>
              <a:endParaRPr lang="en-GB"/>
            </a:p>
          </p:txBody>
        </p:sp>
        <p:sp>
          <p:nvSpPr>
            <p:cNvPr id="66" name="Vrije vorm: vorm 65">
              <a:extLst>
                <a:ext uri="{FF2B5EF4-FFF2-40B4-BE49-F238E27FC236}">
                  <a16:creationId xmlns:a16="http://schemas.microsoft.com/office/drawing/2014/main" id="{FAF41F65-FB07-7981-5F8B-D7B2166C0387}"/>
                </a:ext>
              </a:extLst>
            </p:cNvPr>
            <p:cNvSpPr/>
            <p:nvPr/>
          </p:nvSpPr>
          <p:spPr>
            <a:xfrm>
              <a:off x="6870151" y="3602591"/>
              <a:ext cx="78043" cy="48776"/>
            </a:xfrm>
            <a:custGeom>
              <a:avLst/>
              <a:gdLst>
                <a:gd name="connsiteX0" fmla="*/ 78043 w 78043"/>
                <a:gd name="connsiteY0" fmla="*/ 48777 h 48776"/>
                <a:gd name="connsiteX1" fmla="*/ 29266 w 78043"/>
                <a:gd name="connsiteY1" fmla="*/ 0 h 48776"/>
                <a:gd name="connsiteX2" fmla="*/ 23550 w 78043"/>
                <a:gd name="connsiteY2" fmla="*/ 0 h 48776"/>
                <a:gd name="connsiteX3" fmla="*/ 0 w 78043"/>
                <a:gd name="connsiteY3" fmla="*/ 9755 h 48776"/>
                <a:gd name="connsiteX4" fmla="*/ 24242 w 78043"/>
                <a:gd name="connsiteY4" fmla="*/ 28681 h 48776"/>
                <a:gd name="connsiteX5" fmla="*/ 49977 w 78043"/>
                <a:gd name="connsiteY5" fmla="*/ 48777 h 4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043" h="48776">
                  <a:moveTo>
                    <a:pt x="78043" y="48777"/>
                  </a:moveTo>
                  <a:cubicBezTo>
                    <a:pt x="78043" y="21838"/>
                    <a:pt x="56205" y="0"/>
                    <a:pt x="29266" y="0"/>
                  </a:cubicBezTo>
                  <a:lnTo>
                    <a:pt x="23550" y="0"/>
                  </a:lnTo>
                  <a:cubicBezTo>
                    <a:pt x="14717" y="1"/>
                    <a:pt x="6246" y="3510"/>
                    <a:pt x="0" y="9755"/>
                  </a:cubicBezTo>
                  <a:cubicBezTo>
                    <a:pt x="11465" y="9757"/>
                    <a:pt x="21459" y="17559"/>
                    <a:pt x="24242" y="28681"/>
                  </a:cubicBezTo>
                  <a:cubicBezTo>
                    <a:pt x="27193" y="40491"/>
                    <a:pt x="37803" y="48777"/>
                    <a:pt x="49977" y="48777"/>
                  </a:cubicBezTo>
                  <a:close/>
                </a:path>
              </a:pathLst>
            </a:custGeom>
            <a:solidFill>
              <a:schemeClr val="accent2">
                <a:lumMod val="60000"/>
                <a:lumOff val="40000"/>
              </a:schemeClr>
            </a:solidFill>
            <a:ln w="9674" cap="flat">
              <a:noFill/>
              <a:prstDash val="solid"/>
              <a:miter/>
            </a:ln>
          </p:spPr>
          <p:txBody>
            <a:bodyPr rtlCol="0" anchor="ctr"/>
            <a:lstStyle/>
            <a:p>
              <a:endParaRPr lang="en-GB"/>
            </a:p>
          </p:txBody>
        </p:sp>
        <p:sp>
          <p:nvSpPr>
            <p:cNvPr id="67" name="Vrije vorm: vorm 66">
              <a:extLst>
                <a:ext uri="{FF2B5EF4-FFF2-40B4-BE49-F238E27FC236}">
                  <a16:creationId xmlns:a16="http://schemas.microsoft.com/office/drawing/2014/main" id="{1190366C-6AEC-E176-556F-445228AF86CD}"/>
                </a:ext>
              </a:extLst>
            </p:cNvPr>
            <p:cNvSpPr/>
            <p:nvPr/>
          </p:nvSpPr>
          <p:spPr>
            <a:xfrm>
              <a:off x="6880960" y="3602591"/>
              <a:ext cx="66258" cy="39021"/>
            </a:xfrm>
            <a:custGeom>
              <a:avLst/>
              <a:gdLst>
                <a:gd name="connsiteX0" fmla="*/ 18457 w 66258"/>
                <a:gd name="connsiteY0" fmla="*/ 0 h 39021"/>
                <a:gd name="connsiteX1" fmla="*/ 12741 w 66258"/>
                <a:gd name="connsiteY1" fmla="*/ 0 h 39021"/>
                <a:gd name="connsiteX2" fmla="*/ 0 w 66258"/>
                <a:gd name="connsiteY2" fmla="*/ 2536 h 39021"/>
                <a:gd name="connsiteX3" fmla="*/ 13433 w 66258"/>
                <a:gd name="connsiteY3" fmla="*/ 18925 h 39021"/>
                <a:gd name="connsiteX4" fmla="*/ 39168 w 66258"/>
                <a:gd name="connsiteY4" fmla="*/ 39022 h 39021"/>
                <a:gd name="connsiteX5" fmla="*/ 66259 w 66258"/>
                <a:gd name="connsiteY5" fmla="*/ 39022 h 39021"/>
                <a:gd name="connsiteX6" fmla="*/ 18457 w 66258"/>
                <a:gd name="connsiteY6" fmla="*/ 0 h 3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258" h="39021">
                  <a:moveTo>
                    <a:pt x="18457" y="0"/>
                  </a:moveTo>
                  <a:lnTo>
                    <a:pt x="12741" y="0"/>
                  </a:lnTo>
                  <a:cubicBezTo>
                    <a:pt x="8368" y="-1"/>
                    <a:pt x="4039" y="861"/>
                    <a:pt x="0" y="2536"/>
                  </a:cubicBezTo>
                  <a:cubicBezTo>
                    <a:pt x="6695" y="5726"/>
                    <a:pt x="11620" y="11734"/>
                    <a:pt x="13433" y="18925"/>
                  </a:cubicBezTo>
                  <a:cubicBezTo>
                    <a:pt x="16384" y="30736"/>
                    <a:pt x="26994" y="39022"/>
                    <a:pt x="39168" y="39022"/>
                  </a:cubicBezTo>
                  <a:lnTo>
                    <a:pt x="66259" y="39022"/>
                  </a:lnTo>
                  <a:cubicBezTo>
                    <a:pt x="61622" y="16308"/>
                    <a:pt x="41639" y="-5"/>
                    <a:pt x="18457" y="0"/>
                  </a:cubicBezTo>
                  <a:close/>
                </a:path>
              </a:pathLst>
            </a:custGeom>
            <a:solidFill>
              <a:schemeClr val="accent2">
                <a:lumMod val="40000"/>
                <a:lumOff val="60000"/>
              </a:schemeClr>
            </a:solidFill>
            <a:ln w="9674" cap="flat">
              <a:noFill/>
              <a:prstDash val="solid"/>
              <a:miter/>
            </a:ln>
          </p:spPr>
          <p:txBody>
            <a:bodyPr rtlCol="0" anchor="ctr"/>
            <a:lstStyle/>
            <a:p>
              <a:endParaRPr lang="en-GB"/>
            </a:p>
          </p:txBody>
        </p:sp>
        <p:sp>
          <p:nvSpPr>
            <p:cNvPr id="68" name="Vrije vorm: vorm 67">
              <a:extLst>
                <a:ext uri="{FF2B5EF4-FFF2-40B4-BE49-F238E27FC236}">
                  <a16:creationId xmlns:a16="http://schemas.microsoft.com/office/drawing/2014/main" id="{6DF48D16-31D3-DBF4-E248-526DDBD441FF}"/>
                </a:ext>
              </a:extLst>
            </p:cNvPr>
            <p:cNvSpPr/>
            <p:nvPr/>
          </p:nvSpPr>
          <p:spPr>
            <a:xfrm>
              <a:off x="6633660" y="3559190"/>
              <a:ext cx="394937" cy="554691"/>
            </a:xfrm>
            <a:custGeom>
              <a:avLst/>
              <a:gdLst>
                <a:gd name="connsiteX0" fmla="*/ 274663 w 394937"/>
                <a:gd name="connsiteY0" fmla="*/ 496393 h 554691"/>
                <a:gd name="connsiteX1" fmla="*/ 198083 w 394937"/>
                <a:gd name="connsiteY1" fmla="*/ 356423 h 554691"/>
                <a:gd name="connsiteX2" fmla="*/ 221340 w 394937"/>
                <a:gd name="connsiteY2" fmla="*/ 344843 h 554691"/>
                <a:gd name="connsiteX3" fmla="*/ 222569 w 394937"/>
                <a:gd name="connsiteY3" fmla="*/ 344102 h 554691"/>
                <a:gd name="connsiteX4" fmla="*/ 254216 w 394937"/>
                <a:gd name="connsiteY4" fmla="*/ 321947 h 554691"/>
                <a:gd name="connsiteX5" fmla="*/ 394937 w 394937"/>
                <a:gd name="connsiteY5" fmla="*/ 257728 h 554691"/>
                <a:gd name="connsiteX6" fmla="*/ 390216 w 394937"/>
                <a:gd name="connsiteY6" fmla="*/ 238802 h 554691"/>
                <a:gd name="connsiteX7" fmla="*/ 243036 w 394937"/>
                <a:gd name="connsiteY7" fmla="*/ 305919 h 554691"/>
                <a:gd name="connsiteX8" fmla="*/ 211975 w 394937"/>
                <a:gd name="connsiteY8" fmla="*/ 327664 h 554691"/>
                <a:gd name="connsiteX9" fmla="*/ 197820 w 394937"/>
                <a:gd name="connsiteY9" fmla="*/ 334737 h 554691"/>
                <a:gd name="connsiteX10" fmla="*/ 253991 w 394937"/>
                <a:gd name="connsiteY10" fmla="*/ 205536 h 554691"/>
                <a:gd name="connsiteX11" fmla="*/ 296037 w 394937"/>
                <a:gd name="connsiteY11" fmla="*/ 163500 h 554691"/>
                <a:gd name="connsiteX12" fmla="*/ 306768 w 394937"/>
                <a:gd name="connsiteY12" fmla="*/ 151170 h 554691"/>
                <a:gd name="connsiteX13" fmla="*/ 361720 w 394937"/>
                <a:gd name="connsiteY13" fmla="*/ 160330 h 554691"/>
                <a:gd name="connsiteX14" fmla="*/ 364920 w 394937"/>
                <a:gd name="connsiteY14" fmla="*/ 141092 h 554691"/>
                <a:gd name="connsiteX15" fmla="*/ 318523 w 394937"/>
                <a:gd name="connsiteY15" fmla="*/ 133356 h 554691"/>
                <a:gd name="connsiteX16" fmla="*/ 334044 w 394937"/>
                <a:gd name="connsiteY16" fmla="*/ 71692 h 554691"/>
                <a:gd name="connsiteX17" fmla="*/ 320387 w 394937"/>
                <a:gd name="connsiteY17" fmla="*/ 13658 h 554691"/>
                <a:gd name="connsiteX18" fmla="*/ 313558 w 394937"/>
                <a:gd name="connsiteY18" fmla="*/ 0 h 554691"/>
                <a:gd name="connsiteX19" fmla="*/ 296096 w 394937"/>
                <a:gd name="connsiteY19" fmla="*/ 8721 h 554691"/>
                <a:gd name="connsiteX20" fmla="*/ 302924 w 394937"/>
                <a:gd name="connsiteY20" fmla="*/ 22379 h 554691"/>
                <a:gd name="connsiteX21" fmla="*/ 314533 w 394937"/>
                <a:gd name="connsiteY21" fmla="*/ 71692 h 554691"/>
                <a:gd name="connsiteX22" fmla="*/ 282233 w 394937"/>
                <a:gd name="connsiteY22" fmla="*/ 149736 h 554691"/>
                <a:gd name="connsiteX23" fmla="*/ 240197 w 394937"/>
                <a:gd name="connsiteY23" fmla="*/ 191781 h 554691"/>
                <a:gd name="connsiteX24" fmla="*/ 201966 w 394937"/>
                <a:gd name="connsiteY24" fmla="*/ 243885 h 554691"/>
                <a:gd name="connsiteX25" fmla="*/ 194357 w 394937"/>
                <a:gd name="connsiteY25" fmla="*/ 226023 h 554691"/>
                <a:gd name="connsiteX26" fmla="*/ 133542 w 394937"/>
                <a:gd name="connsiteY26" fmla="*/ 161530 h 554691"/>
                <a:gd name="connsiteX27" fmla="*/ 124820 w 394937"/>
                <a:gd name="connsiteY27" fmla="*/ 178992 h 554691"/>
                <a:gd name="connsiteX28" fmla="*/ 176426 w 394937"/>
                <a:gd name="connsiteY28" fmla="*/ 233710 h 554691"/>
                <a:gd name="connsiteX29" fmla="*/ 191245 w 394937"/>
                <a:gd name="connsiteY29" fmla="*/ 268468 h 554691"/>
                <a:gd name="connsiteX30" fmla="*/ 198688 w 394937"/>
                <a:gd name="connsiteY30" fmla="*/ 433120 h 554691"/>
                <a:gd name="connsiteX31" fmla="*/ 182962 w 394937"/>
                <a:gd name="connsiteY31" fmla="*/ 425257 h 554691"/>
                <a:gd name="connsiteX32" fmla="*/ 151901 w 394937"/>
                <a:gd name="connsiteY32" fmla="*/ 403473 h 554691"/>
                <a:gd name="connsiteX33" fmla="*/ 4722 w 394937"/>
                <a:gd name="connsiteY33" fmla="*/ 336356 h 554691"/>
                <a:gd name="connsiteX34" fmla="*/ 0 w 394937"/>
                <a:gd name="connsiteY34" fmla="*/ 355282 h 554691"/>
                <a:gd name="connsiteX35" fmla="*/ 140722 w 394937"/>
                <a:gd name="connsiteY35" fmla="*/ 419453 h 554691"/>
                <a:gd name="connsiteX36" fmla="*/ 172368 w 394937"/>
                <a:gd name="connsiteY36" fmla="*/ 441607 h 554691"/>
                <a:gd name="connsiteX37" fmla="*/ 173597 w 394937"/>
                <a:gd name="connsiteY37" fmla="*/ 442348 h 554691"/>
                <a:gd name="connsiteX38" fmla="*/ 216579 w 394937"/>
                <a:gd name="connsiteY38" fmla="*/ 463810 h 554691"/>
                <a:gd name="connsiteX39" fmla="*/ 262966 w 394937"/>
                <a:gd name="connsiteY39" fmla="*/ 511973 h 554691"/>
                <a:gd name="connsiteX40" fmla="*/ 282145 w 394937"/>
                <a:gd name="connsiteY40" fmla="*/ 526352 h 554691"/>
                <a:gd name="connsiteX41" fmla="*/ 318240 w 394937"/>
                <a:gd name="connsiteY41" fmla="*/ 554692 h 554691"/>
                <a:gd name="connsiteX42" fmla="*/ 330279 w 394937"/>
                <a:gd name="connsiteY42" fmla="*/ 539337 h 554691"/>
                <a:gd name="connsiteX43" fmla="*/ 294047 w 394937"/>
                <a:gd name="connsiteY43" fmla="*/ 510909 h 554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94937" h="554691">
                  <a:moveTo>
                    <a:pt x="274663" y="496393"/>
                  </a:moveTo>
                  <a:cubicBezTo>
                    <a:pt x="230241" y="462881"/>
                    <a:pt x="202351" y="411904"/>
                    <a:pt x="198083" y="356423"/>
                  </a:cubicBezTo>
                  <a:lnTo>
                    <a:pt x="221340" y="344843"/>
                  </a:lnTo>
                  <a:cubicBezTo>
                    <a:pt x="221767" y="344627"/>
                    <a:pt x="222178" y="344379"/>
                    <a:pt x="222569" y="344102"/>
                  </a:cubicBezTo>
                  <a:lnTo>
                    <a:pt x="254216" y="321947"/>
                  </a:lnTo>
                  <a:cubicBezTo>
                    <a:pt x="296787" y="292092"/>
                    <a:pt x="344489" y="270323"/>
                    <a:pt x="394937" y="257728"/>
                  </a:cubicBezTo>
                  <a:lnTo>
                    <a:pt x="390216" y="238802"/>
                  </a:lnTo>
                  <a:cubicBezTo>
                    <a:pt x="337453" y="251953"/>
                    <a:pt x="287561" y="274704"/>
                    <a:pt x="243036" y="305919"/>
                  </a:cubicBezTo>
                  <a:lnTo>
                    <a:pt x="211975" y="327664"/>
                  </a:lnTo>
                  <a:lnTo>
                    <a:pt x="197820" y="334737"/>
                  </a:lnTo>
                  <a:cubicBezTo>
                    <a:pt x="199447" y="286097"/>
                    <a:pt x="219531" y="239901"/>
                    <a:pt x="253991" y="205536"/>
                  </a:cubicBezTo>
                  <a:lnTo>
                    <a:pt x="296037" y="163500"/>
                  </a:lnTo>
                  <a:cubicBezTo>
                    <a:pt x="299866" y="159616"/>
                    <a:pt x="303450" y="155498"/>
                    <a:pt x="306768" y="151170"/>
                  </a:cubicBezTo>
                  <a:lnTo>
                    <a:pt x="361720" y="160330"/>
                  </a:lnTo>
                  <a:lnTo>
                    <a:pt x="364920" y="141092"/>
                  </a:lnTo>
                  <a:lnTo>
                    <a:pt x="318523" y="133356"/>
                  </a:lnTo>
                  <a:cubicBezTo>
                    <a:pt x="328759" y="114418"/>
                    <a:pt x="334094" y="93220"/>
                    <a:pt x="334044" y="71692"/>
                  </a:cubicBezTo>
                  <a:cubicBezTo>
                    <a:pt x="334036" y="51552"/>
                    <a:pt x="329361" y="31688"/>
                    <a:pt x="320387" y="13658"/>
                  </a:cubicBezTo>
                  <a:lnTo>
                    <a:pt x="313558" y="0"/>
                  </a:lnTo>
                  <a:lnTo>
                    <a:pt x="296096" y="8721"/>
                  </a:lnTo>
                  <a:lnTo>
                    <a:pt x="302924" y="22379"/>
                  </a:lnTo>
                  <a:cubicBezTo>
                    <a:pt x="310549" y="37700"/>
                    <a:pt x="314522" y="54579"/>
                    <a:pt x="314533" y="71692"/>
                  </a:cubicBezTo>
                  <a:cubicBezTo>
                    <a:pt x="314634" y="100979"/>
                    <a:pt x="303001" y="129086"/>
                    <a:pt x="282233" y="149736"/>
                  </a:cubicBezTo>
                  <a:lnTo>
                    <a:pt x="240197" y="191781"/>
                  </a:lnTo>
                  <a:cubicBezTo>
                    <a:pt x="224877" y="207103"/>
                    <a:pt x="211984" y="224673"/>
                    <a:pt x="201966" y="243885"/>
                  </a:cubicBezTo>
                  <a:lnTo>
                    <a:pt x="194357" y="226023"/>
                  </a:lnTo>
                  <a:cubicBezTo>
                    <a:pt x="182329" y="198023"/>
                    <a:pt x="160787" y="175179"/>
                    <a:pt x="133542" y="161530"/>
                  </a:cubicBezTo>
                  <a:lnTo>
                    <a:pt x="124820" y="178992"/>
                  </a:lnTo>
                  <a:cubicBezTo>
                    <a:pt x="147944" y="190565"/>
                    <a:pt x="166225" y="209949"/>
                    <a:pt x="176426" y="233710"/>
                  </a:cubicBezTo>
                  <a:lnTo>
                    <a:pt x="191245" y="268468"/>
                  </a:lnTo>
                  <a:cubicBezTo>
                    <a:pt x="171230" y="322081"/>
                    <a:pt x="173918" y="381532"/>
                    <a:pt x="198688" y="433120"/>
                  </a:cubicBezTo>
                  <a:lnTo>
                    <a:pt x="182962" y="425257"/>
                  </a:lnTo>
                  <a:lnTo>
                    <a:pt x="151901" y="403473"/>
                  </a:lnTo>
                  <a:cubicBezTo>
                    <a:pt x="107376" y="372258"/>
                    <a:pt x="57485" y="349507"/>
                    <a:pt x="4722" y="336356"/>
                  </a:cubicBezTo>
                  <a:lnTo>
                    <a:pt x="0" y="355282"/>
                  </a:lnTo>
                  <a:cubicBezTo>
                    <a:pt x="50445" y="367862"/>
                    <a:pt x="98146" y="389614"/>
                    <a:pt x="140722" y="419453"/>
                  </a:cubicBezTo>
                  <a:lnTo>
                    <a:pt x="172368" y="441607"/>
                  </a:lnTo>
                  <a:cubicBezTo>
                    <a:pt x="172759" y="441884"/>
                    <a:pt x="173170" y="442132"/>
                    <a:pt x="173597" y="442348"/>
                  </a:cubicBezTo>
                  <a:lnTo>
                    <a:pt x="216579" y="463810"/>
                  </a:lnTo>
                  <a:cubicBezTo>
                    <a:pt x="229389" y="482223"/>
                    <a:pt x="245047" y="498480"/>
                    <a:pt x="262966" y="511973"/>
                  </a:cubicBezTo>
                  <a:lnTo>
                    <a:pt x="282145" y="526352"/>
                  </a:lnTo>
                  <a:lnTo>
                    <a:pt x="318240" y="554692"/>
                  </a:lnTo>
                  <a:lnTo>
                    <a:pt x="330279" y="539337"/>
                  </a:lnTo>
                  <a:lnTo>
                    <a:pt x="294047" y="510909"/>
                  </a:lnTo>
                  <a:close/>
                </a:path>
              </a:pathLst>
            </a:custGeom>
            <a:solidFill>
              <a:schemeClr val="accent6">
                <a:lumMod val="60000"/>
                <a:lumOff val="40000"/>
              </a:schemeClr>
            </a:solidFill>
            <a:ln w="9674" cap="flat">
              <a:noFill/>
              <a:prstDash val="solid"/>
              <a:miter/>
            </a:ln>
          </p:spPr>
          <p:txBody>
            <a:bodyPr rtlCol="0" anchor="ctr"/>
            <a:lstStyle/>
            <a:p>
              <a:endParaRPr lang="en-GB"/>
            </a:p>
          </p:txBody>
        </p:sp>
        <p:sp>
          <p:nvSpPr>
            <p:cNvPr id="69" name="Vrije vorm: vorm 68">
              <a:extLst>
                <a:ext uri="{FF2B5EF4-FFF2-40B4-BE49-F238E27FC236}">
                  <a16:creationId xmlns:a16="http://schemas.microsoft.com/office/drawing/2014/main" id="{BFCD6AC2-87FC-34F6-E839-068064E630F0}"/>
                </a:ext>
              </a:extLst>
            </p:cNvPr>
            <p:cNvSpPr/>
            <p:nvPr/>
          </p:nvSpPr>
          <p:spPr>
            <a:xfrm>
              <a:off x="6831129" y="4061095"/>
              <a:ext cx="234129" cy="97553"/>
            </a:xfrm>
            <a:custGeom>
              <a:avLst/>
              <a:gdLst>
                <a:gd name="connsiteX0" fmla="*/ 0 w 234129"/>
                <a:gd name="connsiteY0" fmla="*/ 97554 h 97553"/>
                <a:gd name="connsiteX1" fmla="*/ 5151 w 234129"/>
                <a:gd name="connsiteY1" fmla="*/ 76951 h 97553"/>
                <a:gd name="connsiteX2" fmla="*/ 27764 w 234129"/>
                <a:gd name="connsiteY2" fmla="*/ 52562 h 97553"/>
                <a:gd name="connsiteX3" fmla="*/ 45606 w 234129"/>
                <a:gd name="connsiteY3" fmla="*/ 38904 h 97553"/>
                <a:gd name="connsiteX4" fmla="*/ 48162 w 234129"/>
                <a:gd name="connsiteY4" fmla="*/ 35061 h 97553"/>
                <a:gd name="connsiteX5" fmla="*/ 77224 w 234129"/>
                <a:gd name="connsiteY5" fmla="*/ 19511 h 97553"/>
                <a:gd name="connsiteX6" fmla="*/ 96598 w 234129"/>
                <a:gd name="connsiteY6" fmla="*/ 13658 h 97553"/>
                <a:gd name="connsiteX7" fmla="*/ 108304 w 234129"/>
                <a:gd name="connsiteY7" fmla="*/ 5853 h 97553"/>
                <a:gd name="connsiteX8" fmla="*/ 127679 w 234129"/>
                <a:gd name="connsiteY8" fmla="*/ 0 h 97553"/>
                <a:gd name="connsiteX9" fmla="*/ 156740 w 234129"/>
                <a:gd name="connsiteY9" fmla="*/ 15550 h 97553"/>
                <a:gd name="connsiteX10" fmla="*/ 182328 w 234129"/>
                <a:gd name="connsiteY10" fmla="*/ 29266 h 97553"/>
                <a:gd name="connsiteX11" fmla="*/ 202200 w 234129"/>
                <a:gd name="connsiteY11" fmla="*/ 39900 h 97553"/>
                <a:gd name="connsiteX12" fmla="*/ 210131 w 234129"/>
                <a:gd name="connsiteY12" fmla="*/ 51811 h 97553"/>
                <a:gd name="connsiteX13" fmla="*/ 220335 w 234129"/>
                <a:gd name="connsiteY13" fmla="*/ 64249 h 97553"/>
                <a:gd name="connsiteX14" fmla="*/ 234129 w 234129"/>
                <a:gd name="connsiteY14" fmla="*/ 97554 h 9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129" h="97553">
                  <a:moveTo>
                    <a:pt x="0" y="97554"/>
                  </a:moveTo>
                  <a:lnTo>
                    <a:pt x="5151" y="76951"/>
                  </a:lnTo>
                  <a:cubicBezTo>
                    <a:pt x="8025" y="65490"/>
                    <a:pt x="16553" y="56292"/>
                    <a:pt x="27764" y="52562"/>
                  </a:cubicBezTo>
                  <a:cubicBezTo>
                    <a:pt x="35063" y="50118"/>
                    <a:pt x="41341" y="45313"/>
                    <a:pt x="45606" y="38904"/>
                  </a:cubicBezTo>
                  <a:lnTo>
                    <a:pt x="48162" y="35061"/>
                  </a:lnTo>
                  <a:cubicBezTo>
                    <a:pt x="54641" y="25345"/>
                    <a:pt x="65546" y="19510"/>
                    <a:pt x="77224" y="19511"/>
                  </a:cubicBezTo>
                  <a:cubicBezTo>
                    <a:pt x="84118" y="19515"/>
                    <a:pt x="90859" y="17478"/>
                    <a:pt x="96598" y="13658"/>
                  </a:cubicBezTo>
                  <a:lnTo>
                    <a:pt x="108304" y="5853"/>
                  </a:lnTo>
                  <a:cubicBezTo>
                    <a:pt x="114043" y="2033"/>
                    <a:pt x="120784" y="-4"/>
                    <a:pt x="127679" y="0"/>
                  </a:cubicBezTo>
                  <a:cubicBezTo>
                    <a:pt x="139356" y="-1"/>
                    <a:pt x="150262" y="5834"/>
                    <a:pt x="156740" y="15550"/>
                  </a:cubicBezTo>
                  <a:cubicBezTo>
                    <a:pt x="162444" y="24108"/>
                    <a:pt x="172044" y="29253"/>
                    <a:pt x="182328" y="29266"/>
                  </a:cubicBezTo>
                  <a:cubicBezTo>
                    <a:pt x="190313" y="29267"/>
                    <a:pt x="197769" y="33257"/>
                    <a:pt x="202200" y="39900"/>
                  </a:cubicBezTo>
                  <a:lnTo>
                    <a:pt x="210131" y="51811"/>
                  </a:lnTo>
                  <a:cubicBezTo>
                    <a:pt x="213117" y="56281"/>
                    <a:pt x="216535" y="60447"/>
                    <a:pt x="220335" y="64249"/>
                  </a:cubicBezTo>
                  <a:cubicBezTo>
                    <a:pt x="229168" y="73082"/>
                    <a:pt x="234130" y="85062"/>
                    <a:pt x="234129" y="97554"/>
                  </a:cubicBezTo>
                  <a:close/>
                </a:path>
              </a:pathLst>
            </a:custGeom>
            <a:solidFill>
              <a:schemeClr val="accent6">
                <a:lumMod val="75000"/>
              </a:schemeClr>
            </a:solidFill>
            <a:ln w="9674" cap="flat">
              <a:noFill/>
              <a:prstDash val="solid"/>
              <a:miter/>
            </a:ln>
          </p:spPr>
          <p:txBody>
            <a:bodyPr rtlCol="0" anchor="ctr"/>
            <a:lstStyle/>
            <a:p>
              <a:endParaRPr lang="en-GB"/>
            </a:p>
          </p:txBody>
        </p:sp>
        <p:sp>
          <p:nvSpPr>
            <p:cNvPr id="70" name="Vrije vorm: vorm 69">
              <a:extLst>
                <a:ext uri="{FF2B5EF4-FFF2-40B4-BE49-F238E27FC236}">
                  <a16:creationId xmlns:a16="http://schemas.microsoft.com/office/drawing/2014/main" id="{53436730-E6E5-C881-4FD2-F0D0E0CDF784}"/>
                </a:ext>
              </a:extLst>
            </p:cNvPr>
            <p:cNvSpPr/>
            <p:nvPr/>
          </p:nvSpPr>
          <p:spPr>
            <a:xfrm>
              <a:off x="6872589" y="4073377"/>
              <a:ext cx="192668" cy="85271"/>
            </a:xfrm>
            <a:custGeom>
              <a:avLst/>
              <a:gdLst>
                <a:gd name="connsiteX0" fmla="*/ 2712 w 192668"/>
                <a:gd name="connsiteY0" fmla="*/ 74424 h 85271"/>
                <a:gd name="connsiteX1" fmla="*/ 0 w 192668"/>
                <a:gd name="connsiteY1" fmla="*/ 85272 h 85271"/>
                <a:gd name="connsiteX2" fmla="*/ 192669 w 192668"/>
                <a:gd name="connsiteY2" fmla="*/ 85272 h 85271"/>
                <a:gd name="connsiteX3" fmla="*/ 178875 w 192668"/>
                <a:gd name="connsiteY3" fmla="*/ 51967 h 85271"/>
                <a:gd name="connsiteX4" fmla="*/ 168671 w 192668"/>
                <a:gd name="connsiteY4" fmla="*/ 39529 h 85271"/>
                <a:gd name="connsiteX5" fmla="*/ 160740 w 192668"/>
                <a:gd name="connsiteY5" fmla="*/ 27617 h 85271"/>
                <a:gd name="connsiteX6" fmla="*/ 140868 w 192668"/>
                <a:gd name="connsiteY6" fmla="*/ 16984 h 85271"/>
                <a:gd name="connsiteX7" fmla="*/ 115240 w 192668"/>
                <a:gd name="connsiteY7" fmla="*/ 3268 h 85271"/>
                <a:gd name="connsiteX8" fmla="*/ 112411 w 192668"/>
                <a:gd name="connsiteY8" fmla="*/ 0 h 85271"/>
                <a:gd name="connsiteX9" fmla="*/ 105827 w 192668"/>
                <a:gd name="connsiteY9" fmla="*/ 3336 h 85271"/>
                <a:gd name="connsiteX10" fmla="*/ 94120 w 192668"/>
                <a:gd name="connsiteY10" fmla="*/ 11141 h 85271"/>
                <a:gd name="connsiteX11" fmla="*/ 74746 w 192668"/>
                <a:gd name="connsiteY11" fmla="*/ 16994 h 85271"/>
                <a:gd name="connsiteX12" fmla="*/ 45684 w 192668"/>
                <a:gd name="connsiteY12" fmla="*/ 32544 h 85271"/>
                <a:gd name="connsiteX13" fmla="*/ 43129 w 192668"/>
                <a:gd name="connsiteY13" fmla="*/ 36388 h 85271"/>
                <a:gd name="connsiteX14" fmla="*/ 25286 w 192668"/>
                <a:gd name="connsiteY14" fmla="*/ 50045 h 85271"/>
                <a:gd name="connsiteX15" fmla="*/ 2712 w 192668"/>
                <a:gd name="connsiteY15" fmla="*/ 74424 h 85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2668" h="85271">
                  <a:moveTo>
                    <a:pt x="2712" y="74424"/>
                  </a:moveTo>
                  <a:lnTo>
                    <a:pt x="0" y="85272"/>
                  </a:lnTo>
                  <a:lnTo>
                    <a:pt x="192669" y="85272"/>
                  </a:lnTo>
                  <a:cubicBezTo>
                    <a:pt x="192669" y="72780"/>
                    <a:pt x="187708" y="60800"/>
                    <a:pt x="178875" y="51967"/>
                  </a:cubicBezTo>
                  <a:cubicBezTo>
                    <a:pt x="175074" y="48165"/>
                    <a:pt x="171656" y="43999"/>
                    <a:pt x="168671" y="39529"/>
                  </a:cubicBezTo>
                  <a:lnTo>
                    <a:pt x="160740" y="27617"/>
                  </a:lnTo>
                  <a:cubicBezTo>
                    <a:pt x="156309" y="20975"/>
                    <a:pt x="148852" y="16985"/>
                    <a:pt x="140868" y="16984"/>
                  </a:cubicBezTo>
                  <a:cubicBezTo>
                    <a:pt x="130569" y="16984"/>
                    <a:pt x="120952" y="11837"/>
                    <a:pt x="115240" y="3268"/>
                  </a:cubicBezTo>
                  <a:cubicBezTo>
                    <a:pt x="114369" y="2119"/>
                    <a:pt x="113424" y="1027"/>
                    <a:pt x="112411" y="0"/>
                  </a:cubicBezTo>
                  <a:cubicBezTo>
                    <a:pt x="110104" y="875"/>
                    <a:pt x="107897" y="1994"/>
                    <a:pt x="105827" y="3336"/>
                  </a:cubicBezTo>
                  <a:lnTo>
                    <a:pt x="94120" y="11141"/>
                  </a:lnTo>
                  <a:cubicBezTo>
                    <a:pt x="88381" y="14961"/>
                    <a:pt x="81640" y="16998"/>
                    <a:pt x="74746" y="16994"/>
                  </a:cubicBezTo>
                  <a:cubicBezTo>
                    <a:pt x="63068" y="16993"/>
                    <a:pt x="52163" y="22828"/>
                    <a:pt x="45684" y="32544"/>
                  </a:cubicBezTo>
                  <a:lnTo>
                    <a:pt x="43129" y="36388"/>
                  </a:lnTo>
                  <a:cubicBezTo>
                    <a:pt x="38863" y="42796"/>
                    <a:pt x="32585" y="47601"/>
                    <a:pt x="25286" y="50045"/>
                  </a:cubicBezTo>
                  <a:cubicBezTo>
                    <a:pt x="14093" y="53785"/>
                    <a:pt x="5581" y="62977"/>
                    <a:pt x="2712" y="74424"/>
                  </a:cubicBezTo>
                  <a:close/>
                </a:path>
              </a:pathLst>
            </a:custGeom>
            <a:solidFill>
              <a:schemeClr val="accent6"/>
            </a:solidFill>
            <a:ln w="9674" cap="flat">
              <a:noFill/>
              <a:prstDash val="solid"/>
              <a:miter/>
            </a:ln>
          </p:spPr>
          <p:txBody>
            <a:bodyPr rtlCol="0" anchor="ctr"/>
            <a:lstStyle/>
            <a:p>
              <a:endParaRPr lang="en-GB"/>
            </a:p>
          </p:txBody>
        </p:sp>
      </p:grpSp>
      <p:grpSp>
        <p:nvGrpSpPr>
          <p:cNvPr id="106" name="Groep 105">
            <a:extLst>
              <a:ext uri="{FF2B5EF4-FFF2-40B4-BE49-F238E27FC236}">
                <a16:creationId xmlns:a16="http://schemas.microsoft.com/office/drawing/2014/main" id="{287F994E-9819-1655-5135-63429FCED5D1}"/>
              </a:ext>
            </a:extLst>
          </p:cNvPr>
          <p:cNvGrpSpPr/>
          <p:nvPr/>
        </p:nvGrpSpPr>
        <p:grpSpPr>
          <a:xfrm>
            <a:off x="2927959" y="4477273"/>
            <a:ext cx="344753" cy="417906"/>
            <a:chOff x="5230000" y="598924"/>
            <a:chExt cx="515054" cy="624344"/>
          </a:xfrm>
        </p:grpSpPr>
        <p:sp>
          <p:nvSpPr>
            <p:cNvPr id="72" name="Vrije vorm: vorm 71">
              <a:extLst>
                <a:ext uri="{FF2B5EF4-FFF2-40B4-BE49-F238E27FC236}">
                  <a16:creationId xmlns:a16="http://schemas.microsoft.com/office/drawing/2014/main" id="{83CC15C9-0224-0959-AC22-551E48C71866}"/>
                </a:ext>
              </a:extLst>
            </p:cNvPr>
            <p:cNvSpPr/>
            <p:nvPr/>
          </p:nvSpPr>
          <p:spPr>
            <a:xfrm>
              <a:off x="5230000" y="1157756"/>
              <a:ext cx="515053" cy="65512"/>
            </a:xfrm>
            <a:custGeom>
              <a:avLst/>
              <a:gdLst>
                <a:gd name="connsiteX0" fmla="*/ 0 w 515053"/>
                <a:gd name="connsiteY0" fmla="*/ 65512 h 65512"/>
                <a:gd name="connsiteX1" fmla="*/ 257527 w 515053"/>
                <a:gd name="connsiteY1" fmla="*/ 0 h 65512"/>
                <a:gd name="connsiteX2" fmla="*/ 515053 w 515053"/>
                <a:gd name="connsiteY2" fmla="*/ 65512 h 65512"/>
              </a:gdLst>
              <a:ahLst/>
              <a:cxnLst>
                <a:cxn ang="0">
                  <a:pos x="connsiteX0" y="connsiteY0"/>
                </a:cxn>
                <a:cxn ang="0">
                  <a:pos x="connsiteX1" y="connsiteY1"/>
                </a:cxn>
                <a:cxn ang="0">
                  <a:pos x="connsiteX2" y="connsiteY2"/>
                </a:cxn>
              </a:cxnLst>
              <a:rect l="l" t="t" r="r" b="b"/>
              <a:pathLst>
                <a:path w="515053" h="65512">
                  <a:moveTo>
                    <a:pt x="0" y="65512"/>
                  </a:moveTo>
                  <a:cubicBezTo>
                    <a:pt x="0" y="65095"/>
                    <a:pt x="76688" y="0"/>
                    <a:pt x="257527" y="0"/>
                  </a:cubicBezTo>
                  <a:cubicBezTo>
                    <a:pt x="433184" y="0"/>
                    <a:pt x="515053" y="65095"/>
                    <a:pt x="515053" y="65512"/>
                  </a:cubicBezTo>
                  <a:close/>
                </a:path>
              </a:pathLst>
            </a:custGeom>
            <a:solidFill>
              <a:schemeClr val="accent6"/>
            </a:solidFill>
            <a:ln w="1246" cap="flat">
              <a:noFill/>
              <a:prstDash val="solid"/>
              <a:miter/>
            </a:ln>
          </p:spPr>
          <p:txBody>
            <a:bodyPr rtlCol="0" anchor="ctr"/>
            <a:lstStyle/>
            <a:p>
              <a:endParaRPr lang="en-GB"/>
            </a:p>
          </p:txBody>
        </p:sp>
        <p:sp>
          <p:nvSpPr>
            <p:cNvPr id="73" name="Vrije vorm: vorm 72">
              <a:extLst>
                <a:ext uri="{FF2B5EF4-FFF2-40B4-BE49-F238E27FC236}">
                  <a16:creationId xmlns:a16="http://schemas.microsoft.com/office/drawing/2014/main" id="{D9F417C3-B868-4E07-A0BB-2A8CEBFBFD38}"/>
                </a:ext>
              </a:extLst>
            </p:cNvPr>
            <p:cNvSpPr/>
            <p:nvPr/>
          </p:nvSpPr>
          <p:spPr>
            <a:xfrm>
              <a:off x="5455069" y="1157756"/>
              <a:ext cx="289985" cy="65512"/>
            </a:xfrm>
            <a:custGeom>
              <a:avLst/>
              <a:gdLst>
                <a:gd name="connsiteX0" fmla="*/ 32458 w 289985"/>
                <a:gd name="connsiteY0" fmla="*/ 0 h 65512"/>
                <a:gd name="connsiteX1" fmla="*/ 0 w 289985"/>
                <a:gd name="connsiteY1" fmla="*/ 722 h 65512"/>
                <a:gd name="connsiteX2" fmla="*/ 225917 w 289985"/>
                <a:gd name="connsiteY2" fmla="*/ 65512 h 65512"/>
                <a:gd name="connsiteX3" fmla="*/ 289985 w 289985"/>
                <a:gd name="connsiteY3" fmla="*/ 65512 h 65512"/>
                <a:gd name="connsiteX4" fmla="*/ 32458 w 289985"/>
                <a:gd name="connsiteY4" fmla="*/ 0 h 65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985" h="65512">
                  <a:moveTo>
                    <a:pt x="32458" y="0"/>
                  </a:moveTo>
                  <a:cubicBezTo>
                    <a:pt x="21240" y="0"/>
                    <a:pt x="10424" y="251"/>
                    <a:pt x="0" y="722"/>
                  </a:cubicBezTo>
                  <a:cubicBezTo>
                    <a:pt x="153889" y="7829"/>
                    <a:pt x="225917" y="65120"/>
                    <a:pt x="225917" y="65512"/>
                  </a:cubicBezTo>
                  <a:lnTo>
                    <a:pt x="289985" y="65512"/>
                  </a:lnTo>
                  <a:cubicBezTo>
                    <a:pt x="289985" y="65095"/>
                    <a:pt x="208115" y="0"/>
                    <a:pt x="32458" y="0"/>
                  </a:cubicBezTo>
                  <a:close/>
                </a:path>
              </a:pathLst>
            </a:custGeom>
            <a:solidFill>
              <a:schemeClr val="accent6">
                <a:lumMod val="75000"/>
              </a:schemeClr>
            </a:solidFill>
            <a:ln w="1246" cap="flat">
              <a:noFill/>
              <a:prstDash val="solid"/>
              <a:miter/>
            </a:ln>
          </p:spPr>
          <p:txBody>
            <a:bodyPr rtlCol="0" anchor="ctr"/>
            <a:lstStyle/>
            <a:p>
              <a:endParaRPr lang="en-GB"/>
            </a:p>
          </p:txBody>
        </p:sp>
        <p:sp>
          <p:nvSpPr>
            <p:cNvPr id="74" name="Vrije vorm: vorm 73">
              <a:extLst>
                <a:ext uri="{FF2B5EF4-FFF2-40B4-BE49-F238E27FC236}">
                  <a16:creationId xmlns:a16="http://schemas.microsoft.com/office/drawing/2014/main" id="{B9EBA377-8BF1-11B4-D0DF-F94E9D38DCFA}"/>
                </a:ext>
              </a:extLst>
            </p:cNvPr>
            <p:cNvSpPr/>
            <p:nvPr/>
          </p:nvSpPr>
          <p:spPr>
            <a:xfrm>
              <a:off x="5503958" y="598924"/>
              <a:ext cx="106997" cy="176812"/>
            </a:xfrm>
            <a:custGeom>
              <a:avLst/>
              <a:gdLst>
                <a:gd name="connsiteX0" fmla="*/ 100513 w 106997"/>
                <a:gd name="connsiteY0" fmla="*/ 105575 h 176812"/>
                <a:gd name="connsiteX1" fmla="*/ 23097 w 106997"/>
                <a:gd name="connsiteY1" fmla="*/ 176813 h 176812"/>
                <a:gd name="connsiteX2" fmla="*/ 6092 w 106997"/>
                <a:gd name="connsiteY2" fmla="*/ 72817 h 176812"/>
                <a:gd name="connsiteX3" fmla="*/ 84053 w 106997"/>
                <a:gd name="connsiteY3" fmla="*/ 0 h 176812"/>
                <a:gd name="connsiteX4" fmla="*/ 100513 w 106997"/>
                <a:gd name="connsiteY4" fmla="*/ 105575 h 17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97" h="176812">
                  <a:moveTo>
                    <a:pt x="100513" y="105575"/>
                  </a:moveTo>
                  <a:cubicBezTo>
                    <a:pt x="79560" y="166353"/>
                    <a:pt x="23097" y="176813"/>
                    <a:pt x="23097" y="176813"/>
                  </a:cubicBezTo>
                  <a:cubicBezTo>
                    <a:pt x="23097" y="176813"/>
                    <a:pt x="-14317" y="132017"/>
                    <a:pt x="6092" y="72817"/>
                  </a:cubicBezTo>
                  <a:cubicBezTo>
                    <a:pt x="27589" y="10458"/>
                    <a:pt x="84053" y="0"/>
                    <a:pt x="84053" y="0"/>
                  </a:cubicBezTo>
                  <a:cubicBezTo>
                    <a:pt x="84053" y="0"/>
                    <a:pt x="121740" y="44006"/>
                    <a:pt x="100513" y="105575"/>
                  </a:cubicBezTo>
                  <a:close/>
                </a:path>
              </a:pathLst>
            </a:custGeom>
            <a:solidFill>
              <a:schemeClr val="accent2">
                <a:lumMod val="40000"/>
                <a:lumOff val="60000"/>
              </a:schemeClr>
            </a:solidFill>
            <a:ln w="1246" cap="flat">
              <a:noFill/>
              <a:prstDash val="solid"/>
              <a:miter/>
            </a:ln>
          </p:spPr>
          <p:txBody>
            <a:bodyPr rtlCol="0" anchor="ctr"/>
            <a:lstStyle/>
            <a:p>
              <a:endParaRPr lang="en-GB"/>
            </a:p>
          </p:txBody>
        </p:sp>
        <p:sp>
          <p:nvSpPr>
            <p:cNvPr id="75" name="Vrije vorm: vorm 74">
              <a:extLst>
                <a:ext uri="{FF2B5EF4-FFF2-40B4-BE49-F238E27FC236}">
                  <a16:creationId xmlns:a16="http://schemas.microsoft.com/office/drawing/2014/main" id="{431A826A-663E-C9D5-E29A-B362F712A42D}"/>
                </a:ext>
              </a:extLst>
            </p:cNvPr>
            <p:cNvSpPr/>
            <p:nvPr/>
          </p:nvSpPr>
          <p:spPr>
            <a:xfrm>
              <a:off x="5518092" y="598924"/>
              <a:ext cx="92863" cy="176810"/>
            </a:xfrm>
            <a:custGeom>
              <a:avLst/>
              <a:gdLst>
                <a:gd name="connsiteX0" fmla="*/ 69919 w 92863"/>
                <a:gd name="connsiteY0" fmla="*/ 0 h 176810"/>
                <a:gd name="connsiteX1" fmla="*/ 37574 w 92863"/>
                <a:gd name="connsiteY1" fmla="*/ 13924 h 176810"/>
                <a:gd name="connsiteX2" fmla="*/ 44925 w 92863"/>
                <a:gd name="connsiteY2" fmla="*/ 105573 h 176810"/>
                <a:gd name="connsiteX3" fmla="*/ 0 w 92863"/>
                <a:gd name="connsiteY3" fmla="*/ 162963 h 176810"/>
                <a:gd name="connsiteX4" fmla="*/ 8964 w 92863"/>
                <a:gd name="connsiteY4" fmla="*/ 176810 h 176810"/>
                <a:gd name="connsiteX5" fmla="*/ 86381 w 92863"/>
                <a:gd name="connsiteY5" fmla="*/ 105572 h 176810"/>
                <a:gd name="connsiteX6" fmla="*/ 69919 w 92863"/>
                <a:gd name="connsiteY6" fmla="*/ 0 h 17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863" h="176810">
                  <a:moveTo>
                    <a:pt x="69919" y="0"/>
                  </a:moveTo>
                  <a:cubicBezTo>
                    <a:pt x="69919" y="0"/>
                    <a:pt x="54996" y="2766"/>
                    <a:pt x="37574" y="13924"/>
                  </a:cubicBezTo>
                  <a:cubicBezTo>
                    <a:pt x="47147" y="31582"/>
                    <a:pt x="59014" y="64706"/>
                    <a:pt x="44925" y="105573"/>
                  </a:cubicBezTo>
                  <a:cubicBezTo>
                    <a:pt x="34789" y="134975"/>
                    <a:pt x="16344" y="152600"/>
                    <a:pt x="0" y="162963"/>
                  </a:cubicBezTo>
                  <a:cubicBezTo>
                    <a:pt x="4795" y="171814"/>
                    <a:pt x="8964" y="176810"/>
                    <a:pt x="8964" y="176810"/>
                  </a:cubicBezTo>
                  <a:cubicBezTo>
                    <a:pt x="8964" y="176810"/>
                    <a:pt x="65428" y="166352"/>
                    <a:pt x="86381" y="105572"/>
                  </a:cubicBezTo>
                  <a:cubicBezTo>
                    <a:pt x="107606" y="44006"/>
                    <a:pt x="69919" y="0"/>
                    <a:pt x="69919" y="0"/>
                  </a:cubicBezTo>
                  <a:close/>
                </a:path>
              </a:pathLst>
            </a:custGeom>
            <a:solidFill>
              <a:schemeClr val="accent2">
                <a:lumMod val="60000"/>
                <a:lumOff val="40000"/>
              </a:schemeClr>
            </a:solidFill>
            <a:ln w="1246" cap="flat">
              <a:noFill/>
              <a:prstDash val="solid"/>
              <a:miter/>
            </a:ln>
          </p:spPr>
          <p:txBody>
            <a:bodyPr rtlCol="0" anchor="ctr"/>
            <a:lstStyle/>
            <a:p>
              <a:endParaRPr lang="en-GB"/>
            </a:p>
          </p:txBody>
        </p:sp>
        <p:sp>
          <p:nvSpPr>
            <p:cNvPr id="76" name="Vrije vorm: vorm 75">
              <a:extLst>
                <a:ext uri="{FF2B5EF4-FFF2-40B4-BE49-F238E27FC236}">
                  <a16:creationId xmlns:a16="http://schemas.microsoft.com/office/drawing/2014/main" id="{53F792B0-8463-4EAA-D139-26CF5E4BADBE}"/>
                </a:ext>
              </a:extLst>
            </p:cNvPr>
            <p:cNvSpPr/>
            <p:nvPr/>
          </p:nvSpPr>
          <p:spPr>
            <a:xfrm>
              <a:off x="5475653" y="655033"/>
              <a:ext cx="101989" cy="264599"/>
            </a:xfrm>
            <a:custGeom>
              <a:avLst/>
              <a:gdLst>
                <a:gd name="connsiteX0" fmla="*/ 9426 w 101989"/>
                <a:gd name="connsiteY0" fmla="*/ 264599 h 264599"/>
                <a:gd name="connsiteX1" fmla="*/ 6609 w 101989"/>
                <a:gd name="connsiteY1" fmla="*/ 264166 h 264599"/>
                <a:gd name="connsiteX2" fmla="*/ 433 w 101989"/>
                <a:gd name="connsiteY2" fmla="*/ 252360 h 264599"/>
                <a:gd name="connsiteX3" fmla="*/ 83842 w 101989"/>
                <a:gd name="connsiteY3" fmla="*/ 5867 h 264599"/>
                <a:gd name="connsiteX4" fmla="*/ 96123 w 101989"/>
                <a:gd name="connsiteY4" fmla="*/ 700 h 264599"/>
                <a:gd name="connsiteX5" fmla="*/ 101289 w 101989"/>
                <a:gd name="connsiteY5" fmla="*/ 12982 h 264599"/>
                <a:gd name="connsiteX6" fmla="*/ 18413 w 101989"/>
                <a:gd name="connsiteY6" fmla="*/ 257990 h 264599"/>
                <a:gd name="connsiteX7" fmla="*/ 9426 w 101989"/>
                <a:gd name="connsiteY7" fmla="*/ 264599 h 264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989" h="264599">
                  <a:moveTo>
                    <a:pt x="9426" y="264599"/>
                  </a:moveTo>
                  <a:cubicBezTo>
                    <a:pt x="8494" y="264599"/>
                    <a:pt x="7545" y="264460"/>
                    <a:pt x="6609" y="264166"/>
                  </a:cubicBezTo>
                  <a:cubicBezTo>
                    <a:pt x="1644" y="262612"/>
                    <a:pt x="-1121" y="257326"/>
                    <a:pt x="433" y="252360"/>
                  </a:cubicBezTo>
                  <a:cubicBezTo>
                    <a:pt x="2740" y="244986"/>
                    <a:pt x="57274" y="71017"/>
                    <a:pt x="83842" y="5867"/>
                  </a:cubicBezTo>
                  <a:cubicBezTo>
                    <a:pt x="85806" y="1049"/>
                    <a:pt x="91303" y="-1265"/>
                    <a:pt x="96123" y="700"/>
                  </a:cubicBezTo>
                  <a:cubicBezTo>
                    <a:pt x="100942" y="2665"/>
                    <a:pt x="103255" y="8163"/>
                    <a:pt x="101289" y="12982"/>
                  </a:cubicBezTo>
                  <a:cubicBezTo>
                    <a:pt x="75020" y="77400"/>
                    <a:pt x="18977" y="256191"/>
                    <a:pt x="18413" y="257990"/>
                  </a:cubicBezTo>
                  <a:cubicBezTo>
                    <a:pt x="17153" y="262019"/>
                    <a:pt x="13436" y="264599"/>
                    <a:pt x="9426" y="264599"/>
                  </a:cubicBezTo>
                  <a:close/>
                </a:path>
              </a:pathLst>
            </a:custGeom>
            <a:solidFill>
              <a:schemeClr val="accent2">
                <a:lumMod val="50000"/>
              </a:schemeClr>
            </a:solidFill>
            <a:ln w="1246" cap="flat">
              <a:noFill/>
              <a:prstDash val="solid"/>
              <a:miter/>
            </a:ln>
          </p:spPr>
          <p:txBody>
            <a:bodyPr rtlCol="0" anchor="ctr"/>
            <a:lstStyle/>
            <a:p>
              <a:endParaRPr lang="en-GB"/>
            </a:p>
          </p:txBody>
        </p:sp>
        <p:sp>
          <p:nvSpPr>
            <p:cNvPr id="77" name="Vrije vorm: vorm 76">
              <a:extLst>
                <a:ext uri="{FF2B5EF4-FFF2-40B4-BE49-F238E27FC236}">
                  <a16:creationId xmlns:a16="http://schemas.microsoft.com/office/drawing/2014/main" id="{FB44EA62-60A6-2D01-6841-C690FD37DC5A}"/>
                </a:ext>
              </a:extLst>
            </p:cNvPr>
            <p:cNvSpPr/>
            <p:nvPr/>
          </p:nvSpPr>
          <p:spPr>
            <a:xfrm>
              <a:off x="5475654" y="896318"/>
              <a:ext cx="18843" cy="302044"/>
            </a:xfrm>
            <a:custGeom>
              <a:avLst/>
              <a:gdLst>
                <a:gd name="connsiteX0" fmla="*/ 9422 w 18843"/>
                <a:gd name="connsiteY0" fmla="*/ 302045 h 302044"/>
                <a:gd name="connsiteX1" fmla="*/ 0 w 18843"/>
                <a:gd name="connsiteY1" fmla="*/ 292623 h 302044"/>
                <a:gd name="connsiteX2" fmla="*/ 0 w 18843"/>
                <a:gd name="connsiteY2" fmla="*/ 9422 h 302044"/>
                <a:gd name="connsiteX3" fmla="*/ 9422 w 18843"/>
                <a:gd name="connsiteY3" fmla="*/ 0 h 302044"/>
                <a:gd name="connsiteX4" fmla="*/ 18843 w 18843"/>
                <a:gd name="connsiteY4" fmla="*/ 9422 h 302044"/>
                <a:gd name="connsiteX5" fmla="*/ 18843 w 18843"/>
                <a:gd name="connsiteY5" fmla="*/ 292623 h 302044"/>
                <a:gd name="connsiteX6" fmla="*/ 9422 w 18843"/>
                <a:gd name="connsiteY6" fmla="*/ 302045 h 30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43" h="302044">
                  <a:moveTo>
                    <a:pt x="9422" y="302045"/>
                  </a:moveTo>
                  <a:cubicBezTo>
                    <a:pt x="4217" y="302045"/>
                    <a:pt x="0" y="297826"/>
                    <a:pt x="0" y="292623"/>
                  </a:cubicBezTo>
                  <a:lnTo>
                    <a:pt x="0" y="9422"/>
                  </a:lnTo>
                  <a:cubicBezTo>
                    <a:pt x="0" y="4218"/>
                    <a:pt x="4217" y="0"/>
                    <a:pt x="9422" y="0"/>
                  </a:cubicBezTo>
                  <a:cubicBezTo>
                    <a:pt x="14626" y="0"/>
                    <a:pt x="18843" y="4218"/>
                    <a:pt x="18843" y="9422"/>
                  </a:cubicBezTo>
                  <a:lnTo>
                    <a:pt x="18843" y="292623"/>
                  </a:lnTo>
                  <a:cubicBezTo>
                    <a:pt x="18843" y="297826"/>
                    <a:pt x="14625" y="302045"/>
                    <a:pt x="9422" y="302045"/>
                  </a:cubicBezTo>
                  <a:close/>
                </a:path>
              </a:pathLst>
            </a:custGeom>
            <a:solidFill>
              <a:schemeClr val="accent2">
                <a:lumMod val="50000"/>
              </a:schemeClr>
            </a:solidFill>
            <a:ln w="1246" cap="flat">
              <a:noFill/>
              <a:prstDash val="solid"/>
              <a:miter/>
            </a:ln>
          </p:spPr>
          <p:txBody>
            <a:bodyPr rtlCol="0" anchor="ctr"/>
            <a:lstStyle/>
            <a:p>
              <a:endParaRPr lang="en-GB"/>
            </a:p>
          </p:txBody>
        </p:sp>
        <p:sp>
          <p:nvSpPr>
            <p:cNvPr id="78" name="Vrije vorm: vorm 77">
              <a:extLst>
                <a:ext uri="{FF2B5EF4-FFF2-40B4-BE49-F238E27FC236}">
                  <a16:creationId xmlns:a16="http://schemas.microsoft.com/office/drawing/2014/main" id="{0E397A6C-4416-F14B-C6FC-FEF26978CCC4}"/>
                </a:ext>
              </a:extLst>
            </p:cNvPr>
            <p:cNvSpPr/>
            <p:nvPr/>
          </p:nvSpPr>
          <p:spPr>
            <a:xfrm>
              <a:off x="5485076" y="779140"/>
              <a:ext cx="211373" cy="212822"/>
            </a:xfrm>
            <a:custGeom>
              <a:avLst/>
              <a:gdLst>
                <a:gd name="connsiteX0" fmla="*/ 63100 w 211373"/>
                <a:gd name="connsiteY0" fmla="*/ 211092 h 212822"/>
                <a:gd name="connsiteX1" fmla="*/ 3338 w 211373"/>
                <a:gd name="connsiteY1" fmla="*/ 208953 h 212822"/>
                <a:gd name="connsiteX2" fmla="*/ 49910 w 211373"/>
                <a:gd name="connsiteY2" fmla="*/ 52305 h 212822"/>
                <a:gd name="connsiteX3" fmla="*/ 207890 w 211373"/>
                <a:gd name="connsiteY3" fmla="*/ 3753 h 212822"/>
                <a:gd name="connsiteX4" fmla="*/ 176823 w 211373"/>
                <a:gd name="connsiteY4" fmla="*/ 142238 h 2128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373" h="212822">
                  <a:moveTo>
                    <a:pt x="63100" y="211092"/>
                  </a:moveTo>
                  <a:cubicBezTo>
                    <a:pt x="28678" y="215984"/>
                    <a:pt x="3338" y="208953"/>
                    <a:pt x="3338" y="208953"/>
                  </a:cubicBezTo>
                  <a:cubicBezTo>
                    <a:pt x="3338" y="208953"/>
                    <a:pt x="-18579" y="121010"/>
                    <a:pt x="49910" y="52305"/>
                  </a:cubicBezTo>
                  <a:cubicBezTo>
                    <a:pt x="122051" y="-20065"/>
                    <a:pt x="207890" y="3753"/>
                    <a:pt x="207890" y="3753"/>
                  </a:cubicBezTo>
                  <a:cubicBezTo>
                    <a:pt x="207890" y="3753"/>
                    <a:pt x="226720" y="75534"/>
                    <a:pt x="176823" y="142238"/>
                  </a:cubicBezTo>
                </a:path>
              </a:pathLst>
            </a:custGeom>
            <a:solidFill>
              <a:schemeClr val="accent2">
                <a:lumMod val="40000"/>
                <a:lumOff val="60000"/>
              </a:schemeClr>
            </a:solidFill>
            <a:ln w="1246" cap="flat">
              <a:noFill/>
              <a:prstDash val="solid"/>
              <a:miter/>
            </a:ln>
          </p:spPr>
          <p:txBody>
            <a:bodyPr rtlCol="0" anchor="ctr"/>
            <a:lstStyle/>
            <a:p>
              <a:endParaRPr lang="en-GB"/>
            </a:p>
          </p:txBody>
        </p:sp>
        <p:sp>
          <p:nvSpPr>
            <p:cNvPr id="79" name="Vrije vorm: vorm 78">
              <a:extLst>
                <a:ext uri="{FF2B5EF4-FFF2-40B4-BE49-F238E27FC236}">
                  <a16:creationId xmlns:a16="http://schemas.microsoft.com/office/drawing/2014/main" id="{1BDDF515-5F36-4D20-83D1-34EA7118D9DF}"/>
                </a:ext>
              </a:extLst>
            </p:cNvPr>
            <p:cNvSpPr/>
            <p:nvPr/>
          </p:nvSpPr>
          <p:spPr>
            <a:xfrm>
              <a:off x="5502984" y="779144"/>
              <a:ext cx="193465" cy="212819"/>
            </a:xfrm>
            <a:custGeom>
              <a:avLst/>
              <a:gdLst>
                <a:gd name="connsiteX0" fmla="*/ 189982 w 193465"/>
                <a:gd name="connsiteY0" fmla="*/ 3750 h 212819"/>
                <a:gd name="connsiteX1" fmla="*/ 134754 w 193465"/>
                <a:gd name="connsiteY1" fmla="*/ 1256 h 212819"/>
                <a:gd name="connsiteX2" fmla="*/ 148526 w 193465"/>
                <a:gd name="connsiteY2" fmla="*/ 3750 h 212819"/>
                <a:gd name="connsiteX3" fmla="*/ 117459 w 193465"/>
                <a:gd name="connsiteY3" fmla="*/ 142235 h 212819"/>
                <a:gd name="connsiteX4" fmla="*/ 3736 w 193465"/>
                <a:gd name="connsiteY4" fmla="*/ 211089 h 212819"/>
                <a:gd name="connsiteX5" fmla="*/ 0 w 193465"/>
                <a:gd name="connsiteY5" fmla="*/ 211574 h 212819"/>
                <a:gd name="connsiteX6" fmla="*/ 45192 w 193465"/>
                <a:gd name="connsiteY6" fmla="*/ 211089 h 212819"/>
                <a:gd name="connsiteX7" fmla="*/ 158914 w 193465"/>
                <a:gd name="connsiteY7" fmla="*/ 142235 h 212819"/>
                <a:gd name="connsiteX8" fmla="*/ 189982 w 193465"/>
                <a:gd name="connsiteY8" fmla="*/ 3750 h 21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465" h="212819">
                  <a:moveTo>
                    <a:pt x="189982" y="3750"/>
                  </a:moveTo>
                  <a:cubicBezTo>
                    <a:pt x="189982" y="3750"/>
                    <a:pt x="166965" y="-2633"/>
                    <a:pt x="134754" y="1256"/>
                  </a:cubicBezTo>
                  <a:cubicBezTo>
                    <a:pt x="143454" y="2347"/>
                    <a:pt x="148526" y="3750"/>
                    <a:pt x="148526" y="3750"/>
                  </a:cubicBezTo>
                  <a:cubicBezTo>
                    <a:pt x="148526" y="3750"/>
                    <a:pt x="167356" y="75531"/>
                    <a:pt x="117459" y="142235"/>
                  </a:cubicBezTo>
                  <a:lnTo>
                    <a:pt x="3736" y="211089"/>
                  </a:lnTo>
                  <a:cubicBezTo>
                    <a:pt x="2477" y="211267"/>
                    <a:pt x="1234" y="211426"/>
                    <a:pt x="0" y="211574"/>
                  </a:cubicBezTo>
                  <a:cubicBezTo>
                    <a:pt x="10731" y="212897"/>
                    <a:pt x="26637" y="213726"/>
                    <a:pt x="45192" y="211089"/>
                  </a:cubicBezTo>
                  <a:lnTo>
                    <a:pt x="158914" y="142235"/>
                  </a:lnTo>
                  <a:cubicBezTo>
                    <a:pt x="208813" y="75529"/>
                    <a:pt x="189982" y="3750"/>
                    <a:pt x="189982" y="3750"/>
                  </a:cubicBezTo>
                  <a:close/>
                </a:path>
              </a:pathLst>
            </a:custGeom>
            <a:solidFill>
              <a:schemeClr val="accent2">
                <a:lumMod val="60000"/>
                <a:lumOff val="40000"/>
              </a:schemeClr>
            </a:solidFill>
            <a:ln w="1246" cap="flat">
              <a:noFill/>
              <a:prstDash val="solid"/>
              <a:miter/>
            </a:ln>
          </p:spPr>
          <p:txBody>
            <a:bodyPr rtlCol="0" anchor="ctr"/>
            <a:lstStyle/>
            <a:p>
              <a:endParaRPr lang="en-GB"/>
            </a:p>
          </p:txBody>
        </p:sp>
        <p:sp>
          <p:nvSpPr>
            <p:cNvPr id="80" name="Vrije vorm: vorm 79">
              <a:extLst>
                <a:ext uri="{FF2B5EF4-FFF2-40B4-BE49-F238E27FC236}">
                  <a16:creationId xmlns:a16="http://schemas.microsoft.com/office/drawing/2014/main" id="{6E51002D-B9B6-7D45-A511-293A735087F6}"/>
                </a:ext>
              </a:extLst>
            </p:cNvPr>
            <p:cNvSpPr/>
            <p:nvPr/>
          </p:nvSpPr>
          <p:spPr>
            <a:xfrm>
              <a:off x="5278605" y="914350"/>
              <a:ext cx="179063" cy="153723"/>
            </a:xfrm>
            <a:custGeom>
              <a:avLst/>
              <a:gdLst>
                <a:gd name="connsiteX0" fmla="*/ 127716 w 179063"/>
                <a:gd name="connsiteY0" fmla="*/ 29762 h 153723"/>
                <a:gd name="connsiteX1" fmla="*/ 178388 w 179063"/>
                <a:gd name="connsiteY1" fmla="*/ 146938 h 153723"/>
                <a:gd name="connsiteX2" fmla="*/ 52909 w 179063"/>
                <a:gd name="connsiteY2" fmla="*/ 125281 h 153723"/>
                <a:gd name="connsiteX3" fmla="*/ 650 w 179063"/>
                <a:gd name="connsiteY3" fmla="*/ 6855 h 153723"/>
                <a:gd name="connsiteX4" fmla="*/ 127716 w 179063"/>
                <a:gd name="connsiteY4" fmla="*/ 29762 h 153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063" h="153723">
                  <a:moveTo>
                    <a:pt x="127716" y="29762"/>
                  </a:moveTo>
                  <a:cubicBezTo>
                    <a:pt x="188814" y="77916"/>
                    <a:pt x="178388" y="146938"/>
                    <a:pt x="178388" y="146938"/>
                  </a:cubicBezTo>
                  <a:cubicBezTo>
                    <a:pt x="178388" y="146938"/>
                    <a:pt x="112419" y="172185"/>
                    <a:pt x="52909" y="125281"/>
                  </a:cubicBezTo>
                  <a:cubicBezTo>
                    <a:pt x="-9776" y="75876"/>
                    <a:pt x="650" y="6855"/>
                    <a:pt x="650" y="6855"/>
                  </a:cubicBezTo>
                  <a:cubicBezTo>
                    <a:pt x="650" y="6855"/>
                    <a:pt x="65825" y="-19017"/>
                    <a:pt x="127716" y="29762"/>
                  </a:cubicBezTo>
                  <a:close/>
                </a:path>
              </a:pathLst>
            </a:custGeom>
            <a:solidFill>
              <a:schemeClr val="accent2">
                <a:lumMod val="40000"/>
                <a:lumOff val="60000"/>
              </a:schemeClr>
            </a:solidFill>
            <a:ln w="1246" cap="flat">
              <a:noFill/>
              <a:prstDash val="solid"/>
              <a:miter/>
            </a:ln>
          </p:spPr>
          <p:txBody>
            <a:bodyPr rtlCol="0" anchor="ctr"/>
            <a:lstStyle/>
            <a:p>
              <a:endParaRPr lang="en-GB"/>
            </a:p>
          </p:txBody>
        </p:sp>
        <p:sp>
          <p:nvSpPr>
            <p:cNvPr id="81" name="Vrije vorm: vorm 80">
              <a:extLst>
                <a:ext uri="{FF2B5EF4-FFF2-40B4-BE49-F238E27FC236}">
                  <a16:creationId xmlns:a16="http://schemas.microsoft.com/office/drawing/2014/main" id="{297F1ADF-52E1-673C-CFB3-5C2E155BD158}"/>
                </a:ext>
              </a:extLst>
            </p:cNvPr>
            <p:cNvSpPr/>
            <p:nvPr/>
          </p:nvSpPr>
          <p:spPr>
            <a:xfrm>
              <a:off x="5298175" y="680839"/>
              <a:ext cx="196240" cy="229738"/>
            </a:xfrm>
            <a:custGeom>
              <a:avLst/>
              <a:gdLst>
                <a:gd name="connsiteX0" fmla="*/ 38083 w 196240"/>
                <a:gd name="connsiteY0" fmla="*/ 163957 h 229738"/>
                <a:gd name="connsiteX1" fmla="*/ 187641 w 196240"/>
                <a:gd name="connsiteY1" fmla="*/ 228856 h 229738"/>
                <a:gd name="connsiteX2" fmla="*/ 159844 w 196240"/>
                <a:gd name="connsiteY2" fmla="*/ 67785 h 229738"/>
                <a:gd name="connsiteX3" fmla="*/ 8689 w 196240"/>
                <a:gd name="connsiteY3" fmla="*/ 849 h 229738"/>
                <a:gd name="connsiteX4" fmla="*/ 38083 w 196240"/>
                <a:gd name="connsiteY4" fmla="*/ 163957 h 229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240" h="229738">
                  <a:moveTo>
                    <a:pt x="38083" y="163957"/>
                  </a:moveTo>
                  <a:cubicBezTo>
                    <a:pt x="99598" y="242334"/>
                    <a:pt x="187641" y="228856"/>
                    <a:pt x="187641" y="228856"/>
                  </a:cubicBezTo>
                  <a:cubicBezTo>
                    <a:pt x="187641" y="228856"/>
                    <a:pt x="219761" y="144127"/>
                    <a:pt x="159844" y="67785"/>
                  </a:cubicBezTo>
                  <a:cubicBezTo>
                    <a:pt x="96732" y="-12627"/>
                    <a:pt x="8689" y="849"/>
                    <a:pt x="8689" y="849"/>
                  </a:cubicBezTo>
                  <a:cubicBezTo>
                    <a:pt x="8689" y="849"/>
                    <a:pt x="-24231" y="84562"/>
                    <a:pt x="38083" y="163957"/>
                  </a:cubicBezTo>
                  <a:close/>
                </a:path>
              </a:pathLst>
            </a:custGeom>
            <a:solidFill>
              <a:schemeClr val="accent2">
                <a:lumMod val="40000"/>
                <a:lumOff val="60000"/>
              </a:schemeClr>
            </a:solidFill>
            <a:ln w="1246" cap="flat">
              <a:noFill/>
              <a:prstDash val="solid"/>
              <a:miter/>
            </a:ln>
          </p:spPr>
          <p:txBody>
            <a:bodyPr rtlCol="0" anchor="ctr"/>
            <a:lstStyle/>
            <a:p>
              <a:endParaRPr lang="en-GB"/>
            </a:p>
          </p:txBody>
        </p:sp>
        <p:sp>
          <p:nvSpPr>
            <p:cNvPr id="82" name="Vrije vorm: vorm 81">
              <a:extLst>
                <a:ext uri="{FF2B5EF4-FFF2-40B4-BE49-F238E27FC236}">
                  <a16:creationId xmlns:a16="http://schemas.microsoft.com/office/drawing/2014/main" id="{E9CDC2D7-27A9-2920-6A93-10539BF0B33E}"/>
                </a:ext>
              </a:extLst>
            </p:cNvPr>
            <p:cNvSpPr/>
            <p:nvPr/>
          </p:nvSpPr>
          <p:spPr>
            <a:xfrm>
              <a:off x="5349453" y="969296"/>
              <a:ext cx="145046" cy="206509"/>
            </a:xfrm>
            <a:custGeom>
              <a:avLst/>
              <a:gdLst>
                <a:gd name="connsiteX0" fmla="*/ 135623 w 145046"/>
                <a:gd name="connsiteY0" fmla="*/ 206509 h 206509"/>
                <a:gd name="connsiteX1" fmla="*/ 126201 w 145046"/>
                <a:gd name="connsiteY1" fmla="*/ 197088 h 206509"/>
                <a:gd name="connsiteX2" fmla="*/ 66077 w 145046"/>
                <a:gd name="connsiteY2" fmla="*/ 58184 h 206509"/>
                <a:gd name="connsiteX3" fmla="*/ 6006 w 145046"/>
                <a:gd name="connsiteY3" fmla="*/ 18203 h 206509"/>
                <a:gd name="connsiteX4" fmla="*/ 645 w 145046"/>
                <a:gd name="connsiteY4" fmla="*/ 6005 h 206509"/>
                <a:gd name="connsiteX5" fmla="*/ 12843 w 145046"/>
                <a:gd name="connsiteY5" fmla="*/ 645 h 206509"/>
                <a:gd name="connsiteX6" fmla="*/ 78971 w 145046"/>
                <a:gd name="connsiteY6" fmla="*/ 44444 h 206509"/>
                <a:gd name="connsiteX7" fmla="*/ 145046 w 145046"/>
                <a:gd name="connsiteY7" fmla="*/ 197089 h 206509"/>
                <a:gd name="connsiteX8" fmla="*/ 135623 w 145046"/>
                <a:gd name="connsiteY8" fmla="*/ 206509 h 206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046" h="206509">
                  <a:moveTo>
                    <a:pt x="135623" y="206509"/>
                  </a:moveTo>
                  <a:cubicBezTo>
                    <a:pt x="130419" y="206509"/>
                    <a:pt x="126201" y="202291"/>
                    <a:pt x="126201" y="197088"/>
                  </a:cubicBezTo>
                  <a:cubicBezTo>
                    <a:pt x="126201" y="142350"/>
                    <a:pt x="105972" y="95616"/>
                    <a:pt x="66077" y="58184"/>
                  </a:cubicBezTo>
                  <a:cubicBezTo>
                    <a:pt x="36203" y="30154"/>
                    <a:pt x="6303" y="18319"/>
                    <a:pt x="6006" y="18203"/>
                  </a:cubicBezTo>
                  <a:cubicBezTo>
                    <a:pt x="1157" y="16315"/>
                    <a:pt x="-1244" y="10853"/>
                    <a:pt x="645" y="6005"/>
                  </a:cubicBezTo>
                  <a:cubicBezTo>
                    <a:pt x="2532" y="1158"/>
                    <a:pt x="7994" y="-1244"/>
                    <a:pt x="12843" y="645"/>
                  </a:cubicBezTo>
                  <a:cubicBezTo>
                    <a:pt x="14201" y="1174"/>
                    <a:pt x="46466" y="13945"/>
                    <a:pt x="78971" y="44444"/>
                  </a:cubicBezTo>
                  <a:cubicBezTo>
                    <a:pt x="109114" y="72725"/>
                    <a:pt x="145046" y="122166"/>
                    <a:pt x="145046" y="197089"/>
                  </a:cubicBezTo>
                  <a:cubicBezTo>
                    <a:pt x="145045" y="202291"/>
                    <a:pt x="140826" y="206509"/>
                    <a:pt x="135623" y="206509"/>
                  </a:cubicBezTo>
                  <a:close/>
                </a:path>
              </a:pathLst>
            </a:custGeom>
            <a:solidFill>
              <a:schemeClr val="accent2">
                <a:lumMod val="50000"/>
              </a:schemeClr>
            </a:solidFill>
            <a:ln w="1246" cap="flat">
              <a:noFill/>
              <a:prstDash val="solid"/>
              <a:miter/>
            </a:ln>
          </p:spPr>
          <p:txBody>
            <a:bodyPr rtlCol="0" anchor="ctr"/>
            <a:lstStyle/>
            <a:p>
              <a:endParaRPr lang="en-GB"/>
            </a:p>
          </p:txBody>
        </p:sp>
        <p:sp>
          <p:nvSpPr>
            <p:cNvPr id="83" name="Vrije vorm: vorm 82">
              <a:extLst>
                <a:ext uri="{FF2B5EF4-FFF2-40B4-BE49-F238E27FC236}">
                  <a16:creationId xmlns:a16="http://schemas.microsoft.com/office/drawing/2014/main" id="{999B1183-9DD0-022C-6E6D-9EEC5CF14B7B}"/>
                </a:ext>
              </a:extLst>
            </p:cNvPr>
            <p:cNvSpPr/>
            <p:nvPr/>
          </p:nvSpPr>
          <p:spPr>
            <a:xfrm>
              <a:off x="5541489" y="922681"/>
              <a:ext cx="153701" cy="122876"/>
            </a:xfrm>
            <a:custGeom>
              <a:avLst/>
              <a:gdLst>
                <a:gd name="connsiteX0" fmla="*/ 104500 w 153701"/>
                <a:gd name="connsiteY0" fmla="*/ 103083 h 122876"/>
                <a:gd name="connsiteX1" fmla="*/ 57 w 153701"/>
                <a:gd name="connsiteY1" fmla="*/ 114432 h 122876"/>
                <a:gd name="connsiteX2" fmla="*/ 47803 w 153701"/>
                <a:gd name="connsiteY2" fmla="*/ 20559 h 122876"/>
                <a:gd name="connsiteX3" fmla="*/ 153616 w 153701"/>
                <a:gd name="connsiteY3" fmla="*/ 8263 h 122876"/>
                <a:gd name="connsiteX4" fmla="*/ 104500 w 153701"/>
                <a:gd name="connsiteY4" fmla="*/ 103083 h 122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01" h="122876">
                  <a:moveTo>
                    <a:pt x="104500" y="103083"/>
                  </a:moveTo>
                  <a:cubicBezTo>
                    <a:pt x="51715" y="139579"/>
                    <a:pt x="57" y="114432"/>
                    <a:pt x="57" y="114432"/>
                  </a:cubicBezTo>
                  <a:cubicBezTo>
                    <a:pt x="57" y="114432"/>
                    <a:pt x="-3612" y="56107"/>
                    <a:pt x="47803" y="20559"/>
                  </a:cubicBezTo>
                  <a:cubicBezTo>
                    <a:pt x="101960" y="-16884"/>
                    <a:pt x="153616" y="8263"/>
                    <a:pt x="153616" y="8263"/>
                  </a:cubicBezTo>
                  <a:cubicBezTo>
                    <a:pt x="153616" y="8263"/>
                    <a:pt x="157971" y="66115"/>
                    <a:pt x="104500" y="103083"/>
                  </a:cubicBezTo>
                  <a:close/>
                </a:path>
              </a:pathLst>
            </a:custGeom>
            <a:solidFill>
              <a:schemeClr val="accent2">
                <a:lumMod val="40000"/>
                <a:lumOff val="60000"/>
              </a:schemeClr>
            </a:solidFill>
            <a:ln w="1246" cap="flat">
              <a:noFill/>
              <a:prstDash val="solid"/>
              <a:miter/>
            </a:ln>
          </p:spPr>
          <p:txBody>
            <a:bodyPr rtlCol="0" anchor="ctr"/>
            <a:lstStyle/>
            <a:p>
              <a:endParaRPr lang="en-GB"/>
            </a:p>
          </p:txBody>
        </p:sp>
        <p:sp>
          <p:nvSpPr>
            <p:cNvPr id="84" name="Vrije vorm: vorm 83">
              <a:extLst>
                <a:ext uri="{FF2B5EF4-FFF2-40B4-BE49-F238E27FC236}">
                  <a16:creationId xmlns:a16="http://schemas.microsoft.com/office/drawing/2014/main" id="{B15ADD4C-8304-B14C-8C1A-2BF4B20E6C1B}"/>
                </a:ext>
              </a:extLst>
            </p:cNvPr>
            <p:cNvSpPr/>
            <p:nvPr/>
          </p:nvSpPr>
          <p:spPr>
            <a:xfrm>
              <a:off x="5562855" y="922685"/>
              <a:ext cx="132334" cy="122870"/>
            </a:xfrm>
            <a:custGeom>
              <a:avLst/>
              <a:gdLst>
                <a:gd name="connsiteX0" fmla="*/ 132249 w 132334"/>
                <a:gd name="connsiteY0" fmla="*/ 8259 h 122870"/>
                <a:gd name="connsiteX1" fmla="*/ 69971 w 132334"/>
                <a:gd name="connsiteY1" fmla="*/ 1958 h 122870"/>
                <a:gd name="connsiteX2" fmla="*/ 90794 w 132334"/>
                <a:gd name="connsiteY2" fmla="*/ 8259 h 122870"/>
                <a:gd name="connsiteX3" fmla="*/ 41677 w 132334"/>
                <a:gd name="connsiteY3" fmla="*/ 103079 h 122870"/>
                <a:gd name="connsiteX4" fmla="*/ 0 w 132334"/>
                <a:gd name="connsiteY4" fmla="*/ 120894 h 122870"/>
                <a:gd name="connsiteX5" fmla="*/ 83132 w 132334"/>
                <a:gd name="connsiteY5" fmla="*/ 103079 h 122870"/>
                <a:gd name="connsiteX6" fmla="*/ 132249 w 132334"/>
                <a:gd name="connsiteY6" fmla="*/ 8259 h 12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34" h="122870">
                  <a:moveTo>
                    <a:pt x="132249" y="8259"/>
                  </a:moveTo>
                  <a:cubicBezTo>
                    <a:pt x="132249" y="8259"/>
                    <a:pt x="105323" y="-4843"/>
                    <a:pt x="69971" y="1958"/>
                  </a:cubicBezTo>
                  <a:cubicBezTo>
                    <a:pt x="82867" y="4401"/>
                    <a:pt x="90794" y="8259"/>
                    <a:pt x="90794" y="8259"/>
                  </a:cubicBezTo>
                  <a:cubicBezTo>
                    <a:pt x="90794" y="8259"/>
                    <a:pt x="95148" y="66110"/>
                    <a:pt x="41677" y="103079"/>
                  </a:cubicBezTo>
                  <a:cubicBezTo>
                    <a:pt x="27364" y="112974"/>
                    <a:pt x="13139" y="118331"/>
                    <a:pt x="0" y="120894"/>
                  </a:cubicBezTo>
                  <a:cubicBezTo>
                    <a:pt x="19933" y="124677"/>
                    <a:pt x="51324" y="125071"/>
                    <a:pt x="83132" y="103079"/>
                  </a:cubicBezTo>
                  <a:cubicBezTo>
                    <a:pt x="136605" y="66111"/>
                    <a:pt x="132249" y="8259"/>
                    <a:pt x="132249" y="8259"/>
                  </a:cubicBezTo>
                  <a:close/>
                </a:path>
              </a:pathLst>
            </a:custGeom>
            <a:solidFill>
              <a:schemeClr val="accent2">
                <a:lumMod val="60000"/>
                <a:lumOff val="40000"/>
              </a:schemeClr>
            </a:solidFill>
            <a:ln w="1246" cap="flat">
              <a:noFill/>
              <a:prstDash val="solid"/>
              <a:miter/>
            </a:ln>
          </p:spPr>
          <p:txBody>
            <a:bodyPr rtlCol="0" anchor="ctr"/>
            <a:lstStyle/>
            <a:p>
              <a:endParaRPr lang="en-GB"/>
            </a:p>
          </p:txBody>
        </p:sp>
        <p:grpSp>
          <p:nvGrpSpPr>
            <p:cNvPr id="85" name="Graphic 55">
              <a:extLst>
                <a:ext uri="{FF2B5EF4-FFF2-40B4-BE49-F238E27FC236}">
                  <a16:creationId xmlns:a16="http://schemas.microsoft.com/office/drawing/2014/main" id="{C2F836B9-F5BA-25F7-4C49-96AEEC7237B8}"/>
                </a:ext>
              </a:extLst>
            </p:cNvPr>
            <p:cNvGrpSpPr/>
            <p:nvPr/>
          </p:nvGrpSpPr>
          <p:grpSpPr>
            <a:xfrm>
              <a:off x="5373211" y="760782"/>
              <a:ext cx="260850" cy="415023"/>
              <a:chOff x="5373211" y="760782"/>
              <a:chExt cx="260850" cy="415023"/>
            </a:xfrm>
            <a:solidFill>
              <a:srgbClr val="6C8A13"/>
            </a:solidFill>
          </p:grpSpPr>
          <p:sp>
            <p:nvSpPr>
              <p:cNvPr id="86" name="Vrije vorm: vorm 85">
                <a:extLst>
                  <a:ext uri="{FF2B5EF4-FFF2-40B4-BE49-F238E27FC236}">
                    <a16:creationId xmlns:a16="http://schemas.microsoft.com/office/drawing/2014/main" id="{E0945D2D-D888-6682-F69D-F7B758938033}"/>
                  </a:ext>
                </a:extLst>
              </p:cNvPr>
              <p:cNvSpPr/>
              <p:nvPr/>
            </p:nvSpPr>
            <p:spPr>
              <a:xfrm>
                <a:off x="5475615" y="970670"/>
                <a:ext cx="152277" cy="205135"/>
              </a:xfrm>
              <a:custGeom>
                <a:avLst/>
                <a:gdLst>
                  <a:gd name="connsiteX0" fmla="*/ 9454 w 152277"/>
                  <a:gd name="connsiteY0" fmla="*/ 205136 h 205135"/>
                  <a:gd name="connsiteX1" fmla="*/ 50 w 152277"/>
                  <a:gd name="connsiteY1" fmla="*/ 196156 h 205135"/>
                  <a:gd name="connsiteX2" fmla="*/ 15183 w 152277"/>
                  <a:gd name="connsiteY2" fmla="*/ 121399 h 205135"/>
                  <a:gd name="connsiteX3" fmla="*/ 139143 w 152277"/>
                  <a:gd name="connsiteY3" fmla="*/ 764 h 205135"/>
                  <a:gd name="connsiteX4" fmla="*/ 151513 w 152277"/>
                  <a:gd name="connsiteY4" fmla="*/ 5713 h 205135"/>
                  <a:gd name="connsiteX5" fmla="*/ 146563 w 152277"/>
                  <a:gd name="connsiteY5" fmla="*/ 18085 h 205135"/>
                  <a:gd name="connsiteX6" fmla="*/ 32636 w 152277"/>
                  <a:gd name="connsiteY6" fmla="*/ 128508 h 205135"/>
                  <a:gd name="connsiteX7" fmla="*/ 18875 w 152277"/>
                  <a:gd name="connsiteY7" fmla="*/ 195273 h 205135"/>
                  <a:gd name="connsiteX8" fmla="*/ 9905 w 152277"/>
                  <a:gd name="connsiteY8" fmla="*/ 205125 h 205135"/>
                  <a:gd name="connsiteX9" fmla="*/ 9454 w 152277"/>
                  <a:gd name="connsiteY9" fmla="*/ 205136 h 20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277" h="205135">
                    <a:moveTo>
                      <a:pt x="9454" y="205136"/>
                    </a:moveTo>
                    <a:cubicBezTo>
                      <a:pt x="4454" y="205136"/>
                      <a:pt x="286" y="201204"/>
                      <a:pt x="50" y="196156"/>
                    </a:cubicBezTo>
                    <a:cubicBezTo>
                      <a:pt x="-14" y="194779"/>
                      <a:pt x="-1341" y="161967"/>
                      <a:pt x="15183" y="121399"/>
                    </a:cubicBezTo>
                    <a:cubicBezTo>
                      <a:pt x="30385" y="84079"/>
                      <a:pt x="64230" y="32858"/>
                      <a:pt x="139143" y="764"/>
                    </a:cubicBezTo>
                    <a:cubicBezTo>
                      <a:pt x="143927" y="-1285"/>
                      <a:pt x="149464" y="931"/>
                      <a:pt x="151513" y="5713"/>
                    </a:cubicBezTo>
                    <a:cubicBezTo>
                      <a:pt x="153563" y="10497"/>
                      <a:pt x="151346" y="16034"/>
                      <a:pt x="146563" y="18085"/>
                    </a:cubicBezTo>
                    <a:cubicBezTo>
                      <a:pt x="91141" y="41828"/>
                      <a:pt x="52810" y="78981"/>
                      <a:pt x="32636" y="128508"/>
                    </a:cubicBezTo>
                    <a:cubicBezTo>
                      <a:pt x="17661" y="165272"/>
                      <a:pt x="18860" y="194978"/>
                      <a:pt x="18875" y="195273"/>
                    </a:cubicBezTo>
                    <a:cubicBezTo>
                      <a:pt x="19118" y="200471"/>
                      <a:pt x="15103" y="204882"/>
                      <a:pt x="9905" y="205125"/>
                    </a:cubicBezTo>
                    <a:cubicBezTo>
                      <a:pt x="9753" y="205133"/>
                      <a:pt x="9602" y="205136"/>
                      <a:pt x="9454" y="205136"/>
                    </a:cubicBezTo>
                    <a:close/>
                  </a:path>
                </a:pathLst>
              </a:custGeom>
              <a:solidFill>
                <a:schemeClr val="accent2">
                  <a:lumMod val="50000"/>
                </a:schemeClr>
              </a:solidFill>
              <a:ln w="1246" cap="flat">
                <a:noFill/>
                <a:prstDash val="solid"/>
                <a:miter/>
              </a:ln>
            </p:spPr>
            <p:txBody>
              <a:bodyPr rtlCol="0" anchor="ctr"/>
              <a:lstStyle/>
              <a:p>
                <a:endParaRPr lang="en-GB"/>
              </a:p>
            </p:txBody>
          </p:sp>
          <p:sp>
            <p:nvSpPr>
              <p:cNvPr id="87" name="Vrije vorm: vorm 86">
                <a:extLst>
                  <a:ext uri="{FF2B5EF4-FFF2-40B4-BE49-F238E27FC236}">
                    <a16:creationId xmlns:a16="http://schemas.microsoft.com/office/drawing/2014/main" id="{26616310-CB10-72DD-206A-03910033A478}"/>
                  </a:ext>
                </a:extLst>
              </p:cNvPr>
              <p:cNvSpPr/>
              <p:nvPr/>
            </p:nvSpPr>
            <p:spPr>
              <a:xfrm>
                <a:off x="5373211" y="760782"/>
                <a:ext cx="118085" cy="154444"/>
              </a:xfrm>
              <a:custGeom>
                <a:avLst/>
                <a:gdLst>
                  <a:gd name="connsiteX0" fmla="*/ 108670 w 118085"/>
                  <a:gd name="connsiteY0" fmla="*/ 154444 h 154444"/>
                  <a:gd name="connsiteX1" fmla="*/ 100265 w 118085"/>
                  <a:gd name="connsiteY1" fmla="*/ 149291 h 154444"/>
                  <a:gd name="connsiteX2" fmla="*/ 2733 w 118085"/>
                  <a:gd name="connsiteY2" fmla="*/ 16057 h 154444"/>
                  <a:gd name="connsiteX3" fmla="*/ 2786 w 118085"/>
                  <a:gd name="connsiteY3" fmla="*/ 2733 h 154444"/>
                  <a:gd name="connsiteX4" fmla="*/ 16109 w 118085"/>
                  <a:gd name="connsiteY4" fmla="*/ 2786 h 154444"/>
                  <a:gd name="connsiteX5" fmla="*/ 117061 w 118085"/>
                  <a:gd name="connsiteY5" fmla="*/ 140749 h 154444"/>
                  <a:gd name="connsiteX6" fmla="*/ 112934 w 118085"/>
                  <a:gd name="connsiteY6" fmla="*/ 153418 h 154444"/>
                  <a:gd name="connsiteX7" fmla="*/ 108670 w 118085"/>
                  <a:gd name="connsiteY7" fmla="*/ 154444 h 15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85" h="154444">
                    <a:moveTo>
                      <a:pt x="108670" y="154444"/>
                    </a:moveTo>
                    <a:cubicBezTo>
                      <a:pt x="105238" y="154444"/>
                      <a:pt x="101928" y="152561"/>
                      <a:pt x="100265" y="149291"/>
                    </a:cubicBezTo>
                    <a:cubicBezTo>
                      <a:pt x="64234" y="78446"/>
                      <a:pt x="3345" y="16674"/>
                      <a:pt x="2733" y="16057"/>
                    </a:cubicBezTo>
                    <a:cubicBezTo>
                      <a:pt x="-932" y="12364"/>
                      <a:pt x="-908" y="6398"/>
                      <a:pt x="2786" y="2733"/>
                    </a:cubicBezTo>
                    <a:cubicBezTo>
                      <a:pt x="6480" y="-932"/>
                      <a:pt x="12443" y="-907"/>
                      <a:pt x="16109" y="2786"/>
                    </a:cubicBezTo>
                    <a:cubicBezTo>
                      <a:pt x="18688" y="5385"/>
                      <a:pt x="79703" y="67297"/>
                      <a:pt x="117061" y="140749"/>
                    </a:cubicBezTo>
                    <a:cubicBezTo>
                      <a:pt x="119419" y="145387"/>
                      <a:pt x="117571" y="151059"/>
                      <a:pt x="112934" y="153418"/>
                    </a:cubicBezTo>
                    <a:cubicBezTo>
                      <a:pt x="111566" y="154114"/>
                      <a:pt x="110106" y="154444"/>
                      <a:pt x="108670" y="154444"/>
                    </a:cubicBezTo>
                    <a:close/>
                  </a:path>
                </a:pathLst>
              </a:custGeom>
              <a:solidFill>
                <a:schemeClr val="accent2">
                  <a:lumMod val="50000"/>
                </a:schemeClr>
              </a:solidFill>
              <a:ln w="1246" cap="flat">
                <a:noFill/>
                <a:prstDash val="solid"/>
                <a:miter/>
              </a:ln>
            </p:spPr>
            <p:txBody>
              <a:bodyPr rtlCol="0" anchor="ctr"/>
              <a:lstStyle/>
              <a:p>
                <a:endParaRPr lang="en-GB"/>
              </a:p>
            </p:txBody>
          </p:sp>
          <p:sp>
            <p:nvSpPr>
              <p:cNvPr id="88" name="Vrije vorm: vorm 87">
                <a:extLst>
                  <a:ext uri="{FF2B5EF4-FFF2-40B4-BE49-F238E27FC236}">
                    <a16:creationId xmlns:a16="http://schemas.microsoft.com/office/drawing/2014/main" id="{F9F24B63-9703-9FCF-57D7-75C9B2015798}"/>
                  </a:ext>
                </a:extLst>
              </p:cNvPr>
              <p:cNvSpPr/>
              <p:nvPr/>
            </p:nvSpPr>
            <p:spPr>
              <a:xfrm>
                <a:off x="5478623" y="842697"/>
                <a:ext cx="155438" cy="154383"/>
              </a:xfrm>
              <a:custGeom>
                <a:avLst/>
                <a:gdLst>
                  <a:gd name="connsiteX0" fmla="*/ 9414 w 155438"/>
                  <a:gd name="connsiteY0" fmla="*/ 154383 h 154383"/>
                  <a:gd name="connsiteX1" fmla="*/ 4150 w 155438"/>
                  <a:gd name="connsiteY1" fmla="*/ 152768 h 154383"/>
                  <a:gd name="connsiteX2" fmla="*/ 1614 w 155438"/>
                  <a:gd name="connsiteY2" fmla="*/ 139686 h 154383"/>
                  <a:gd name="connsiteX3" fmla="*/ 141277 w 155438"/>
                  <a:gd name="connsiteY3" fmla="*/ 1280 h 154383"/>
                  <a:gd name="connsiteX4" fmla="*/ 154159 w 155438"/>
                  <a:gd name="connsiteY4" fmla="*/ 4685 h 154383"/>
                  <a:gd name="connsiteX5" fmla="*/ 150753 w 155438"/>
                  <a:gd name="connsiteY5" fmla="*/ 17566 h 154383"/>
                  <a:gd name="connsiteX6" fmla="*/ 17231 w 155438"/>
                  <a:gd name="connsiteY6" fmla="*/ 150230 h 154383"/>
                  <a:gd name="connsiteX7" fmla="*/ 9414 w 155438"/>
                  <a:gd name="connsiteY7" fmla="*/ 154383 h 154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438" h="154383">
                    <a:moveTo>
                      <a:pt x="9414" y="154383"/>
                    </a:moveTo>
                    <a:cubicBezTo>
                      <a:pt x="7600" y="154383"/>
                      <a:pt x="5767" y="153859"/>
                      <a:pt x="4150" y="152768"/>
                    </a:cubicBezTo>
                    <a:cubicBezTo>
                      <a:pt x="-163" y="149856"/>
                      <a:pt x="-1297" y="143999"/>
                      <a:pt x="1614" y="139686"/>
                    </a:cubicBezTo>
                    <a:cubicBezTo>
                      <a:pt x="4209" y="135842"/>
                      <a:pt x="66043" y="45054"/>
                      <a:pt x="141277" y="1280"/>
                    </a:cubicBezTo>
                    <a:cubicBezTo>
                      <a:pt x="145775" y="-1338"/>
                      <a:pt x="151541" y="187"/>
                      <a:pt x="154159" y="4685"/>
                    </a:cubicBezTo>
                    <a:cubicBezTo>
                      <a:pt x="156775" y="9183"/>
                      <a:pt x="155250" y="14949"/>
                      <a:pt x="150753" y="17566"/>
                    </a:cubicBezTo>
                    <a:cubicBezTo>
                      <a:pt x="79210" y="59194"/>
                      <a:pt x="17842" y="149326"/>
                      <a:pt x="17231" y="150230"/>
                    </a:cubicBezTo>
                    <a:cubicBezTo>
                      <a:pt x="15411" y="152928"/>
                      <a:pt x="12439" y="154383"/>
                      <a:pt x="9414" y="154383"/>
                    </a:cubicBezTo>
                    <a:close/>
                  </a:path>
                </a:pathLst>
              </a:custGeom>
              <a:solidFill>
                <a:schemeClr val="accent2">
                  <a:lumMod val="50000"/>
                </a:schemeClr>
              </a:solidFill>
              <a:ln w="1246" cap="flat">
                <a:noFill/>
                <a:prstDash val="solid"/>
                <a:miter/>
              </a:ln>
            </p:spPr>
            <p:txBody>
              <a:bodyPr rtlCol="0" anchor="ctr"/>
              <a:lstStyle/>
              <a:p>
                <a:endParaRPr lang="en-GB"/>
              </a:p>
            </p:txBody>
          </p:sp>
        </p:grpSp>
      </p:grpSp>
      <p:grpSp>
        <p:nvGrpSpPr>
          <p:cNvPr id="89" name="Graphic 51">
            <a:extLst>
              <a:ext uri="{FF2B5EF4-FFF2-40B4-BE49-F238E27FC236}">
                <a16:creationId xmlns:a16="http://schemas.microsoft.com/office/drawing/2014/main" id="{AA23A411-9301-5913-C2A6-57FFE696399E}"/>
              </a:ext>
            </a:extLst>
          </p:cNvPr>
          <p:cNvGrpSpPr/>
          <p:nvPr/>
        </p:nvGrpSpPr>
        <p:grpSpPr>
          <a:xfrm>
            <a:off x="8332388" y="1540431"/>
            <a:ext cx="1194989" cy="1244316"/>
            <a:chOff x="2678344" y="-5155"/>
            <a:chExt cx="799457" cy="832457"/>
          </a:xfrm>
        </p:grpSpPr>
        <p:sp>
          <p:nvSpPr>
            <p:cNvPr id="90" name="Vrije vorm: vorm 89">
              <a:extLst>
                <a:ext uri="{FF2B5EF4-FFF2-40B4-BE49-F238E27FC236}">
                  <a16:creationId xmlns:a16="http://schemas.microsoft.com/office/drawing/2014/main" id="{0A0B4A9C-22E4-6896-DF0F-A4BE2979EFF8}"/>
                </a:ext>
              </a:extLst>
            </p:cNvPr>
            <p:cNvSpPr/>
            <p:nvPr/>
          </p:nvSpPr>
          <p:spPr>
            <a:xfrm flipV="1">
              <a:off x="3258295" y="555489"/>
              <a:ext cx="112597" cy="112596"/>
            </a:xfrm>
            <a:custGeom>
              <a:avLst/>
              <a:gdLst>
                <a:gd name="connsiteX0" fmla="*/ 113168 w 112597"/>
                <a:gd name="connsiteY0" fmla="*/ 56804 h 112596"/>
                <a:gd name="connsiteX1" fmla="*/ 56870 w 112597"/>
                <a:gd name="connsiteY1" fmla="*/ 113102 h 112596"/>
                <a:gd name="connsiteX2" fmla="*/ 570 w 112597"/>
                <a:gd name="connsiteY2" fmla="*/ 56804 h 112596"/>
                <a:gd name="connsiteX3" fmla="*/ 56870 w 112597"/>
                <a:gd name="connsiteY3" fmla="*/ 506 h 112596"/>
                <a:gd name="connsiteX4" fmla="*/ 113168 w 112597"/>
                <a:gd name="connsiteY4" fmla="*/ 56804 h 11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97" h="112596">
                  <a:moveTo>
                    <a:pt x="113168" y="56804"/>
                  </a:moveTo>
                  <a:cubicBezTo>
                    <a:pt x="113168" y="87898"/>
                    <a:pt x="87962" y="113102"/>
                    <a:pt x="56870" y="113102"/>
                  </a:cubicBezTo>
                  <a:cubicBezTo>
                    <a:pt x="25776" y="113102"/>
                    <a:pt x="570" y="87898"/>
                    <a:pt x="570" y="56804"/>
                  </a:cubicBezTo>
                  <a:cubicBezTo>
                    <a:pt x="570" y="25711"/>
                    <a:pt x="25776" y="506"/>
                    <a:pt x="56870" y="506"/>
                  </a:cubicBezTo>
                  <a:cubicBezTo>
                    <a:pt x="87962" y="506"/>
                    <a:pt x="113168" y="25711"/>
                    <a:pt x="113168" y="56804"/>
                  </a:cubicBezTo>
                </a:path>
              </a:pathLst>
            </a:custGeom>
            <a:solidFill>
              <a:schemeClr val="accent3">
                <a:lumMod val="60000"/>
                <a:lumOff val="40000"/>
              </a:schemeClr>
            </a:solidFill>
            <a:ln w="1617" cap="flat">
              <a:noFill/>
              <a:prstDash val="solid"/>
              <a:miter/>
            </a:ln>
          </p:spPr>
          <p:txBody>
            <a:bodyPr rtlCol="0" anchor="ctr"/>
            <a:lstStyle/>
            <a:p>
              <a:endParaRPr lang="en-GB"/>
            </a:p>
          </p:txBody>
        </p:sp>
        <p:sp>
          <p:nvSpPr>
            <p:cNvPr id="91" name="Vrije vorm: vorm 90">
              <a:extLst>
                <a:ext uri="{FF2B5EF4-FFF2-40B4-BE49-F238E27FC236}">
                  <a16:creationId xmlns:a16="http://schemas.microsoft.com/office/drawing/2014/main" id="{7E538EE9-2592-8B08-2A47-66ADD9A460C0}"/>
                </a:ext>
              </a:extLst>
            </p:cNvPr>
            <p:cNvSpPr/>
            <p:nvPr/>
          </p:nvSpPr>
          <p:spPr>
            <a:xfrm flipV="1">
              <a:off x="3258296" y="555492"/>
              <a:ext cx="80029" cy="112589"/>
            </a:xfrm>
            <a:custGeom>
              <a:avLst/>
              <a:gdLst>
                <a:gd name="connsiteX0" fmla="*/ 80576 w 80029"/>
                <a:gd name="connsiteY0" fmla="*/ 5700 h 112589"/>
                <a:gd name="connsiteX1" fmla="*/ 56859 w 80029"/>
                <a:gd name="connsiteY1" fmla="*/ 475 h 112589"/>
                <a:gd name="connsiteX2" fmla="*/ 547 w 80029"/>
                <a:gd name="connsiteY2" fmla="*/ 56769 h 112589"/>
                <a:gd name="connsiteX3" fmla="*/ 56859 w 80029"/>
                <a:gd name="connsiteY3" fmla="*/ 113064 h 112589"/>
                <a:gd name="connsiteX4" fmla="*/ 80576 w 80029"/>
                <a:gd name="connsiteY4" fmla="*/ 107839 h 112589"/>
                <a:gd name="connsiteX5" fmla="*/ 47982 w 80029"/>
                <a:gd name="connsiteY5" fmla="*/ 56769 h 112589"/>
                <a:gd name="connsiteX6" fmla="*/ 80576 w 80029"/>
                <a:gd name="connsiteY6" fmla="*/ 5700 h 11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29" h="112589">
                  <a:moveTo>
                    <a:pt x="80576" y="5700"/>
                  </a:moveTo>
                  <a:cubicBezTo>
                    <a:pt x="73373" y="2351"/>
                    <a:pt x="65333" y="475"/>
                    <a:pt x="56859" y="475"/>
                  </a:cubicBezTo>
                  <a:cubicBezTo>
                    <a:pt x="25754" y="475"/>
                    <a:pt x="547" y="25682"/>
                    <a:pt x="547" y="56769"/>
                  </a:cubicBezTo>
                  <a:cubicBezTo>
                    <a:pt x="547" y="87873"/>
                    <a:pt x="25754" y="113064"/>
                    <a:pt x="56859" y="113064"/>
                  </a:cubicBezTo>
                  <a:cubicBezTo>
                    <a:pt x="65333" y="113064"/>
                    <a:pt x="73373" y="111190"/>
                    <a:pt x="80576" y="107839"/>
                  </a:cubicBezTo>
                  <a:cubicBezTo>
                    <a:pt x="61331" y="98895"/>
                    <a:pt x="47982" y="79399"/>
                    <a:pt x="47982" y="56769"/>
                  </a:cubicBezTo>
                  <a:cubicBezTo>
                    <a:pt x="47982" y="34158"/>
                    <a:pt x="61331" y="14644"/>
                    <a:pt x="80576" y="5700"/>
                  </a:cubicBezTo>
                </a:path>
              </a:pathLst>
            </a:custGeom>
            <a:solidFill>
              <a:srgbClr val="FF8B4B"/>
            </a:solidFill>
            <a:ln w="1617" cap="flat">
              <a:noFill/>
              <a:prstDash val="solid"/>
              <a:miter/>
            </a:ln>
          </p:spPr>
          <p:txBody>
            <a:bodyPr rtlCol="0" anchor="ctr"/>
            <a:lstStyle/>
            <a:p>
              <a:endParaRPr lang="en-GB"/>
            </a:p>
          </p:txBody>
        </p:sp>
        <p:sp>
          <p:nvSpPr>
            <p:cNvPr id="92" name="Vrije vorm: vorm 91">
              <a:extLst>
                <a:ext uri="{FF2B5EF4-FFF2-40B4-BE49-F238E27FC236}">
                  <a16:creationId xmlns:a16="http://schemas.microsoft.com/office/drawing/2014/main" id="{7DE7D991-E906-BF91-E8CC-DBB3E1A59CF1}"/>
                </a:ext>
              </a:extLst>
            </p:cNvPr>
            <p:cNvSpPr/>
            <p:nvPr/>
          </p:nvSpPr>
          <p:spPr>
            <a:xfrm flipV="1">
              <a:off x="2968707" y="244799"/>
              <a:ext cx="262059" cy="582501"/>
            </a:xfrm>
            <a:custGeom>
              <a:avLst/>
              <a:gdLst>
                <a:gd name="connsiteX0" fmla="*/ 185523 w 262059"/>
                <a:gd name="connsiteY0" fmla="*/ 265 h 582501"/>
                <a:gd name="connsiteX1" fmla="*/ 7044 w 262059"/>
                <a:gd name="connsiteY1" fmla="*/ 265 h 582501"/>
                <a:gd name="connsiteX2" fmla="*/ 604 w 262059"/>
                <a:gd name="connsiteY2" fmla="*/ 8497 h 582501"/>
                <a:gd name="connsiteX3" fmla="*/ 6054 w 262059"/>
                <a:gd name="connsiteY3" fmla="*/ 19845 h 582501"/>
                <a:gd name="connsiteX4" fmla="*/ 22971 w 262059"/>
                <a:gd name="connsiteY4" fmla="*/ 31654 h 582501"/>
                <a:gd name="connsiteX5" fmla="*/ 25617 w 262059"/>
                <a:gd name="connsiteY5" fmla="*/ 32425 h 582501"/>
                <a:gd name="connsiteX6" fmla="*/ 48982 w 262059"/>
                <a:gd name="connsiteY6" fmla="*/ 61803 h 582501"/>
                <a:gd name="connsiteX7" fmla="*/ 80708 w 262059"/>
                <a:gd name="connsiteY7" fmla="*/ 576547 h 582501"/>
                <a:gd name="connsiteX8" fmla="*/ 87322 w 262059"/>
                <a:gd name="connsiteY8" fmla="*/ 582766 h 582501"/>
                <a:gd name="connsiteX9" fmla="*/ 105245 w 262059"/>
                <a:gd name="connsiteY9" fmla="*/ 582766 h 582501"/>
                <a:gd name="connsiteX10" fmla="*/ 111859 w 262059"/>
                <a:gd name="connsiteY10" fmla="*/ 576547 h 582501"/>
                <a:gd name="connsiteX11" fmla="*/ 137649 w 262059"/>
                <a:gd name="connsiteY11" fmla="*/ 157999 h 582501"/>
                <a:gd name="connsiteX12" fmla="*/ 149716 w 262059"/>
                <a:gd name="connsiteY12" fmla="*/ 154641 h 582501"/>
                <a:gd name="connsiteX13" fmla="*/ 236487 w 262059"/>
                <a:gd name="connsiteY13" fmla="*/ 280341 h 582501"/>
                <a:gd name="connsiteX14" fmla="*/ 245497 w 262059"/>
                <a:gd name="connsiteY14" fmla="*/ 282167 h 582501"/>
                <a:gd name="connsiteX15" fmla="*/ 259382 w 262059"/>
                <a:gd name="connsiteY15" fmla="*/ 273328 h 582501"/>
                <a:gd name="connsiteX16" fmla="*/ 261543 w 262059"/>
                <a:gd name="connsiteY16" fmla="*/ 264391 h 582501"/>
                <a:gd name="connsiteX17" fmla="*/ 143518 w 262059"/>
                <a:gd name="connsiteY17" fmla="*/ 62774 h 582501"/>
                <a:gd name="connsiteX18" fmla="*/ 143585 w 262059"/>
                <a:gd name="connsiteY18" fmla="*/ 61803 h 582501"/>
                <a:gd name="connsiteX19" fmla="*/ 166951 w 262059"/>
                <a:gd name="connsiteY19" fmla="*/ 32425 h 582501"/>
                <a:gd name="connsiteX20" fmla="*/ 169597 w 262059"/>
                <a:gd name="connsiteY20" fmla="*/ 31654 h 582501"/>
                <a:gd name="connsiteX21" fmla="*/ 191963 w 262059"/>
                <a:gd name="connsiteY21" fmla="*/ 8498 h 582501"/>
                <a:gd name="connsiteX22" fmla="*/ 185523 w 262059"/>
                <a:gd name="connsiteY22" fmla="*/ 265 h 582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2059" h="582501">
                  <a:moveTo>
                    <a:pt x="185523" y="265"/>
                  </a:moveTo>
                  <a:lnTo>
                    <a:pt x="7044" y="265"/>
                  </a:lnTo>
                  <a:cubicBezTo>
                    <a:pt x="2735" y="265"/>
                    <a:pt x="-479" y="4326"/>
                    <a:pt x="604" y="8497"/>
                  </a:cubicBezTo>
                  <a:cubicBezTo>
                    <a:pt x="1677" y="12628"/>
                    <a:pt x="3542" y="16476"/>
                    <a:pt x="6054" y="19845"/>
                  </a:cubicBezTo>
                  <a:cubicBezTo>
                    <a:pt x="10174" y="25355"/>
                    <a:pt x="16019" y="29576"/>
                    <a:pt x="22971" y="31654"/>
                  </a:cubicBezTo>
                  <a:lnTo>
                    <a:pt x="25617" y="32425"/>
                  </a:lnTo>
                  <a:cubicBezTo>
                    <a:pt x="38799" y="36343"/>
                    <a:pt x="48129" y="48068"/>
                    <a:pt x="48982" y="61803"/>
                  </a:cubicBezTo>
                  <a:lnTo>
                    <a:pt x="80708" y="576547"/>
                  </a:lnTo>
                  <a:cubicBezTo>
                    <a:pt x="80925" y="580043"/>
                    <a:pt x="83820" y="582766"/>
                    <a:pt x="87322" y="582766"/>
                  </a:cubicBezTo>
                  <a:lnTo>
                    <a:pt x="105245" y="582766"/>
                  </a:lnTo>
                  <a:cubicBezTo>
                    <a:pt x="108747" y="582766"/>
                    <a:pt x="111644" y="580043"/>
                    <a:pt x="111859" y="576547"/>
                  </a:cubicBezTo>
                  <a:lnTo>
                    <a:pt x="137649" y="157999"/>
                  </a:lnTo>
                  <a:cubicBezTo>
                    <a:pt x="138036" y="151717"/>
                    <a:pt x="146141" y="149463"/>
                    <a:pt x="149716" y="154641"/>
                  </a:cubicBezTo>
                  <a:lnTo>
                    <a:pt x="236487" y="280341"/>
                  </a:lnTo>
                  <a:cubicBezTo>
                    <a:pt x="238511" y="283274"/>
                    <a:pt x="242493" y="284080"/>
                    <a:pt x="245497" y="282167"/>
                  </a:cubicBezTo>
                  <a:lnTo>
                    <a:pt x="259382" y="273328"/>
                  </a:lnTo>
                  <a:cubicBezTo>
                    <a:pt x="262389" y="271415"/>
                    <a:pt x="263343" y="267465"/>
                    <a:pt x="261543" y="264391"/>
                  </a:cubicBezTo>
                  <a:lnTo>
                    <a:pt x="143518" y="62774"/>
                  </a:lnTo>
                  <a:lnTo>
                    <a:pt x="143585" y="61803"/>
                  </a:lnTo>
                  <a:cubicBezTo>
                    <a:pt x="144438" y="48068"/>
                    <a:pt x="153768" y="36343"/>
                    <a:pt x="166951" y="32425"/>
                  </a:cubicBezTo>
                  <a:lnTo>
                    <a:pt x="169597" y="31654"/>
                  </a:lnTo>
                  <a:cubicBezTo>
                    <a:pt x="180772" y="28324"/>
                    <a:pt x="189128" y="19406"/>
                    <a:pt x="191963" y="8498"/>
                  </a:cubicBezTo>
                  <a:cubicBezTo>
                    <a:pt x="193046" y="4328"/>
                    <a:pt x="189833" y="265"/>
                    <a:pt x="185523" y="265"/>
                  </a:cubicBezTo>
                </a:path>
              </a:pathLst>
            </a:custGeom>
            <a:solidFill>
              <a:schemeClr val="accent6">
                <a:lumMod val="60000"/>
                <a:lumOff val="40000"/>
              </a:schemeClr>
            </a:solidFill>
            <a:ln w="1617" cap="flat">
              <a:noFill/>
              <a:prstDash val="solid"/>
              <a:miter/>
            </a:ln>
          </p:spPr>
          <p:txBody>
            <a:bodyPr rtlCol="0" anchor="ctr"/>
            <a:lstStyle/>
            <a:p>
              <a:endParaRPr lang="en-GB"/>
            </a:p>
          </p:txBody>
        </p:sp>
        <p:sp>
          <p:nvSpPr>
            <p:cNvPr id="93" name="Vrije vorm: vorm 92">
              <a:extLst>
                <a:ext uri="{FF2B5EF4-FFF2-40B4-BE49-F238E27FC236}">
                  <a16:creationId xmlns:a16="http://schemas.microsoft.com/office/drawing/2014/main" id="{1129019B-4E08-8794-D0A6-2548D2A9AE0B}"/>
                </a:ext>
              </a:extLst>
            </p:cNvPr>
            <p:cNvSpPr/>
            <p:nvPr/>
          </p:nvSpPr>
          <p:spPr>
            <a:xfrm flipV="1">
              <a:off x="2968708" y="244799"/>
              <a:ext cx="102606" cy="582501"/>
            </a:xfrm>
            <a:custGeom>
              <a:avLst/>
              <a:gdLst>
                <a:gd name="connsiteX0" fmla="*/ 96301 w 102606"/>
                <a:gd name="connsiteY0" fmla="*/ 583125 h 582501"/>
                <a:gd name="connsiteX1" fmla="*/ 102923 w 102606"/>
                <a:gd name="connsiteY1" fmla="*/ 576267 h 582501"/>
                <a:gd name="connsiteX2" fmla="*/ 84990 w 102606"/>
                <a:gd name="connsiteY2" fmla="*/ 62161 h 582501"/>
                <a:gd name="connsiteX3" fmla="*/ 71740 w 102606"/>
                <a:gd name="connsiteY3" fmla="*/ 32783 h 582501"/>
                <a:gd name="connsiteX4" fmla="*/ 70249 w 102606"/>
                <a:gd name="connsiteY4" fmla="*/ 32012 h 582501"/>
                <a:gd name="connsiteX5" fmla="*/ 60670 w 102606"/>
                <a:gd name="connsiteY5" fmla="*/ 20204 h 582501"/>
                <a:gd name="connsiteX6" fmla="*/ 57301 w 102606"/>
                <a:gd name="connsiteY6" fmla="*/ 6634 h 582501"/>
                <a:gd name="connsiteX7" fmla="*/ 50708 w 102606"/>
                <a:gd name="connsiteY7" fmla="*/ 623 h 582501"/>
                <a:gd name="connsiteX8" fmla="*/ 6973 w 102606"/>
                <a:gd name="connsiteY8" fmla="*/ 623 h 582501"/>
                <a:gd name="connsiteX9" fmla="*/ 533 w 102606"/>
                <a:gd name="connsiteY9" fmla="*/ 8855 h 582501"/>
                <a:gd name="connsiteX10" fmla="*/ 5981 w 102606"/>
                <a:gd name="connsiteY10" fmla="*/ 20204 h 582501"/>
                <a:gd name="connsiteX11" fmla="*/ 22899 w 102606"/>
                <a:gd name="connsiteY11" fmla="*/ 32012 h 582501"/>
                <a:gd name="connsiteX12" fmla="*/ 25546 w 102606"/>
                <a:gd name="connsiteY12" fmla="*/ 32783 h 582501"/>
                <a:gd name="connsiteX13" fmla="*/ 48911 w 102606"/>
                <a:gd name="connsiteY13" fmla="*/ 62161 h 582501"/>
                <a:gd name="connsiteX14" fmla="*/ 80637 w 102606"/>
                <a:gd name="connsiteY14" fmla="*/ 576906 h 582501"/>
                <a:gd name="connsiteX15" fmla="*/ 87251 w 102606"/>
                <a:gd name="connsiteY15" fmla="*/ 583125 h 582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606" h="582501">
                  <a:moveTo>
                    <a:pt x="96301" y="583125"/>
                  </a:moveTo>
                  <a:cubicBezTo>
                    <a:pt x="100052" y="583125"/>
                    <a:pt x="103055" y="580014"/>
                    <a:pt x="102923" y="576267"/>
                  </a:cubicBezTo>
                  <a:lnTo>
                    <a:pt x="84990" y="62161"/>
                  </a:lnTo>
                  <a:cubicBezTo>
                    <a:pt x="84504" y="48426"/>
                    <a:pt x="79211" y="36701"/>
                    <a:pt x="71740" y="32783"/>
                  </a:cubicBezTo>
                  <a:lnTo>
                    <a:pt x="70249" y="32012"/>
                  </a:lnTo>
                  <a:cubicBezTo>
                    <a:pt x="66313" y="29935"/>
                    <a:pt x="62998" y="25714"/>
                    <a:pt x="60670" y="20204"/>
                  </a:cubicBezTo>
                  <a:cubicBezTo>
                    <a:pt x="58998" y="16236"/>
                    <a:pt x="57828" y="11606"/>
                    <a:pt x="57301" y="6634"/>
                  </a:cubicBezTo>
                  <a:cubicBezTo>
                    <a:pt x="56940" y="3232"/>
                    <a:pt x="54129" y="623"/>
                    <a:pt x="50708" y="623"/>
                  </a:cubicBezTo>
                  <a:lnTo>
                    <a:pt x="6973" y="623"/>
                  </a:lnTo>
                  <a:cubicBezTo>
                    <a:pt x="2663" y="623"/>
                    <a:pt x="-550" y="4684"/>
                    <a:pt x="533" y="8855"/>
                  </a:cubicBezTo>
                  <a:cubicBezTo>
                    <a:pt x="1606" y="12985"/>
                    <a:pt x="3469" y="16835"/>
                    <a:pt x="5981" y="20204"/>
                  </a:cubicBezTo>
                  <a:cubicBezTo>
                    <a:pt x="10103" y="25714"/>
                    <a:pt x="15948" y="29935"/>
                    <a:pt x="22899" y="32012"/>
                  </a:cubicBezTo>
                  <a:lnTo>
                    <a:pt x="25546" y="32783"/>
                  </a:lnTo>
                  <a:cubicBezTo>
                    <a:pt x="38727" y="36701"/>
                    <a:pt x="48056" y="48426"/>
                    <a:pt x="48911" y="62161"/>
                  </a:cubicBezTo>
                  <a:lnTo>
                    <a:pt x="80637" y="576906"/>
                  </a:lnTo>
                  <a:cubicBezTo>
                    <a:pt x="80852" y="580401"/>
                    <a:pt x="83749" y="583125"/>
                    <a:pt x="87251" y="583125"/>
                  </a:cubicBezTo>
                  <a:close/>
                </a:path>
              </a:pathLst>
            </a:custGeom>
            <a:solidFill>
              <a:srgbClr val="BE4E30"/>
            </a:solidFill>
            <a:ln w="1617" cap="flat">
              <a:noFill/>
              <a:prstDash val="solid"/>
              <a:miter/>
            </a:ln>
          </p:spPr>
          <p:txBody>
            <a:bodyPr rtlCol="0" anchor="ctr"/>
            <a:lstStyle/>
            <a:p>
              <a:endParaRPr lang="en-GB"/>
            </a:p>
          </p:txBody>
        </p:sp>
        <p:sp>
          <p:nvSpPr>
            <p:cNvPr id="94" name="Vrije vorm: vorm 93">
              <a:extLst>
                <a:ext uri="{FF2B5EF4-FFF2-40B4-BE49-F238E27FC236}">
                  <a16:creationId xmlns:a16="http://schemas.microsoft.com/office/drawing/2014/main" id="{4B018A86-C8B0-3E49-938E-47696B4F5A3A}"/>
                </a:ext>
              </a:extLst>
            </p:cNvPr>
            <p:cNvSpPr/>
            <p:nvPr/>
          </p:nvSpPr>
          <p:spPr>
            <a:xfrm flipV="1">
              <a:off x="2678344" y="-5155"/>
              <a:ext cx="799457" cy="635860"/>
            </a:xfrm>
            <a:custGeom>
              <a:avLst/>
              <a:gdLst>
                <a:gd name="connsiteX0" fmla="*/ 69116 w 799457"/>
                <a:gd name="connsiteY0" fmla="*/ 194205 h 635860"/>
                <a:gd name="connsiteX1" fmla="*/ 63343 w 799457"/>
                <a:gd name="connsiteY1" fmla="*/ 168952 h 635860"/>
                <a:gd name="connsiteX2" fmla="*/ 121358 w 799457"/>
                <a:gd name="connsiteY2" fmla="*/ 110937 h 635860"/>
                <a:gd name="connsiteX3" fmla="*/ 134827 w 799457"/>
                <a:gd name="connsiteY3" fmla="*/ 112525 h 635860"/>
                <a:gd name="connsiteX4" fmla="*/ 179373 w 799457"/>
                <a:gd name="connsiteY4" fmla="*/ 69195 h 635860"/>
                <a:gd name="connsiteX5" fmla="*/ 207537 w 799457"/>
                <a:gd name="connsiteY5" fmla="*/ 79224 h 635860"/>
                <a:gd name="connsiteX6" fmla="*/ 251649 w 799457"/>
                <a:gd name="connsiteY6" fmla="*/ 41053 h 635860"/>
                <a:gd name="connsiteX7" fmla="*/ 270268 w 799457"/>
                <a:gd name="connsiteY7" fmla="*/ 45129 h 635860"/>
                <a:gd name="connsiteX8" fmla="*/ 332109 w 799457"/>
                <a:gd name="connsiteY8" fmla="*/ 185 h 635860"/>
                <a:gd name="connsiteX9" fmla="*/ 392511 w 799457"/>
                <a:gd name="connsiteY9" fmla="*/ 41159 h 635860"/>
                <a:gd name="connsiteX10" fmla="*/ 429279 w 799457"/>
                <a:gd name="connsiteY10" fmla="*/ 21781 h 635860"/>
                <a:gd name="connsiteX11" fmla="*/ 466592 w 799457"/>
                <a:gd name="connsiteY11" fmla="*/ 41980 h 635860"/>
                <a:gd name="connsiteX12" fmla="*/ 509538 w 799457"/>
                <a:gd name="connsiteY12" fmla="*/ 9345 h 635860"/>
                <a:gd name="connsiteX13" fmla="*/ 553809 w 799457"/>
                <a:gd name="connsiteY13" fmla="*/ 48761 h 635860"/>
                <a:gd name="connsiteX14" fmla="*/ 608898 w 799457"/>
                <a:gd name="connsiteY14" fmla="*/ 24617 h 635860"/>
                <a:gd name="connsiteX15" fmla="*/ 683853 w 799457"/>
                <a:gd name="connsiteY15" fmla="*/ 99572 h 635860"/>
                <a:gd name="connsiteX16" fmla="*/ 681803 w 799457"/>
                <a:gd name="connsiteY16" fmla="*/ 116963 h 635860"/>
                <a:gd name="connsiteX17" fmla="*/ 704175 w 799457"/>
                <a:gd name="connsiteY17" fmla="*/ 110937 h 635860"/>
                <a:gd name="connsiteX18" fmla="*/ 748752 w 799457"/>
                <a:gd name="connsiteY18" fmla="*/ 155514 h 635860"/>
                <a:gd name="connsiteX19" fmla="*/ 737299 w 799457"/>
                <a:gd name="connsiteY19" fmla="*/ 185341 h 635860"/>
                <a:gd name="connsiteX20" fmla="*/ 799595 w 799457"/>
                <a:gd name="connsiteY20" fmla="*/ 259209 h 635860"/>
                <a:gd name="connsiteX21" fmla="*/ 724640 w 799457"/>
                <a:gd name="connsiteY21" fmla="*/ 334164 h 635860"/>
                <a:gd name="connsiteX22" fmla="*/ 718369 w 799457"/>
                <a:gd name="connsiteY22" fmla="*/ 333883 h 635860"/>
                <a:gd name="connsiteX23" fmla="*/ 718376 w 799457"/>
                <a:gd name="connsiteY23" fmla="*/ 334164 h 635860"/>
                <a:gd name="connsiteX24" fmla="*/ 673798 w 799457"/>
                <a:gd name="connsiteY24" fmla="*/ 378741 h 635860"/>
                <a:gd name="connsiteX25" fmla="*/ 639099 w 799457"/>
                <a:gd name="connsiteY25" fmla="*/ 362136 h 635860"/>
                <a:gd name="connsiteX26" fmla="*/ 639123 w 799457"/>
                <a:gd name="connsiteY26" fmla="*/ 363126 h 635860"/>
                <a:gd name="connsiteX27" fmla="*/ 594546 w 799457"/>
                <a:gd name="connsiteY27" fmla="*/ 407703 h 635860"/>
                <a:gd name="connsiteX28" fmla="*/ 559988 w 799457"/>
                <a:gd name="connsiteY28" fmla="*/ 391278 h 635860"/>
                <a:gd name="connsiteX29" fmla="*/ 560010 w 799457"/>
                <a:gd name="connsiteY29" fmla="*/ 392177 h 635860"/>
                <a:gd name="connsiteX30" fmla="*/ 524231 w 799457"/>
                <a:gd name="connsiteY30" fmla="*/ 445772 h 635860"/>
                <a:gd name="connsiteX31" fmla="*/ 533944 w 799457"/>
                <a:gd name="connsiteY31" fmla="*/ 482656 h 635860"/>
                <a:gd name="connsiteX32" fmla="*/ 458991 w 799457"/>
                <a:gd name="connsiteY32" fmla="*/ 557612 h 635860"/>
                <a:gd name="connsiteX33" fmla="*/ 420115 w 799457"/>
                <a:gd name="connsiteY33" fmla="*/ 546754 h 635860"/>
                <a:gd name="connsiteX34" fmla="*/ 429279 w 799457"/>
                <a:gd name="connsiteY34" fmla="*/ 578030 h 635860"/>
                <a:gd name="connsiteX35" fmla="*/ 371264 w 799457"/>
                <a:gd name="connsiteY35" fmla="*/ 636045 h 635860"/>
                <a:gd name="connsiteX36" fmla="*/ 320996 w 799457"/>
                <a:gd name="connsiteY36" fmla="*/ 606977 h 635860"/>
                <a:gd name="connsiteX37" fmla="*/ 296226 w 799457"/>
                <a:gd name="connsiteY37" fmla="*/ 614490 h 635860"/>
                <a:gd name="connsiteX38" fmla="*/ 251649 w 799457"/>
                <a:gd name="connsiteY38" fmla="*/ 569913 h 635860"/>
                <a:gd name="connsiteX39" fmla="*/ 251699 w 799457"/>
                <a:gd name="connsiteY39" fmla="*/ 567912 h 635860"/>
                <a:gd name="connsiteX40" fmla="*/ 206839 w 799457"/>
                <a:gd name="connsiteY40" fmla="*/ 585019 h 635860"/>
                <a:gd name="connsiteX41" fmla="*/ 139425 w 799457"/>
                <a:gd name="connsiteY41" fmla="*/ 517607 h 635860"/>
                <a:gd name="connsiteX42" fmla="*/ 140634 w 799457"/>
                <a:gd name="connsiteY42" fmla="*/ 504915 h 635860"/>
                <a:gd name="connsiteX43" fmla="*/ 121358 w 799457"/>
                <a:gd name="connsiteY43" fmla="*/ 508207 h 635860"/>
                <a:gd name="connsiteX44" fmla="*/ 63343 w 799457"/>
                <a:gd name="connsiteY44" fmla="*/ 450192 h 635860"/>
                <a:gd name="connsiteX45" fmla="*/ 73292 w 799457"/>
                <a:gd name="connsiteY45" fmla="*/ 417700 h 635860"/>
                <a:gd name="connsiteX46" fmla="*/ 63343 w 799457"/>
                <a:gd name="connsiteY46" fmla="*/ 418829 h 635860"/>
                <a:gd name="connsiteX47" fmla="*/ 18766 w 799457"/>
                <a:gd name="connsiteY47" fmla="*/ 374250 h 635860"/>
                <a:gd name="connsiteX48" fmla="*/ 41034 w 799457"/>
                <a:gd name="connsiteY48" fmla="*/ 335664 h 635860"/>
                <a:gd name="connsiteX49" fmla="*/ 138 w 799457"/>
                <a:gd name="connsiteY49" fmla="*/ 268901 h 635860"/>
                <a:gd name="connsiteX50" fmla="*/ 69116 w 799457"/>
                <a:gd name="connsiteY50" fmla="*/ 194205 h 63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99457" h="635860">
                  <a:moveTo>
                    <a:pt x="69116" y="194205"/>
                  </a:moveTo>
                  <a:cubicBezTo>
                    <a:pt x="65419" y="186570"/>
                    <a:pt x="63343" y="178003"/>
                    <a:pt x="63343" y="168952"/>
                  </a:cubicBezTo>
                  <a:cubicBezTo>
                    <a:pt x="63343" y="136911"/>
                    <a:pt x="89318" y="110937"/>
                    <a:pt x="121358" y="110937"/>
                  </a:cubicBezTo>
                  <a:cubicBezTo>
                    <a:pt x="125997" y="110937"/>
                    <a:pt x="130502" y="111498"/>
                    <a:pt x="134827" y="112525"/>
                  </a:cubicBezTo>
                  <a:cubicBezTo>
                    <a:pt x="135489" y="88485"/>
                    <a:pt x="155172" y="69195"/>
                    <a:pt x="179373" y="69195"/>
                  </a:cubicBezTo>
                  <a:cubicBezTo>
                    <a:pt x="190055" y="69195"/>
                    <a:pt x="199858" y="72958"/>
                    <a:pt x="207537" y="79224"/>
                  </a:cubicBezTo>
                  <a:cubicBezTo>
                    <a:pt x="210644" y="57642"/>
                    <a:pt x="229205" y="41053"/>
                    <a:pt x="251649" y="41053"/>
                  </a:cubicBezTo>
                  <a:cubicBezTo>
                    <a:pt x="258299" y="41053"/>
                    <a:pt x="264601" y="42519"/>
                    <a:pt x="270268" y="45129"/>
                  </a:cubicBezTo>
                  <a:cubicBezTo>
                    <a:pt x="278726" y="19048"/>
                    <a:pt x="303209" y="185"/>
                    <a:pt x="332109" y="185"/>
                  </a:cubicBezTo>
                  <a:cubicBezTo>
                    <a:pt x="359518" y="185"/>
                    <a:pt x="382951" y="17157"/>
                    <a:pt x="392511" y="41159"/>
                  </a:cubicBezTo>
                  <a:cubicBezTo>
                    <a:pt x="400546" y="29459"/>
                    <a:pt x="414014" y="21781"/>
                    <a:pt x="429279" y="21781"/>
                  </a:cubicBezTo>
                  <a:cubicBezTo>
                    <a:pt x="444897" y="21781"/>
                    <a:pt x="458631" y="29820"/>
                    <a:pt x="466592" y="41980"/>
                  </a:cubicBezTo>
                  <a:cubicBezTo>
                    <a:pt x="471814" y="23162"/>
                    <a:pt x="489057" y="9345"/>
                    <a:pt x="509538" y="9345"/>
                  </a:cubicBezTo>
                  <a:cubicBezTo>
                    <a:pt x="532411" y="9345"/>
                    <a:pt x="551250" y="26574"/>
                    <a:pt x="553809" y="48761"/>
                  </a:cubicBezTo>
                  <a:cubicBezTo>
                    <a:pt x="567504" y="33922"/>
                    <a:pt x="587112" y="24617"/>
                    <a:pt x="608898" y="24617"/>
                  </a:cubicBezTo>
                  <a:cubicBezTo>
                    <a:pt x="650295" y="24617"/>
                    <a:pt x="683853" y="58177"/>
                    <a:pt x="683853" y="99572"/>
                  </a:cubicBezTo>
                  <a:cubicBezTo>
                    <a:pt x="683853" y="105562"/>
                    <a:pt x="683129" y="111379"/>
                    <a:pt x="681803" y="116963"/>
                  </a:cubicBezTo>
                  <a:cubicBezTo>
                    <a:pt x="688379" y="113138"/>
                    <a:pt x="696018" y="110937"/>
                    <a:pt x="704175" y="110937"/>
                  </a:cubicBezTo>
                  <a:cubicBezTo>
                    <a:pt x="728794" y="110937"/>
                    <a:pt x="748752" y="130895"/>
                    <a:pt x="748752" y="155514"/>
                  </a:cubicBezTo>
                  <a:cubicBezTo>
                    <a:pt x="748752" y="166985"/>
                    <a:pt x="744416" y="177441"/>
                    <a:pt x="737299" y="185341"/>
                  </a:cubicBezTo>
                  <a:cubicBezTo>
                    <a:pt x="772664" y="191358"/>
                    <a:pt x="799595" y="222130"/>
                    <a:pt x="799595" y="259209"/>
                  </a:cubicBezTo>
                  <a:cubicBezTo>
                    <a:pt x="799595" y="300605"/>
                    <a:pt x="766037" y="334164"/>
                    <a:pt x="724640" y="334164"/>
                  </a:cubicBezTo>
                  <a:cubicBezTo>
                    <a:pt x="722526" y="334164"/>
                    <a:pt x="720439" y="334053"/>
                    <a:pt x="718369" y="333883"/>
                  </a:cubicBezTo>
                  <a:cubicBezTo>
                    <a:pt x="718369" y="333977"/>
                    <a:pt x="718376" y="334070"/>
                    <a:pt x="718376" y="334164"/>
                  </a:cubicBezTo>
                  <a:cubicBezTo>
                    <a:pt x="718376" y="358783"/>
                    <a:pt x="698418" y="378741"/>
                    <a:pt x="673798" y="378741"/>
                  </a:cubicBezTo>
                  <a:cubicBezTo>
                    <a:pt x="659775" y="378741"/>
                    <a:pt x="647270" y="372258"/>
                    <a:pt x="639099" y="362136"/>
                  </a:cubicBezTo>
                  <a:cubicBezTo>
                    <a:pt x="639105" y="362466"/>
                    <a:pt x="639123" y="362794"/>
                    <a:pt x="639123" y="363126"/>
                  </a:cubicBezTo>
                  <a:cubicBezTo>
                    <a:pt x="639123" y="387745"/>
                    <a:pt x="619165" y="407703"/>
                    <a:pt x="594546" y="407703"/>
                  </a:cubicBezTo>
                  <a:cubicBezTo>
                    <a:pt x="580604" y="407703"/>
                    <a:pt x="568161" y="401300"/>
                    <a:pt x="559988" y="391278"/>
                  </a:cubicBezTo>
                  <a:cubicBezTo>
                    <a:pt x="559993" y="391579"/>
                    <a:pt x="560010" y="391876"/>
                    <a:pt x="560010" y="392177"/>
                  </a:cubicBezTo>
                  <a:cubicBezTo>
                    <a:pt x="560010" y="416340"/>
                    <a:pt x="545236" y="437045"/>
                    <a:pt x="524231" y="445772"/>
                  </a:cubicBezTo>
                  <a:cubicBezTo>
                    <a:pt x="530403" y="456663"/>
                    <a:pt x="533944" y="469243"/>
                    <a:pt x="533944" y="482656"/>
                  </a:cubicBezTo>
                  <a:cubicBezTo>
                    <a:pt x="533944" y="524053"/>
                    <a:pt x="500386" y="557612"/>
                    <a:pt x="458991" y="557612"/>
                  </a:cubicBezTo>
                  <a:cubicBezTo>
                    <a:pt x="444757" y="557612"/>
                    <a:pt x="431450" y="553643"/>
                    <a:pt x="420115" y="546754"/>
                  </a:cubicBezTo>
                  <a:cubicBezTo>
                    <a:pt x="425907" y="555781"/>
                    <a:pt x="429279" y="566509"/>
                    <a:pt x="429279" y="578030"/>
                  </a:cubicBezTo>
                  <a:cubicBezTo>
                    <a:pt x="429279" y="610069"/>
                    <a:pt x="403305" y="636045"/>
                    <a:pt x="371264" y="636045"/>
                  </a:cubicBezTo>
                  <a:cubicBezTo>
                    <a:pt x="349770" y="636045"/>
                    <a:pt x="331020" y="624345"/>
                    <a:pt x="320996" y="606977"/>
                  </a:cubicBezTo>
                  <a:cubicBezTo>
                    <a:pt x="313911" y="611721"/>
                    <a:pt x="305393" y="614490"/>
                    <a:pt x="296226" y="614490"/>
                  </a:cubicBezTo>
                  <a:cubicBezTo>
                    <a:pt x="271607" y="614490"/>
                    <a:pt x="251649" y="594532"/>
                    <a:pt x="251649" y="569913"/>
                  </a:cubicBezTo>
                  <a:cubicBezTo>
                    <a:pt x="251649" y="569242"/>
                    <a:pt x="251670" y="568575"/>
                    <a:pt x="251699" y="567912"/>
                  </a:cubicBezTo>
                  <a:cubicBezTo>
                    <a:pt x="239781" y="578547"/>
                    <a:pt x="224069" y="585019"/>
                    <a:pt x="206839" y="585019"/>
                  </a:cubicBezTo>
                  <a:cubicBezTo>
                    <a:pt x="169608" y="585019"/>
                    <a:pt x="139425" y="554838"/>
                    <a:pt x="139425" y="517607"/>
                  </a:cubicBezTo>
                  <a:cubicBezTo>
                    <a:pt x="139425" y="513266"/>
                    <a:pt x="139851" y="509027"/>
                    <a:pt x="140634" y="504915"/>
                  </a:cubicBezTo>
                  <a:cubicBezTo>
                    <a:pt x="134602" y="507040"/>
                    <a:pt x="128118" y="508207"/>
                    <a:pt x="121358" y="508207"/>
                  </a:cubicBezTo>
                  <a:cubicBezTo>
                    <a:pt x="89318" y="508207"/>
                    <a:pt x="63343" y="482234"/>
                    <a:pt x="63343" y="450192"/>
                  </a:cubicBezTo>
                  <a:cubicBezTo>
                    <a:pt x="63343" y="438153"/>
                    <a:pt x="67012" y="426971"/>
                    <a:pt x="73292" y="417700"/>
                  </a:cubicBezTo>
                  <a:cubicBezTo>
                    <a:pt x="70090" y="418431"/>
                    <a:pt x="66764" y="418829"/>
                    <a:pt x="63343" y="418829"/>
                  </a:cubicBezTo>
                  <a:cubicBezTo>
                    <a:pt x="38724" y="418829"/>
                    <a:pt x="18766" y="398871"/>
                    <a:pt x="18766" y="374250"/>
                  </a:cubicBezTo>
                  <a:cubicBezTo>
                    <a:pt x="18766" y="357762"/>
                    <a:pt x="27724" y="343374"/>
                    <a:pt x="41034" y="335664"/>
                  </a:cubicBezTo>
                  <a:cubicBezTo>
                    <a:pt x="16764" y="323257"/>
                    <a:pt x="138" y="298028"/>
                    <a:pt x="138" y="268901"/>
                  </a:cubicBezTo>
                  <a:cubicBezTo>
                    <a:pt x="138" y="229520"/>
                    <a:pt x="30518" y="197254"/>
                    <a:pt x="69116" y="194205"/>
                  </a:cubicBezTo>
                </a:path>
              </a:pathLst>
            </a:custGeom>
            <a:solidFill>
              <a:schemeClr val="accent2">
                <a:lumMod val="40000"/>
                <a:lumOff val="60000"/>
              </a:schemeClr>
            </a:solidFill>
            <a:ln w="1617" cap="flat">
              <a:noFill/>
              <a:prstDash val="solid"/>
              <a:miter/>
            </a:ln>
          </p:spPr>
          <p:txBody>
            <a:bodyPr rtlCol="0" anchor="ctr"/>
            <a:lstStyle/>
            <a:p>
              <a:endParaRPr lang="en-GB"/>
            </a:p>
          </p:txBody>
        </p:sp>
        <p:sp>
          <p:nvSpPr>
            <p:cNvPr id="95" name="Vrije vorm: vorm 94">
              <a:extLst>
                <a:ext uri="{FF2B5EF4-FFF2-40B4-BE49-F238E27FC236}">
                  <a16:creationId xmlns:a16="http://schemas.microsoft.com/office/drawing/2014/main" id="{499C9FCA-E1DD-3133-7E7D-0CE151AE6011}"/>
                </a:ext>
              </a:extLst>
            </p:cNvPr>
            <p:cNvSpPr/>
            <p:nvPr/>
          </p:nvSpPr>
          <p:spPr>
            <a:xfrm flipV="1">
              <a:off x="2678345" y="-5146"/>
              <a:ext cx="425289" cy="635865"/>
            </a:xfrm>
            <a:custGeom>
              <a:avLst/>
              <a:gdLst>
                <a:gd name="connsiteX0" fmla="*/ 367971 w 425289"/>
                <a:gd name="connsiteY0" fmla="*/ 584048 h 635865"/>
                <a:gd name="connsiteX1" fmla="*/ 413899 w 425289"/>
                <a:gd name="connsiteY1" fmla="*/ 566527 h 635865"/>
                <a:gd name="connsiteX2" fmla="*/ 413848 w 425289"/>
                <a:gd name="connsiteY2" fmla="*/ 568587 h 635865"/>
                <a:gd name="connsiteX3" fmla="*/ 425573 w 425289"/>
                <a:gd name="connsiteY3" fmla="*/ 599105 h 635865"/>
                <a:gd name="connsiteX4" fmla="*/ 371421 w 425289"/>
                <a:gd name="connsiteY4" fmla="*/ 636289 h 635865"/>
                <a:gd name="connsiteX5" fmla="*/ 321138 w 425289"/>
                <a:gd name="connsiteY5" fmla="*/ 607230 h 635865"/>
                <a:gd name="connsiteX6" fmla="*/ 296383 w 425289"/>
                <a:gd name="connsiteY6" fmla="*/ 614733 h 635865"/>
                <a:gd name="connsiteX7" fmla="*/ 251796 w 425289"/>
                <a:gd name="connsiteY7" fmla="*/ 570163 h 635865"/>
                <a:gd name="connsiteX8" fmla="*/ 251846 w 425289"/>
                <a:gd name="connsiteY8" fmla="*/ 568151 h 635865"/>
                <a:gd name="connsiteX9" fmla="*/ 206989 w 425289"/>
                <a:gd name="connsiteY9" fmla="*/ 585270 h 635865"/>
                <a:gd name="connsiteX10" fmla="*/ 139573 w 425289"/>
                <a:gd name="connsiteY10" fmla="*/ 517853 h 635865"/>
                <a:gd name="connsiteX11" fmla="*/ 140778 w 425289"/>
                <a:gd name="connsiteY11" fmla="*/ 505156 h 635865"/>
                <a:gd name="connsiteX12" fmla="*/ 121516 w 425289"/>
                <a:gd name="connsiteY12" fmla="*/ 508457 h 635865"/>
                <a:gd name="connsiteX13" fmla="*/ 63496 w 425289"/>
                <a:gd name="connsiteY13" fmla="*/ 450435 h 635865"/>
                <a:gd name="connsiteX14" fmla="*/ 73445 w 425289"/>
                <a:gd name="connsiteY14" fmla="*/ 417942 h 635865"/>
                <a:gd name="connsiteX15" fmla="*/ 63496 w 425289"/>
                <a:gd name="connsiteY15" fmla="*/ 419080 h 635865"/>
                <a:gd name="connsiteX16" fmla="*/ 18926 w 425289"/>
                <a:gd name="connsiteY16" fmla="*/ 374493 h 635865"/>
                <a:gd name="connsiteX17" fmla="*/ 41186 w 425289"/>
                <a:gd name="connsiteY17" fmla="*/ 335902 h 635865"/>
                <a:gd name="connsiteX18" fmla="*/ 283 w 425289"/>
                <a:gd name="connsiteY18" fmla="*/ 269155 h 635865"/>
                <a:gd name="connsiteX19" fmla="*/ 69275 w 425289"/>
                <a:gd name="connsiteY19" fmla="*/ 194452 h 635865"/>
                <a:gd name="connsiteX20" fmla="*/ 63496 w 425289"/>
                <a:gd name="connsiteY20" fmla="*/ 169193 h 635865"/>
                <a:gd name="connsiteX21" fmla="*/ 121516 w 425289"/>
                <a:gd name="connsiteY21" fmla="*/ 111188 h 635865"/>
                <a:gd name="connsiteX22" fmla="*/ 134984 w 425289"/>
                <a:gd name="connsiteY22" fmla="*/ 112763 h 635865"/>
                <a:gd name="connsiteX23" fmla="*/ 179520 w 425289"/>
                <a:gd name="connsiteY23" fmla="*/ 69448 h 635865"/>
                <a:gd name="connsiteX24" fmla="*/ 207693 w 425289"/>
                <a:gd name="connsiteY24" fmla="*/ 79465 h 635865"/>
                <a:gd name="connsiteX25" fmla="*/ 251796 w 425289"/>
                <a:gd name="connsiteY25" fmla="*/ 41293 h 635865"/>
                <a:gd name="connsiteX26" fmla="*/ 270420 w 425289"/>
                <a:gd name="connsiteY26" fmla="*/ 45380 h 635865"/>
                <a:gd name="connsiteX27" fmla="*/ 332261 w 425289"/>
                <a:gd name="connsiteY27" fmla="*/ 424 h 635865"/>
                <a:gd name="connsiteX28" fmla="*/ 389292 w 425289"/>
                <a:gd name="connsiteY28" fmla="*/ 34291 h 635865"/>
                <a:gd name="connsiteX29" fmla="*/ 368691 w 425289"/>
                <a:gd name="connsiteY29" fmla="*/ 66200 h 635865"/>
                <a:gd name="connsiteX30" fmla="*/ 339848 w 425289"/>
                <a:gd name="connsiteY30" fmla="*/ 55932 h 635865"/>
                <a:gd name="connsiteX31" fmla="*/ 294238 w 425289"/>
                <a:gd name="connsiteY31" fmla="*/ 100285 h 635865"/>
                <a:gd name="connsiteX32" fmla="*/ 280454 w 425289"/>
                <a:gd name="connsiteY32" fmla="*/ 98660 h 635865"/>
                <a:gd name="connsiteX33" fmla="*/ 221060 w 425289"/>
                <a:gd name="connsiteY33" fmla="*/ 158054 h 635865"/>
                <a:gd name="connsiteX34" fmla="*/ 226972 w 425289"/>
                <a:gd name="connsiteY34" fmla="*/ 183916 h 635865"/>
                <a:gd name="connsiteX35" fmla="*/ 156340 w 425289"/>
                <a:gd name="connsiteY35" fmla="*/ 260394 h 635865"/>
                <a:gd name="connsiteX36" fmla="*/ 198213 w 425289"/>
                <a:gd name="connsiteY36" fmla="*/ 328750 h 635865"/>
                <a:gd name="connsiteX37" fmla="*/ 175416 w 425289"/>
                <a:gd name="connsiteY37" fmla="*/ 368263 h 635865"/>
                <a:gd name="connsiteX38" fmla="*/ 221060 w 425289"/>
                <a:gd name="connsiteY38" fmla="*/ 413888 h 635865"/>
                <a:gd name="connsiteX39" fmla="*/ 231243 w 425289"/>
                <a:gd name="connsiteY39" fmla="*/ 412732 h 635865"/>
                <a:gd name="connsiteX40" fmla="*/ 221060 w 425289"/>
                <a:gd name="connsiteY40" fmla="*/ 446014 h 635865"/>
                <a:gd name="connsiteX41" fmla="*/ 280454 w 425289"/>
                <a:gd name="connsiteY41" fmla="*/ 505408 h 635865"/>
                <a:gd name="connsiteX42" fmla="*/ 300202 w 425289"/>
                <a:gd name="connsiteY42" fmla="*/ 502041 h 635865"/>
                <a:gd name="connsiteX43" fmla="*/ 298961 w 425289"/>
                <a:gd name="connsiteY43" fmla="*/ 515022 h 635865"/>
                <a:gd name="connsiteX44" fmla="*/ 367971 w 425289"/>
                <a:gd name="connsiteY44" fmla="*/ 584048 h 63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25289" h="635865">
                  <a:moveTo>
                    <a:pt x="367971" y="584048"/>
                  </a:moveTo>
                  <a:cubicBezTo>
                    <a:pt x="385624" y="584048"/>
                    <a:pt x="401705" y="577416"/>
                    <a:pt x="413899" y="566527"/>
                  </a:cubicBezTo>
                  <a:cubicBezTo>
                    <a:pt x="413881" y="567213"/>
                    <a:pt x="413848" y="567901"/>
                    <a:pt x="413848" y="568587"/>
                  </a:cubicBezTo>
                  <a:cubicBezTo>
                    <a:pt x="413848" y="580313"/>
                    <a:pt x="418269" y="591016"/>
                    <a:pt x="425573" y="599105"/>
                  </a:cubicBezTo>
                  <a:cubicBezTo>
                    <a:pt x="417198" y="620863"/>
                    <a:pt x="396110" y="636289"/>
                    <a:pt x="371421" y="636289"/>
                  </a:cubicBezTo>
                  <a:cubicBezTo>
                    <a:pt x="349915" y="636289"/>
                    <a:pt x="331172" y="624599"/>
                    <a:pt x="321138" y="607230"/>
                  </a:cubicBezTo>
                  <a:cubicBezTo>
                    <a:pt x="314071" y="611969"/>
                    <a:pt x="305544" y="614733"/>
                    <a:pt x="296383" y="614733"/>
                  </a:cubicBezTo>
                  <a:cubicBezTo>
                    <a:pt x="271760" y="614733"/>
                    <a:pt x="251796" y="594785"/>
                    <a:pt x="251796" y="570163"/>
                  </a:cubicBezTo>
                  <a:cubicBezTo>
                    <a:pt x="251796" y="569493"/>
                    <a:pt x="251828" y="568823"/>
                    <a:pt x="251846" y="568151"/>
                  </a:cubicBezTo>
                  <a:cubicBezTo>
                    <a:pt x="239936" y="578788"/>
                    <a:pt x="224225" y="585270"/>
                    <a:pt x="206989" y="585270"/>
                  </a:cubicBezTo>
                  <a:cubicBezTo>
                    <a:pt x="169755" y="585270"/>
                    <a:pt x="139573" y="555087"/>
                    <a:pt x="139573" y="517853"/>
                  </a:cubicBezTo>
                  <a:cubicBezTo>
                    <a:pt x="139573" y="513515"/>
                    <a:pt x="140008" y="509278"/>
                    <a:pt x="140778" y="505156"/>
                  </a:cubicBezTo>
                  <a:cubicBezTo>
                    <a:pt x="134749" y="507284"/>
                    <a:pt x="128267" y="508457"/>
                    <a:pt x="121516" y="508457"/>
                  </a:cubicBezTo>
                  <a:cubicBezTo>
                    <a:pt x="89475" y="508457"/>
                    <a:pt x="63496" y="482478"/>
                    <a:pt x="63496" y="450435"/>
                  </a:cubicBezTo>
                  <a:cubicBezTo>
                    <a:pt x="63496" y="438392"/>
                    <a:pt x="67164" y="427221"/>
                    <a:pt x="73445" y="417942"/>
                  </a:cubicBezTo>
                  <a:cubicBezTo>
                    <a:pt x="70245" y="418678"/>
                    <a:pt x="66912" y="419080"/>
                    <a:pt x="63496" y="419080"/>
                  </a:cubicBezTo>
                  <a:cubicBezTo>
                    <a:pt x="38874" y="419080"/>
                    <a:pt x="18926" y="399116"/>
                    <a:pt x="18926" y="374493"/>
                  </a:cubicBezTo>
                  <a:cubicBezTo>
                    <a:pt x="18926" y="358011"/>
                    <a:pt x="27870" y="343624"/>
                    <a:pt x="41186" y="335902"/>
                  </a:cubicBezTo>
                  <a:cubicBezTo>
                    <a:pt x="16915" y="323507"/>
                    <a:pt x="283" y="298283"/>
                    <a:pt x="283" y="269155"/>
                  </a:cubicBezTo>
                  <a:cubicBezTo>
                    <a:pt x="283" y="229759"/>
                    <a:pt x="30666" y="197500"/>
                    <a:pt x="69275" y="194452"/>
                  </a:cubicBezTo>
                  <a:cubicBezTo>
                    <a:pt x="65573" y="186813"/>
                    <a:pt x="63496" y="178254"/>
                    <a:pt x="63496" y="169193"/>
                  </a:cubicBezTo>
                  <a:cubicBezTo>
                    <a:pt x="63496" y="137150"/>
                    <a:pt x="89475" y="111188"/>
                    <a:pt x="121516" y="111188"/>
                  </a:cubicBezTo>
                  <a:cubicBezTo>
                    <a:pt x="126157" y="111188"/>
                    <a:pt x="130662" y="111742"/>
                    <a:pt x="134984" y="112763"/>
                  </a:cubicBezTo>
                  <a:cubicBezTo>
                    <a:pt x="135637" y="88728"/>
                    <a:pt x="155317" y="69448"/>
                    <a:pt x="179520" y="69448"/>
                  </a:cubicBezTo>
                  <a:cubicBezTo>
                    <a:pt x="190207" y="69448"/>
                    <a:pt x="200005" y="73201"/>
                    <a:pt x="207693" y="79465"/>
                  </a:cubicBezTo>
                  <a:cubicBezTo>
                    <a:pt x="210792" y="57891"/>
                    <a:pt x="229350" y="41293"/>
                    <a:pt x="251796" y="41293"/>
                  </a:cubicBezTo>
                  <a:cubicBezTo>
                    <a:pt x="258444" y="41293"/>
                    <a:pt x="264759" y="42766"/>
                    <a:pt x="270420" y="45380"/>
                  </a:cubicBezTo>
                  <a:cubicBezTo>
                    <a:pt x="278880" y="19301"/>
                    <a:pt x="303367" y="424"/>
                    <a:pt x="332261" y="424"/>
                  </a:cubicBezTo>
                  <a:cubicBezTo>
                    <a:pt x="356866" y="424"/>
                    <a:pt x="378272" y="14108"/>
                    <a:pt x="389292" y="34291"/>
                  </a:cubicBezTo>
                  <a:cubicBezTo>
                    <a:pt x="378371" y="41275"/>
                    <a:pt x="370618" y="52801"/>
                    <a:pt x="368691" y="66200"/>
                  </a:cubicBezTo>
                  <a:cubicBezTo>
                    <a:pt x="360835" y="59784"/>
                    <a:pt x="350785" y="55932"/>
                    <a:pt x="339848" y="55932"/>
                  </a:cubicBezTo>
                  <a:cubicBezTo>
                    <a:pt x="315075" y="55932"/>
                    <a:pt x="294926" y="75679"/>
                    <a:pt x="294238" y="100285"/>
                  </a:cubicBezTo>
                  <a:cubicBezTo>
                    <a:pt x="289817" y="99230"/>
                    <a:pt x="285211" y="98660"/>
                    <a:pt x="280454" y="98660"/>
                  </a:cubicBezTo>
                  <a:cubicBezTo>
                    <a:pt x="247658" y="98660"/>
                    <a:pt x="221060" y="125258"/>
                    <a:pt x="221060" y="158054"/>
                  </a:cubicBezTo>
                  <a:cubicBezTo>
                    <a:pt x="221060" y="167333"/>
                    <a:pt x="223187" y="176094"/>
                    <a:pt x="226972" y="183916"/>
                  </a:cubicBezTo>
                  <a:cubicBezTo>
                    <a:pt x="187443" y="187031"/>
                    <a:pt x="156340" y="220077"/>
                    <a:pt x="156340" y="260394"/>
                  </a:cubicBezTo>
                  <a:cubicBezTo>
                    <a:pt x="156340" y="290208"/>
                    <a:pt x="173374" y="316036"/>
                    <a:pt x="198213" y="328750"/>
                  </a:cubicBezTo>
                  <a:cubicBezTo>
                    <a:pt x="184596" y="336639"/>
                    <a:pt x="175416" y="351378"/>
                    <a:pt x="175416" y="368263"/>
                  </a:cubicBezTo>
                  <a:cubicBezTo>
                    <a:pt x="175416" y="393454"/>
                    <a:pt x="195852" y="413888"/>
                    <a:pt x="221060" y="413888"/>
                  </a:cubicBezTo>
                  <a:cubicBezTo>
                    <a:pt x="224560" y="413888"/>
                    <a:pt x="227960" y="413487"/>
                    <a:pt x="231243" y="412732"/>
                  </a:cubicBezTo>
                  <a:cubicBezTo>
                    <a:pt x="224811" y="422229"/>
                    <a:pt x="221060" y="433687"/>
                    <a:pt x="221060" y="446014"/>
                  </a:cubicBezTo>
                  <a:cubicBezTo>
                    <a:pt x="221060" y="478810"/>
                    <a:pt x="247658" y="505408"/>
                    <a:pt x="280454" y="505408"/>
                  </a:cubicBezTo>
                  <a:cubicBezTo>
                    <a:pt x="287372" y="505408"/>
                    <a:pt x="294020" y="504202"/>
                    <a:pt x="300202" y="502041"/>
                  </a:cubicBezTo>
                  <a:cubicBezTo>
                    <a:pt x="299397" y="506246"/>
                    <a:pt x="298961" y="510583"/>
                    <a:pt x="298961" y="515022"/>
                  </a:cubicBezTo>
                  <a:cubicBezTo>
                    <a:pt x="298961" y="553144"/>
                    <a:pt x="329848" y="584048"/>
                    <a:pt x="367971" y="584048"/>
                  </a:cubicBezTo>
                </a:path>
              </a:pathLst>
            </a:custGeom>
            <a:solidFill>
              <a:schemeClr val="accent2">
                <a:lumMod val="60000"/>
                <a:lumOff val="40000"/>
              </a:schemeClr>
            </a:solidFill>
            <a:ln w="1617" cap="flat">
              <a:noFill/>
              <a:prstDash val="solid"/>
              <a:miter/>
            </a:ln>
          </p:spPr>
          <p:txBody>
            <a:bodyPr rtlCol="0" anchor="ctr"/>
            <a:lstStyle/>
            <a:p>
              <a:endParaRPr lang="en-GB"/>
            </a:p>
          </p:txBody>
        </p:sp>
        <p:sp>
          <p:nvSpPr>
            <p:cNvPr id="96" name="Vrije vorm: vorm 95">
              <a:extLst>
                <a:ext uri="{FF2B5EF4-FFF2-40B4-BE49-F238E27FC236}">
                  <a16:creationId xmlns:a16="http://schemas.microsoft.com/office/drawing/2014/main" id="{DFA07351-A92D-9753-24F7-C6D27BB7FB66}"/>
                </a:ext>
              </a:extLst>
            </p:cNvPr>
            <p:cNvSpPr/>
            <p:nvPr/>
          </p:nvSpPr>
          <p:spPr>
            <a:xfrm flipV="1">
              <a:off x="2855271" y="518122"/>
              <a:ext cx="112597" cy="112596"/>
            </a:xfrm>
            <a:custGeom>
              <a:avLst/>
              <a:gdLst>
                <a:gd name="connsiteX0" fmla="*/ 112837 w 112597"/>
                <a:gd name="connsiteY0" fmla="*/ 56773 h 112596"/>
                <a:gd name="connsiteX1" fmla="*/ 56539 w 112597"/>
                <a:gd name="connsiteY1" fmla="*/ 113072 h 112596"/>
                <a:gd name="connsiteX2" fmla="*/ 239 w 112597"/>
                <a:gd name="connsiteY2" fmla="*/ 56773 h 112596"/>
                <a:gd name="connsiteX3" fmla="*/ 56539 w 112597"/>
                <a:gd name="connsiteY3" fmla="*/ 475 h 112596"/>
                <a:gd name="connsiteX4" fmla="*/ 112837 w 112597"/>
                <a:gd name="connsiteY4" fmla="*/ 56773 h 11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97" h="112596">
                  <a:moveTo>
                    <a:pt x="112837" y="56773"/>
                  </a:moveTo>
                  <a:cubicBezTo>
                    <a:pt x="112837" y="87867"/>
                    <a:pt x="87631" y="113072"/>
                    <a:pt x="56539" y="113072"/>
                  </a:cubicBezTo>
                  <a:cubicBezTo>
                    <a:pt x="25446" y="113072"/>
                    <a:pt x="239" y="87867"/>
                    <a:pt x="239" y="56773"/>
                  </a:cubicBezTo>
                  <a:cubicBezTo>
                    <a:pt x="239" y="25680"/>
                    <a:pt x="25446" y="475"/>
                    <a:pt x="56539" y="475"/>
                  </a:cubicBezTo>
                  <a:cubicBezTo>
                    <a:pt x="87631" y="475"/>
                    <a:pt x="112837" y="25680"/>
                    <a:pt x="112837" y="56773"/>
                  </a:cubicBezTo>
                </a:path>
              </a:pathLst>
            </a:custGeom>
            <a:solidFill>
              <a:schemeClr val="accent3">
                <a:lumMod val="60000"/>
                <a:lumOff val="40000"/>
              </a:schemeClr>
            </a:solidFill>
            <a:ln w="1617" cap="flat">
              <a:noFill/>
              <a:prstDash val="solid"/>
              <a:miter/>
            </a:ln>
          </p:spPr>
          <p:txBody>
            <a:bodyPr rtlCol="0" anchor="ctr"/>
            <a:lstStyle/>
            <a:p>
              <a:endParaRPr lang="en-GB"/>
            </a:p>
          </p:txBody>
        </p:sp>
        <p:sp>
          <p:nvSpPr>
            <p:cNvPr id="97" name="Vrije vorm: vorm 96">
              <a:extLst>
                <a:ext uri="{FF2B5EF4-FFF2-40B4-BE49-F238E27FC236}">
                  <a16:creationId xmlns:a16="http://schemas.microsoft.com/office/drawing/2014/main" id="{12F89C2C-3F49-3667-0F34-911982F5EBB2}"/>
                </a:ext>
              </a:extLst>
            </p:cNvPr>
            <p:cNvSpPr/>
            <p:nvPr/>
          </p:nvSpPr>
          <p:spPr>
            <a:xfrm flipV="1">
              <a:off x="2855272" y="518125"/>
              <a:ext cx="80029" cy="112589"/>
            </a:xfrm>
            <a:custGeom>
              <a:avLst/>
              <a:gdLst>
                <a:gd name="connsiteX0" fmla="*/ 80246 w 80029"/>
                <a:gd name="connsiteY0" fmla="*/ 5669 h 112589"/>
                <a:gd name="connsiteX1" fmla="*/ 56529 w 80029"/>
                <a:gd name="connsiteY1" fmla="*/ 444 h 112589"/>
                <a:gd name="connsiteX2" fmla="*/ 216 w 80029"/>
                <a:gd name="connsiteY2" fmla="*/ 56739 h 112589"/>
                <a:gd name="connsiteX3" fmla="*/ 56529 w 80029"/>
                <a:gd name="connsiteY3" fmla="*/ 113034 h 112589"/>
                <a:gd name="connsiteX4" fmla="*/ 80246 w 80029"/>
                <a:gd name="connsiteY4" fmla="*/ 107808 h 112589"/>
                <a:gd name="connsiteX5" fmla="*/ 47651 w 80029"/>
                <a:gd name="connsiteY5" fmla="*/ 56739 h 112589"/>
                <a:gd name="connsiteX6" fmla="*/ 80246 w 80029"/>
                <a:gd name="connsiteY6" fmla="*/ 5669 h 11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29" h="112589">
                  <a:moveTo>
                    <a:pt x="80246" y="5669"/>
                  </a:moveTo>
                  <a:cubicBezTo>
                    <a:pt x="73043" y="2320"/>
                    <a:pt x="65003" y="444"/>
                    <a:pt x="56529" y="444"/>
                  </a:cubicBezTo>
                  <a:cubicBezTo>
                    <a:pt x="25424" y="444"/>
                    <a:pt x="216" y="25652"/>
                    <a:pt x="216" y="56739"/>
                  </a:cubicBezTo>
                  <a:cubicBezTo>
                    <a:pt x="216" y="87842"/>
                    <a:pt x="25424" y="113034"/>
                    <a:pt x="56529" y="113034"/>
                  </a:cubicBezTo>
                  <a:cubicBezTo>
                    <a:pt x="65003" y="113034"/>
                    <a:pt x="73043" y="111159"/>
                    <a:pt x="80246" y="107808"/>
                  </a:cubicBezTo>
                  <a:cubicBezTo>
                    <a:pt x="61000" y="98864"/>
                    <a:pt x="47651" y="79368"/>
                    <a:pt x="47651" y="56739"/>
                  </a:cubicBezTo>
                  <a:cubicBezTo>
                    <a:pt x="47651" y="34127"/>
                    <a:pt x="61000" y="14614"/>
                    <a:pt x="80246" y="5669"/>
                  </a:cubicBezTo>
                </a:path>
              </a:pathLst>
            </a:custGeom>
            <a:solidFill>
              <a:srgbClr val="FF8B4B"/>
            </a:solidFill>
            <a:ln w="1617" cap="flat">
              <a:noFill/>
              <a:prstDash val="solid"/>
              <a:miter/>
            </a:ln>
          </p:spPr>
          <p:txBody>
            <a:bodyPr rtlCol="0" anchor="ctr"/>
            <a:lstStyle/>
            <a:p>
              <a:endParaRPr lang="en-GB"/>
            </a:p>
          </p:txBody>
        </p:sp>
        <p:sp>
          <p:nvSpPr>
            <p:cNvPr id="98" name="Vrije vorm: vorm 97">
              <a:extLst>
                <a:ext uri="{FF2B5EF4-FFF2-40B4-BE49-F238E27FC236}">
                  <a16:creationId xmlns:a16="http://schemas.microsoft.com/office/drawing/2014/main" id="{DF420936-CDC5-49BC-B428-4D0EA804E512}"/>
                </a:ext>
              </a:extLst>
            </p:cNvPr>
            <p:cNvSpPr/>
            <p:nvPr/>
          </p:nvSpPr>
          <p:spPr>
            <a:xfrm flipV="1">
              <a:off x="3056974" y="389432"/>
              <a:ext cx="112597" cy="112596"/>
            </a:xfrm>
            <a:custGeom>
              <a:avLst/>
              <a:gdLst>
                <a:gd name="connsiteX0" fmla="*/ 113003 w 112597"/>
                <a:gd name="connsiteY0" fmla="*/ 56668 h 112596"/>
                <a:gd name="connsiteX1" fmla="*/ 56705 w 112597"/>
                <a:gd name="connsiteY1" fmla="*/ 112966 h 112596"/>
                <a:gd name="connsiteX2" fmla="*/ 405 w 112597"/>
                <a:gd name="connsiteY2" fmla="*/ 56668 h 112596"/>
                <a:gd name="connsiteX3" fmla="*/ 56705 w 112597"/>
                <a:gd name="connsiteY3" fmla="*/ 370 h 112596"/>
                <a:gd name="connsiteX4" fmla="*/ 113003 w 112597"/>
                <a:gd name="connsiteY4" fmla="*/ 56668 h 11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97" h="112596">
                  <a:moveTo>
                    <a:pt x="113003" y="56668"/>
                  </a:moveTo>
                  <a:cubicBezTo>
                    <a:pt x="113003" y="87761"/>
                    <a:pt x="87797" y="112966"/>
                    <a:pt x="56705" y="112966"/>
                  </a:cubicBezTo>
                  <a:cubicBezTo>
                    <a:pt x="25611" y="112966"/>
                    <a:pt x="405" y="87761"/>
                    <a:pt x="405" y="56668"/>
                  </a:cubicBezTo>
                  <a:cubicBezTo>
                    <a:pt x="405" y="25574"/>
                    <a:pt x="25611" y="370"/>
                    <a:pt x="56705" y="370"/>
                  </a:cubicBezTo>
                  <a:cubicBezTo>
                    <a:pt x="87797" y="370"/>
                    <a:pt x="113003" y="25574"/>
                    <a:pt x="113003" y="56668"/>
                  </a:cubicBezTo>
                </a:path>
              </a:pathLst>
            </a:custGeom>
            <a:solidFill>
              <a:schemeClr val="accent3">
                <a:lumMod val="60000"/>
                <a:lumOff val="40000"/>
              </a:schemeClr>
            </a:solidFill>
            <a:ln w="1617" cap="flat">
              <a:noFill/>
              <a:prstDash val="solid"/>
              <a:miter/>
            </a:ln>
          </p:spPr>
          <p:txBody>
            <a:bodyPr rtlCol="0" anchor="ctr"/>
            <a:lstStyle/>
            <a:p>
              <a:endParaRPr lang="en-GB"/>
            </a:p>
          </p:txBody>
        </p:sp>
        <p:sp>
          <p:nvSpPr>
            <p:cNvPr id="99" name="Vrije vorm: vorm 98">
              <a:extLst>
                <a:ext uri="{FF2B5EF4-FFF2-40B4-BE49-F238E27FC236}">
                  <a16:creationId xmlns:a16="http://schemas.microsoft.com/office/drawing/2014/main" id="{43421BE2-37FA-472A-7D9E-964F93E2D39D}"/>
                </a:ext>
              </a:extLst>
            </p:cNvPr>
            <p:cNvSpPr/>
            <p:nvPr/>
          </p:nvSpPr>
          <p:spPr>
            <a:xfrm flipV="1">
              <a:off x="3056974" y="389435"/>
              <a:ext cx="80029" cy="112589"/>
            </a:xfrm>
            <a:custGeom>
              <a:avLst/>
              <a:gdLst>
                <a:gd name="connsiteX0" fmla="*/ 80411 w 80029"/>
                <a:gd name="connsiteY0" fmla="*/ 5564 h 112589"/>
                <a:gd name="connsiteX1" fmla="*/ 56694 w 80029"/>
                <a:gd name="connsiteY1" fmla="*/ 338 h 112589"/>
                <a:gd name="connsiteX2" fmla="*/ 381 w 80029"/>
                <a:gd name="connsiteY2" fmla="*/ 56633 h 112589"/>
                <a:gd name="connsiteX3" fmla="*/ 56694 w 80029"/>
                <a:gd name="connsiteY3" fmla="*/ 112928 h 112589"/>
                <a:gd name="connsiteX4" fmla="*/ 80411 w 80029"/>
                <a:gd name="connsiteY4" fmla="*/ 107702 h 112589"/>
                <a:gd name="connsiteX5" fmla="*/ 47817 w 80029"/>
                <a:gd name="connsiteY5" fmla="*/ 56633 h 112589"/>
                <a:gd name="connsiteX6" fmla="*/ 80411 w 80029"/>
                <a:gd name="connsiteY6" fmla="*/ 5564 h 11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29" h="112589">
                  <a:moveTo>
                    <a:pt x="80411" y="5564"/>
                  </a:moveTo>
                  <a:cubicBezTo>
                    <a:pt x="73208" y="2215"/>
                    <a:pt x="65168" y="338"/>
                    <a:pt x="56694" y="338"/>
                  </a:cubicBezTo>
                  <a:cubicBezTo>
                    <a:pt x="25589" y="338"/>
                    <a:pt x="381" y="25546"/>
                    <a:pt x="381" y="56633"/>
                  </a:cubicBezTo>
                  <a:cubicBezTo>
                    <a:pt x="381" y="87737"/>
                    <a:pt x="25589" y="112928"/>
                    <a:pt x="56694" y="112928"/>
                  </a:cubicBezTo>
                  <a:cubicBezTo>
                    <a:pt x="65168" y="112928"/>
                    <a:pt x="73208" y="111053"/>
                    <a:pt x="80411" y="107702"/>
                  </a:cubicBezTo>
                  <a:cubicBezTo>
                    <a:pt x="61165" y="98758"/>
                    <a:pt x="47817" y="79262"/>
                    <a:pt x="47817" y="56633"/>
                  </a:cubicBezTo>
                  <a:cubicBezTo>
                    <a:pt x="47817" y="34022"/>
                    <a:pt x="61165" y="14508"/>
                    <a:pt x="80411" y="5564"/>
                  </a:cubicBezTo>
                </a:path>
              </a:pathLst>
            </a:custGeom>
            <a:solidFill>
              <a:srgbClr val="FF8B4B"/>
            </a:solidFill>
            <a:ln w="1617" cap="flat">
              <a:noFill/>
              <a:prstDash val="solid"/>
              <a:miter/>
            </a:ln>
          </p:spPr>
          <p:txBody>
            <a:bodyPr rtlCol="0" anchor="ctr"/>
            <a:lstStyle/>
            <a:p>
              <a:endParaRPr lang="en-GB"/>
            </a:p>
          </p:txBody>
        </p:sp>
        <p:sp>
          <p:nvSpPr>
            <p:cNvPr id="100" name="Vrije vorm: vorm 99">
              <a:extLst>
                <a:ext uri="{FF2B5EF4-FFF2-40B4-BE49-F238E27FC236}">
                  <a16:creationId xmlns:a16="http://schemas.microsoft.com/office/drawing/2014/main" id="{A5FA21AA-C9A2-EC0F-D4BD-AE937EA37A6C}"/>
                </a:ext>
              </a:extLst>
            </p:cNvPr>
            <p:cNvSpPr/>
            <p:nvPr/>
          </p:nvSpPr>
          <p:spPr>
            <a:xfrm flipV="1">
              <a:off x="2798972" y="276834"/>
              <a:ext cx="112597" cy="112596"/>
            </a:xfrm>
            <a:custGeom>
              <a:avLst/>
              <a:gdLst>
                <a:gd name="connsiteX0" fmla="*/ 112791 w 112597"/>
                <a:gd name="connsiteY0" fmla="*/ 56576 h 112596"/>
                <a:gd name="connsiteX1" fmla="*/ 56493 w 112597"/>
                <a:gd name="connsiteY1" fmla="*/ 112874 h 112596"/>
                <a:gd name="connsiteX2" fmla="*/ 193 w 112597"/>
                <a:gd name="connsiteY2" fmla="*/ 56576 h 112596"/>
                <a:gd name="connsiteX3" fmla="*/ 56493 w 112597"/>
                <a:gd name="connsiteY3" fmla="*/ 277 h 112596"/>
                <a:gd name="connsiteX4" fmla="*/ 112791 w 112597"/>
                <a:gd name="connsiteY4" fmla="*/ 56576 h 11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97" h="112596">
                  <a:moveTo>
                    <a:pt x="112791" y="56576"/>
                  </a:moveTo>
                  <a:cubicBezTo>
                    <a:pt x="112791" y="87669"/>
                    <a:pt x="87585" y="112874"/>
                    <a:pt x="56493" y="112874"/>
                  </a:cubicBezTo>
                  <a:cubicBezTo>
                    <a:pt x="25399" y="112874"/>
                    <a:pt x="193" y="87669"/>
                    <a:pt x="193" y="56576"/>
                  </a:cubicBezTo>
                  <a:cubicBezTo>
                    <a:pt x="193" y="25482"/>
                    <a:pt x="25399" y="277"/>
                    <a:pt x="56493" y="277"/>
                  </a:cubicBezTo>
                  <a:cubicBezTo>
                    <a:pt x="87585" y="277"/>
                    <a:pt x="112791" y="25482"/>
                    <a:pt x="112791" y="56576"/>
                  </a:cubicBezTo>
                </a:path>
              </a:pathLst>
            </a:custGeom>
            <a:solidFill>
              <a:schemeClr val="accent3">
                <a:lumMod val="60000"/>
                <a:lumOff val="40000"/>
              </a:schemeClr>
            </a:solidFill>
            <a:ln w="1617" cap="flat">
              <a:noFill/>
              <a:prstDash val="solid"/>
              <a:miter/>
            </a:ln>
          </p:spPr>
          <p:txBody>
            <a:bodyPr rtlCol="0" anchor="ctr"/>
            <a:lstStyle/>
            <a:p>
              <a:endParaRPr lang="en-GB"/>
            </a:p>
          </p:txBody>
        </p:sp>
        <p:sp>
          <p:nvSpPr>
            <p:cNvPr id="101" name="Vrije vorm: vorm 100">
              <a:extLst>
                <a:ext uri="{FF2B5EF4-FFF2-40B4-BE49-F238E27FC236}">
                  <a16:creationId xmlns:a16="http://schemas.microsoft.com/office/drawing/2014/main" id="{30FB119F-3C24-9514-D823-3F6EAFA66175}"/>
                </a:ext>
              </a:extLst>
            </p:cNvPr>
            <p:cNvSpPr/>
            <p:nvPr/>
          </p:nvSpPr>
          <p:spPr>
            <a:xfrm flipV="1">
              <a:off x="2798973" y="276837"/>
              <a:ext cx="80029" cy="112589"/>
            </a:xfrm>
            <a:custGeom>
              <a:avLst/>
              <a:gdLst>
                <a:gd name="connsiteX0" fmla="*/ 80200 w 80029"/>
                <a:gd name="connsiteY0" fmla="*/ 5472 h 112589"/>
                <a:gd name="connsiteX1" fmla="*/ 56483 w 80029"/>
                <a:gd name="connsiteY1" fmla="*/ 246 h 112589"/>
                <a:gd name="connsiteX2" fmla="*/ 170 w 80029"/>
                <a:gd name="connsiteY2" fmla="*/ 56541 h 112589"/>
                <a:gd name="connsiteX3" fmla="*/ 56483 w 80029"/>
                <a:gd name="connsiteY3" fmla="*/ 112836 h 112589"/>
                <a:gd name="connsiteX4" fmla="*/ 80200 w 80029"/>
                <a:gd name="connsiteY4" fmla="*/ 107610 h 112589"/>
                <a:gd name="connsiteX5" fmla="*/ 47605 w 80029"/>
                <a:gd name="connsiteY5" fmla="*/ 56541 h 112589"/>
                <a:gd name="connsiteX6" fmla="*/ 80200 w 80029"/>
                <a:gd name="connsiteY6" fmla="*/ 5472 h 11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29" h="112589">
                  <a:moveTo>
                    <a:pt x="80200" y="5472"/>
                  </a:moveTo>
                  <a:cubicBezTo>
                    <a:pt x="72997" y="2122"/>
                    <a:pt x="64957" y="246"/>
                    <a:pt x="56483" y="246"/>
                  </a:cubicBezTo>
                  <a:cubicBezTo>
                    <a:pt x="25378" y="246"/>
                    <a:pt x="170" y="25454"/>
                    <a:pt x="170" y="56541"/>
                  </a:cubicBezTo>
                  <a:cubicBezTo>
                    <a:pt x="170" y="87644"/>
                    <a:pt x="25378" y="112836"/>
                    <a:pt x="56483" y="112836"/>
                  </a:cubicBezTo>
                  <a:cubicBezTo>
                    <a:pt x="64957" y="112836"/>
                    <a:pt x="72997" y="110961"/>
                    <a:pt x="80200" y="107610"/>
                  </a:cubicBezTo>
                  <a:cubicBezTo>
                    <a:pt x="60954" y="98666"/>
                    <a:pt x="47605" y="79170"/>
                    <a:pt x="47605" y="56541"/>
                  </a:cubicBezTo>
                  <a:cubicBezTo>
                    <a:pt x="47605" y="33930"/>
                    <a:pt x="60954" y="14416"/>
                    <a:pt x="80200" y="5472"/>
                  </a:cubicBezTo>
                </a:path>
              </a:pathLst>
            </a:custGeom>
            <a:solidFill>
              <a:srgbClr val="FF8B4B"/>
            </a:solidFill>
            <a:ln w="1617" cap="flat">
              <a:noFill/>
              <a:prstDash val="solid"/>
              <a:miter/>
            </a:ln>
          </p:spPr>
          <p:txBody>
            <a:bodyPr rtlCol="0" anchor="ctr"/>
            <a:lstStyle/>
            <a:p>
              <a:endParaRPr lang="en-GB"/>
            </a:p>
          </p:txBody>
        </p:sp>
        <p:sp>
          <p:nvSpPr>
            <p:cNvPr id="102" name="Vrije vorm: vorm 101">
              <a:extLst>
                <a:ext uri="{FF2B5EF4-FFF2-40B4-BE49-F238E27FC236}">
                  <a16:creationId xmlns:a16="http://schemas.microsoft.com/office/drawing/2014/main" id="{9B370C4E-6E98-8582-3B61-0C89CE2259E7}"/>
                </a:ext>
              </a:extLst>
            </p:cNvPr>
            <p:cNvSpPr/>
            <p:nvPr/>
          </p:nvSpPr>
          <p:spPr>
            <a:xfrm flipV="1">
              <a:off x="3024114" y="188501"/>
              <a:ext cx="112597" cy="112596"/>
            </a:xfrm>
            <a:custGeom>
              <a:avLst/>
              <a:gdLst>
                <a:gd name="connsiteX0" fmla="*/ 112976 w 112597"/>
                <a:gd name="connsiteY0" fmla="*/ 56503 h 112596"/>
                <a:gd name="connsiteX1" fmla="*/ 56678 w 112597"/>
                <a:gd name="connsiteY1" fmla="*/ 112801 h 112596"/>
                <a:gd name="connsiteX2" fmla="*/ 378 w 112597"/>
                <a:gd name="connsiteY2" fmla="*/ 56503 h 112596"/>
                <a:gd name="connsiteX3" fmla="*/ 56678 w 112597"/>
                <a:gd name="connsiteY3" fmla="*/ 205 h 112596"/>
                <a:gd name="connsiteX4" fmla="*/ 112976 w 112597"/>
                <a:gd name="connsiteY4" fmla="*/ 56503 h 11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97" h="112596">
                  <a:moveTo>
                    <a:pt x="112976" y="56503"/>
                  </a:moveTo>
                  <a:cubicBezTo>
                    <a:pt x="112976" y="87597"/>
                    <a:pt x="87770" y="112801"/>
                    <a:pt x="56678" y="112801"/>
                  </a:cubicBezTo>
                  <a:cubicBezTo>
                    <a:pt x="25584" y="112801"/>
                    <a:pt x="378" y="87597"/>
                    <a:pt x="378" y="56503"/>
                  </a:cubicBezTo>
                  <a:cubicBezTo>
                    <a:pt x="378" y="25410"/>
                    <a:pt x="25584" y="205"/>
                    <a:pt x="56678" y="205"/>
                  </a:cubicBezTo>
                  <a:cubicBezTo>
                    <a:pt x="87770" y="205"/>
                    <a:pt x="112976" y="25410"/>
                    <a:pt x="112976" y="56503"/>
                  </a:cubicBezTo>
                </a:path>
              </a:pathLst>
            </a:custGeom>
            <a:solidFill>
              <a:schemeClr val="accent3">
                <a:lumMod val="60000"/>
                <a:lumOff val="40000"/>
              </a:schemeClr>
            </a:solidFill>
            <a:ln w="1617" cap="flat">
              <a:noFill/>
              <a:prstDash val="solid"/>
              <a:miter/>
            </a:ln>
          </p:spPr>
          <p:txBody>
            <a:bodyPr rtlCol="0" anchor="ctr"/>
            <a:lstStyle/>
            <a:p>
              <a:endParaRPr lang="en-GB"/>
            </a:p>
          </p:txBody>
        </p:sp>
        <p:sp>
          <p:nvSpPr>
            <p:cNvPr id="103" name="Vrije vorm: vorm 102">
              <a:extLst>
                <a:ext uri="{FF2B5EF4-FFF2-40B4-BE49-F238E27FC236}">
                  <a16:creationId xmlns:a16="http://schemas.microsoft.com/office/drawing/2014/main" id="{DCCBF3DF-084A-5948-4D75-114B4A288346}"/>
                </a:ext>
              </a:extLst>
            </p:cNvPr>
            <p:cNvSpPr/>
            <p:nvPr/>
          </p:nvSpPr>
          <p:spPr>
            <a:xfrm flipV="1">
              <a:off x="3024114" y="188504"/>
              <a:ext cx="80029" cy="112589"/>
            </a:xfrm>
            <a:custGeom>
              <a:avLst/>
              <a:gdLst>
                <a:gd name="connsiteX0" fmla="*/ 80384 w 80029"/>
                <a:gd name="connsiteY0" fmla="*/ 5399 h 112589"/>
                <a:gd name="connsiteX1" fmla="*/ 56667 w 80029"/>
                <a:gd name="connsiteY1" fmla="*/ 174 h 112589"/>
                <a:gd name="connsiteX2" fmla="*/ 355 w 80029"/>
                <a:gd name="connsiteY2" fmla="*/ 56468 h 112589"/>
                <a:gd name="connsiteX3" fmla="*/ 56667 w 80029"/>
                <a:gd name="connsiteY3" fmla="*/ 112763 h 112589"/>
                <a:gd name="connsiteX4" fmla="*/ 80384 w 80029"/>
                <a:gd name="connsiteY4" fmla="*/ 107538 h 112589"/>
                <a:gd name="connsiteX5" fmla="*/ 47790 w 80029"/>
                <a:gd name="connsiteY5" fmla="*/ 56468 h 112589"/>
                <a:gd name="connsiteX6" fmla="*/ 80384 w 80029"/>
                <a:gd name="connsiteY6" fmla="*/ 5399 h 11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29" h="112589">
                  <a:moveTo>
                    <a:pt x="80384" y="5399"/>
                  </a:moveTo>
                  <a:cubicBezTo>
                    <a:pt x="73181" y="2050"/>
                    <a:pt x="65141" y="174"/>
                    <a:pt x="56667" y="174"/>
                  </a:cubicBezTo>
                  <a:cubicBezTo>
                    <a:pt x="25562" y="174"/>
                    <a:pt x="355" y="25381"/>
                    <a:pt x="355" y="56468"/>
                  </a:cubicBezTo>
                  <a:cubicBezTo>
                    <a:pt x="355" y="87572"/>
                    <a:pt x="25562" y="112763"/>
                    <a:pt x="56667" y="112763"/>
                  </a:cubicBezTo>
                  <a:cubicBezTo>
                    <a:pt x="65141" y="112763"/>
                    <a:pt x="73181" y="110889"/>
                    <a:pt x="80384" y="107538"/>
                  </a:cubicBezTo>
                  <a:cubicBezTo>
                    <a:pt x="61138" y="98594"/>
                    <a:pt x="47790" y="79098"/>
                    <a:pt x="47790" y="56468"/>
                  </a:cubicBezTo>
                  <a:cubicBezTo>
                    <a:pt x="47790" y="33857"/>
                    <a:pt x="61138" y="14343"/>
                    <a:pt x="80384" y="5399"/>
                  </a:cubicBezTo>
                </a:path>
              </a:pathLst>
            </a:custGeom>
            <a:solidFill>
              <a:srgbClr val="FF8B4B"/>
            </a:solidFill>
            <a:ln w="1617" cap="flat">
              <a:noFill/>
              <a:prstDash val="solid"/>
              <a:miter/>
            </a:ln>
          </p:spPr>
          <p:txBody>
            <a:bodyPr rtlCol="0" anchor="ctr"/>
            <a:lstStyle/>
            <a:p>
              <a:endParaRPr lang="en-GB"/>
            </a:p>
          </p:txBody>
        </p:sp>
        <p:sp>
          <p:nvSpPr>
            <p:cNvPr id="104" name="Vrije vorm: vorm 103">
              <a:extLst>
                <a:ext uri="{FF2B5EF4-FFF2-40B4-BE49-F238E27FC236}">
                  <a16:creationId xmlns:a16="http://schemas.microsoft.com/office/drawing/2014/main" id="{DAF93302-6C84-07C9-1713-5BFAB97C2FCF}"/>
                </a:ext>
              </a:extLst>
            </p:cNvPr>
            <p:cNvSpPr/>
            <p:nvPr/>
          </p:nvSpPr>
          <p:spPr>
            <a:xfrm flipV="1">
              <a:off x="3258295" y="333136"/>
              <a:ext cx="112597" cy="112596"/>
            </a:xfrm>
            <a:custGeom>
              <a:avLst/>
              <a:gdLst>
                <a:gd name="connsiteX0" fmla="*/ 113168 w 112597"/>
                <a:gd name="connsiteY0" fmla="*/ 56622 h 112596"/>
                <a:gd name="connsiteX1" fmla="*/ 56870 w 112597"/>
                <a:gd name="connsiteY1" fmla="*/ 112920 h 112596"/>
                <a:gd name="connsiteX2" fmla="*/ 570 w 112597"/>
                <a:gd name="connsiteY2" fmla="*/ 56622 h 112596"/>
                <a:gd name="connsiteX3" fmla="*/ 56870 w 112597"/>
                <a:gd name="connsiteY3" fmla="*/ 324 h 112596"/>
                <a:gd name="connsiteX4" fmla="*/ 113168 w 112597"/>
                <a:gd name="connsiteY4" fmla="*/ 56622 h 11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597" h="112596">
                  <a:moveTo>
                    <a:pt x="113168" y="56622"/>
                  </a:moveTo>
                  <a:cubicBezTo>
                    <a:pt x="113168" y="87715"/>
                    <a:pt x="87962" y="112920"/>
                    <a:pt x="56870" y="112920"/>
                  </a:cubicBezTo>
                  <a:cubicBezTo>
                    <a:pt x="25776" y="112920"/>
                    <a:pt x="570" y="87715"/>
                    <a:pt x="570" y="56622"/>
                  </a:cubicBezTo>
                  <a:cubicBezTo>
                    <a:pt x="570" y="25528"/>
                    <a:pt x="25776" y="324"/>
                    <a:pt x="56870" y="324"/>
                  </a:cubicBezTo>
                  <a:cubicBezTo>
                    <a:pt x="87962" y="324"/>
                    <a:pt x="113168" y="25528"/>
                    <a:pt x="113168" y="56622"/>
                  </a:cubicBezTo>
                </a:path>
              </a:pathLst>
            </a:custGeom>
            <a:solidFill>
              <a:schemeClr val="accent3">
                <a:lumMod val="60000"/>
                <a:lumOff val="40000"/>
              </a:schemeClr>
            </a:solidFill>
            <a:ln w="1617" cap="flat">
              <a:noFill/>
              <a:prstDash val="solid"/>
              <a:miter/>
            </a:ln>
          </p:spPr>
          <p:txBody>
            <a:bodyPr rtlCol="0" anchor="ctr"/>
            <a:lstStyle/>
            <a:p>
              <a:endParaRPr lang="en-GB"/>
            </a:p>
          </p:txBody>
        </p:sp>
        <p:sp>
          <p:nvSpPr>
            <p:cNvPr id="105" name="Vrije vorm: vorm 104">
              <a:extLst>
                <a:ext uri="{FF2B5EF4-FFF2-40B4-BE49-F238E27FC236}">
                  <a16:creationId xmlns:a16="http://schemas.microsoft.com/office/drawing/2014/main" id="{6DD8D8B8-FEB8-49A9-7405-7168E750DBBB}"/>
                </a:ext>
              </a:extLst>
            </p:cNvPr>
            <p:cNvSpPr/>
            <p:nvPr/>
          </p:nvSpPr>
          <p:spPr>
            <a:xfrm flipV="1">
              <a:off x="3258296" y="333139"/>
              <a:ext cx="80029" cy="112589"/>
            </a:xfrm>
            <a:custGeom>
              <a:avLst/>
              <a:gdLst>
                <a:gd name="connsiteX0" fmla="*/ 80576 w 80029"/>
                <a:gd name="connsiteY0" fmla="*/ 5518 h 112589"/>
                <a:gd name="connsiteX1" fmla="*/ 56859 w 80029"/>
                <a:gd name="connsiteY1" fmla="*/ 292 h 112589"/>
                <a:gd name="connsiteX2" fmla="*/ 547 w 80029"/>
                <a:gd name="connsiteY2" fmla="*/ 56587 h 112589"/>
                <a:gd name="connsiteX3" fmla="*/ 56859 w 80029"/>
                <a:gd name="connsiteY3" fmla="*/ 112882 h 112589"/>
                <a:gd name="connsiteX4" fmla="*/ 80576 w 80029"/>
                <a:gd name="connsiteY4" fmla="*/ 107656 h 112589"/>
                <a:gd name="connsiteX5" fmla="*/ 47982 w 80029"/>
                <a:gd name="connsiteY5" fmla="*/ 56587 h 112589"/>
                <a:gd name="connsiteX6" fmla="*/ 80576 w 80029"/>
                <a:gd name="connsiteY6" fmla="*/ 5518 h 112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29" h="112589">
                  <a:moveTo>
                    <a:pt x="80576" y="5518"/>
                  </a:moveTo>
                  <a:cubicBezTo>
                    <a:pt x="73373" y="2168"/>
                    <a:pt x="65333" y="292"/>
                    <a:pt x="56859" y="292"/>
                  </a:cubicBezTo>
                  <a:cubicBezTo>
                    <a:pt x="25754" y="292"/>
                    <a:pt x="547" y="25500"/>
                    <a:pt x="547" y="56587"/>
                  </a:cubicBezTo>
                  <a:cubicBezTo>
                    <a:pt x="547" y="87690"/>
                    <a:pt x="25754" y="112882"/>
                    <a:pt x="56859" y="112882"/>
                  </a:cubicBezTo>
                  <a:cubicBezTo>
                    <a:pt x="65333" y="112882"/>
                    <a:pt x="73373" y="111007"/>
                    <a:pt x="80576" y="107656"/>
                  </a:cubicBezTo>
                  <a:cubicBezTo>
                    <a:pt x="61331" y="98712"/>
                    <a:pt x="47982" y="79216"/>
                    <a:pt x="47982" y="56587"/>
                  </a:cubicBezTo>
                  <a:cubicBezTo>
                    <a:pt x="47982" y="33976"/>
                    <a:pt x="61331" y="14462"/>
                    <a:pt x="80576" y="5518"/>
                  </a:cubicBezTo>
                </a:path>
              </a:pathLst>
            </a:custGeom>
            <a:solidFill>
              <a:srgbClr val="FF8B4B"/>
            </a:solidFill>
            <a:ln w="1617" cap="flat">
              <a:noFill/>
              <a:prstDash val="solid"/>
              <a:miter/>
            </a:ln>
          </p:spPr>
          <p:txBody>
            <a:bodyPr rtlCol="0" anchor="ctr"/>
            <a:lstStyle/>
            <a:p>
              <a:endParaRPr lang="en-GB"/>
            </a:p>
          </p:txBody>
        </p:sp>
      </p:grpSp>
      <p:grpSp>
        <p:nvGrpSpPr>
          <p:cNvPr id="108" name="Graphic 51">
            <a:extLst>
              <a:ext uri="{FF2B5EF4-FFF2-40B4-BE49-F238E27FC236}">
                <a16:creationId xmlns:a16="http://schemas.microsoft.com/office/drawing/2014/main" id="{CE3F2E01-B210-5380-D2D4-77F1ADD6BD7E}"/>
              </a:ext>
            </a:extLst>
          </p:cNvPr>
          <p:cNvGrpSpPr/>
          <p:nvPr/>
        </p:nvGrpSpPr>
        <p:grpSpPr>
          <a:xfrm>
            <a:off x="6543855" y="2490883"/>
            <a:ext cx="917164" cy="955021"/>
            <a:chOff x="2678344" y="-5155"/>
            <a:chExt cx="799457" cy="832455"/>
          </a:xfrm>
        </p:grpSpPr>
        <p:sp>
          <p:nvSpPr>
            <p:cNvPr id="111" name="Vrije vorm: vorm 110">
              <a:extLst>
                <a:ext uri="{FF2B5EF4-FFF2-40B4-BE49-F238E27FC236}">
                  <a16:creationId xmlns:a16="http://schemas.microsoft.com/office/drawing/2014/main" id="{66C8339D-D84C-4BAF-2899-827ADD2F13D1}"/>
                </a:ext>
              </a:extLst>
            </p:cNvPr>
            <p:cNvSpPr/>
            <p:nvPr/>
          </p:nvSpPr>
          <p:spPr>
            <a:xfrm flipV="1">
              <a:off x="2968707" y="244799"/>
              <a:ext cx="262059" cy="582501"/>
            </a:xfrm>
            <a:custGeom>
              <a:avLst/>
              <a:gdLst>
                <a:gd name="connsiteX0" fmla="*/ 185523 w 262059"/>
                <a:gd name="connsiteY0" fmla="*/ 265 h 582501"/>
                <a:gd name="connsiteX1" fmla="*/ 7044 w 262059"/>
                <a:gd name="connsiteY1" fmla="*/ 265 h 582501"/>
                <a:gd name="connsiteX2" fmla="*/ 604 w 262059"/>
                <a:gd name="connsiteY2" fmla="*/ 8497 h 582501"/>
                <a:gd name="connsiteX3" fmla="*/ 6054 w 262059"/>
                <a:gd name="connsiteY3" fmla="*/ 19845 h 582501"/>
                <a:gd name="connsiteX4" fmla="*/ 22971 w 262059"/>
                <a:gd name="connsiteY4" fmla="*/ 31654 h 582501"/>
                <a:gd name="connsiteX5" fmla="*/ 25617 w 262059"/>
                <a:gd name="connsiteY5" fmla="*/ 32425 h 582501"/>
                <a:gd name="connsiteX6" fmla="*/ 48982 w 262059"/>
                <a:gd name="connsiteY6" fmla="*/ 61803 h 582501"/>
                <a:gd name="connsiteX7" fmla="*/ 80708 w 262059"/>
                <a:gd name="connsiteY7" fmla="*/ 576547 h 582501"/>
                <a:gd name="connsiteX8" fmla="*/ 87322 w 262059"/>
                <a:gd name="connsiteY8" fmla="*/ 582766 h 582501"/>
                <a:gd name="connsiteX9" fmla="*/ 105245 w 262059"/>
                <a:gd name="connsiteY9" fmla="*/ 582766 h 582501"/>
                <a:gd name="connsiteX10" fmla="*/ 111859 w 262059"/>
                <a:gd name="connsiteY10" fmla="*/ 576547 h 582501"/>
                <a:gd name="connsiteX11" fmla="*/ 137649 w 262059"/>
                <a:gd name="connsiteY11" fmla="*/ 157999 h 582501"/>
                <a:gd name="connsiteX12" fmla="*/ 149716 w 262059"/>
                <a:gd name="connsiteY12" fmla="*/ 154641 h 582501"/>
                <a:gd name="connsiteX13" fmla="*/ 236487 w 262059"/>
                <a:gd name="connsiteY13" fmla="*/ 280341 h 582501"/>
                <a:gd name="connsiteX14" fmla="*/ 245497 w 262059"/>
                <a:gd name="connsiteY14" fmla="*/ 282167 h 582501"/>
                <a:gd name="connsiteX15" fmla="*/ 259382 w 262059"/>
                <a:gd name="connsiteY15" fmla="*/ 273328 h 582501"/>
                <a:gd name="connsiteX16" fmla="*/ 261543 w 262059"/>
                <a:gd name="connsiteY16" fmla="*/ 264391 h 582501"/>
                <a:gd name="connsiteX17" fmla="*/ 143518 w 262059"/>
                <a:gd name="connsiteY17" fmla="*/ 62774 h 582501"/>
                <a:gd name="connsiteX18" fmla="*/ 143585 w 262059"/>
                <a:gd name="connsiteY18" fmla="*/ 61803 h 582501"/>
                <a:gd name="connsiteX19" fmla="*/ 166951 w 262059"/>
                <a:gd name="connsiteY19" fmla="*/ 32425 h 582501"/>
                <a:gd name="connsiteX20" fmla="*/ 169597 w 262059"/>
                <a:gd name="connsiteY20" fmla="*/ 31654 h 582501"/>
                <a:gd name="connsiteX21" fmla="*/ 191963 w 262059"/>
                <a:gd name="connsiteY21" fmla="*/ 8498 h 582501"/>
                <a:gd name="connsiteX22" fmla="*/ 185523 w 262059"/>
                <a:gd name="connsiteY22" fmla="*/ 265 h 582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2059" h="582501">
                  <a:moveTo>
                    <a:pt x="185523" y="265"/>
                  </a:moveTo>
                  <a:lnTo>
                    <a:pt x="7044" y="265"/>
                  </a:lnTo>
                  <a:cubicBezTo>
                    <a:pt x="2735" y="265"/>
                    <a:pt x="-479" y="4326"/>
                    <a:pt x="604" y="8497"/>
                  </a:cubicBezTo>
                  <a:cubicBezTo>
                    <a:pt x="1677" y="12628"/>
                    <a:pt x="3542" y="16476"/>
                    <a:pt x="6054" y="19845"/>
                  </a:cubicBezTo>
                  <a:cubicBezTo>
                    <a:pt x="10174" y="25355"/>
                    <a:pt x="16019" y="29576"/>
                    <a:pt x="22971" y="31654"/>
                  </a:cubicBezTo>
                  <a:lnTo>
                    <a:pt x="25617" y="32425"/>
                  </a:lnTo>
                  <a:cubicBezTo>
                    <a:pt x="38799" y="36343"/>
                    <a:pt x="48129" y="48068"/>
                    <a:pt x="48982" y="61803"/>
                  </a:cubicBezTo>
                  <a:lnTo>
                    <a:pt x="80708" y="576547"/>
                  </a:lnTo>
                  <a:cubicBezTo>
                    <a:pt x="80925" y="580043"/>
                    <a:pt x="83820" y="582766"/>
                    <a:pt x="87322" y="582766"/>
                  </a:cubicBezTo>
                  <a:lnTo>
                    <a:pt x="105245" y="582766"/>
                  </a:lnTo>
                  <a:cubicBezTo>
                    <a:pt x="108747" y="582766"/>
                    <a:pt x="111644" y="580043"/>
                    <a:pt x="111859" y="576547"/>
                  </a:cubicBezTo>
                  <a:lnTo>
                    <a:pt x="137649" y="157999"/>
                  </a:lnTo>
                  <a:cubicBezTo>
                    <a:pt x="138036" y="151717"/>
                    <a:pt x="146141" y="149463"/>
                    <a:pt x="149716" y="154641"/>
                  </a:cubicBezTo>
                  <a:lnTo>
                    <a:pt x="236487" y="280341"/>
                  </a:lnTo>
                  <a:cubicBezTo>
                    <a:pt x="238511" y="283274"/>
                    <a:pt x="242493" y="284080"/>
                    <a:pt x="245497" y="282167"/>
                  </a:cubicBezTo>
                  <a:lnTo>
                    <a:pt x="259382" y="273328"/>
                  </a:lnTo>
                  <a:cubicBezTo>
                    <a:pt x="262389" y="271415"/>
                    <a:pt x="263343" y="267465"/>
                    <a:pt x="261543" y="264391"/>
                  </a:cubicBezTo>
                  <a:lnTo>
                    <a:pt x="143518" y="62774"/>
                  </a:lnTo>
                  <a:lnTo>
                    <a:pt x="143585" y="61803"/>
                  </a:lnTo>
                  <a:cubicBezTo>
                    <a:pt x="144438" y="48068"/>
                    <a:pt x="153768" y="36343"/>
                    <a:pt x="166951" y="32425"/>
                  </a:cubicBezTo>
                  <a:lnTo>
                    <a:pt x="169597" y="31654"/>
                  </a:lnTo>
                  <a:cubicBezTo>
                    <a:pt x="180772" y="28324"/>
                    <a:pt x="189128" y="19406"/>
                    <a:pt x="191963" y="8498"/>
                  </a:cubicBezTo>
                  <a:cubicBezTo>
                    <a:pt x="193046" y="4328"/>
                    <a:pt x="189833" y="265"/>
                    <a:pt x="185523" y="265"/>
                  </a:cubicBezTo>
                </a:path>
              </a:pathLst>
            </a:custGeom>
            <a:solidFill>
              <a:schemeClr val="accent6">
                <a:lumMod val="60000"/>
                <a:lumOff val="40000"/>
              </a:schemeClr>
            </a:solidFill>
            <a:ln w="1617" cap="flat">
              <a:noFill/>
              <a:prstDash val="solid"/>
              <a:miter/>
            </a:ln>
          </p:spPr>
          <p:txBody>
            <a:bodyPr rtlCol="0" anchor="ctr"/>
            <a:lstStyle/>
            <a:p>
              <a:endParaRPr lang="en-GB"/>
            </a:p>
          </p:txBody>
        </p:sp>
        <p:sp>
          <p:nvSpPr>
            <p:cNvPr id="112" name="Vrije vorm: vorm 111">
              <a:extLst>
                <a:ext uri="{FF2B5EF4-FFF2-40B4-BE49-F238E27FC236}">
                  <a16:creationId xmlns:a16="http://schemas.microsoft.com/office/drawing/2014/main" id="{7D4E08F5-3C6C-20CD-63F5-B0F2BA32EB11}"/>
                </a:ext>
              </a:extLst>
            </p:cNvPr>
            <p:cNvSpPr/>
            <p:nvPr/>
          </p:nvSpPr>
          <p:spPr>
            <a:xfrm flipV="1">
              <a:off x="2968708" y="244799"/>
              <a:ext cx="102606" cy="582501"/>
            </a:xfrm>
            <a:custGeom>
              <a:avLst/>
              <a:gdLst>
                <a:gd name="connsiteX0" fmla="*/ 96301 w 102606"/>
                <a:gd name="connsiteY0" fmla="*/ 583125 h 582501"/>
                <a:gd name="connsiteX1" fmla="*/ 102923 w 102606"/>
                <a:gd name="connsiteY1" fmla="*/ 576267 h 582501"/>
                <a:gd name="connsiteX2" fmla="*/ 84990 w 102606"/>
                <a:gd name="connsiteY2" fmla="*/ 62161 h 582501"/>
                <a:gd name="connsiteX3" fmla="*/ 71740 w 102606"/>
                <a:gd name="connsiteY3" fmla="*/ 32783 h 582501"/>
                <a:gd name="connsiteX4" fmla="*/ 70249 w 102606"/>
                <a:gd name="connsiteY4" fmla="*/ 32012 h 582501"/>
                <a:gd name="connsiteX5" fmla="*/ 60670 w 102606"/>
                <a:gd name="connsiteY5" fmla="*/ 20204 h 582501"/>
                <a:gd name="connsiteX6" fmla="*/ 57301 w 102606"/>
                <a:gd name="connsiteY6" fmla="*/ 6634 h 582501"/>
                <a:gd name="connsiteX7" fmla="*/ 50708 w 102606"/>
                <a:gd name="connsiteY7" fmla="*/ 623 h 582501"/>
                <a:gd name="connsiteX8" fmla="*/ 6973 w 102606"/>
                <a:gd name="connsiteY8" fmla="*/ 623 h 582501"/>
                <a:gd name="connsiteX9" fmla="*/ 533 w 102606"/>
                <a:gd name="connsiteY9" fmla="*/ 8855 h 582501"/>
                <a:gd name="connsiteX10" fmla="*/ 5981 w 102606"/>
                <a:gd name="connsiteY10" fmla="*/ 20204 h 582501"/>
                <a:gd name="connsiteX11" fmla="*/ 22899 w 102606"/>
                <a:gd name="connsiteY11" fmla="*/ 32012 h 582501"/>
                <a:gd name="connsiteX12" fmla="*/ 25546 w 102606"/>
                <a:gd name="connsiteY12" fmla="*/ 32783 h 582501"/>
                <a:gd name="connsiteX13" fmla="*/ 48911 w 102606"/>
                <a:gd name="connsiteY13" fmla="*/ 62161 h 582501"/>
                <a:gd name="connsiteX14" fmla="*/ 80637 w 102606"/>
                <a:gd name="connsiteY14" fmla="*/ 576906 h 582501"/>
                <a:gd name="connsiteX15" fmla="*/ 87251 w 102606"/>
                <a:gd name="connsiteY15" fmla="*/ 583125 h 582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606" h="582501">
                  <a:moveTo>
                    <a:pt x="96301" y="583125"/>
                  </a:moveTo>
                  <a:cubicBezTo>
                    <a:pt x="100052" y="583125"/>
                    <a:pt x="103055" y="580014"/>
                    <a:pt x="102923" y="576267"/>
                  </a:cubicBezTo>
                  <a:lnTo>
                    <a:pt x="84990" y="62161"/>
                  </a:lnTo>
                  <a:cubicBezTo>
                    <a:pt x="84504" y="48426"/>
                    <a:pt x="79211" y="36701"/>
                    <a:pt x="71740" y="32783"/>
                  </a:cubicBezTo>
                  <a:lnTo>
                    <a:pt x="70249" y="32012"/>
                  </a:lnTo>
                  <a:cubicBezTo>
                    <a:pt x="66313" y="29935"/>
                    <a:pt x="62998" y="25714"/>
                    <a:pt x="60670" y="20204"/>
                  </a:cubicBezTo>
                  <a:cubicBezTo>
                    <a:pt x="58998" y="16236"/>
                    <a:pt x="57828" y="11606"/>
                    <a:pt x="57301" y="6634"/>
                  </a:cubicBezTo>
                  <a:cubicBezTo>
                    <a:pt x="56940" y="3232"/>
                    <a:pt x="54129" y="623"/>
                    <a:pt x="50708" y="623"/>
                  </a:cubicBezTo>
                  <a:lnTo>
                    <a:pt x="6973" y="623"/>
                  </a:lnTo>
                  <a:cubicBezTo>
                    <a:pt x="2663" y="623"/>
                    <a:pt x="-550" y="4684"/>
                    <a:pt x="533" y="8855"/>
                  </a:cubicBezTo>
                  <a:cubicBezTo>
                    <a:pt x="1606" y="12985"/>
                    <a:pt x="3469" y="16835"/>
                    <a:pt x="5981" y="20204"/>
                  </a:cubicBezTo>
                  <a:cubicBezTo>
                    <a:pt x="10103" y="25714"/>
                    <a:pt x="15948" y="29935"/>
                    <a:pt x="22899" y="32012"/>
                  </a:cubicBezTo>
                  <a:lnTo>
                    <a:pt x="25546" y="32783"/>
                  </a:lnTo>
                  <a:cubicBezTo>
                    <a:pt x="38727" y="36701"/>
                    <a:pt x="48056" y="48426"/>
                    <a:pt x="48911" y="62161"/>
                  </a:cubicBezTo>
                  <a:lnTo>
                    <a:pt x="80637" y="576906"/>
                  </a:lnTo>
                  <a:cubicBezTo>
                    <a:pt x="80852" y="580401"/>
                    <a:pt x="83749" y="583125"/>
                    <a:pt x="87251" y="583125"/>
                  </a:cubicBezTo>
                  <a:close/>
                </a:path>
              </a:pathLst>
            </a:custGeom>
            <a:solidFill>
              <a:srgbClr val="BE4E30"/>
            </a:solidFill>
            <a:ln w="1617" cap="flat">
              <a:noFill/>
              <a:prstDash val="solid"/>
              <a:miter/>
            </a:ln>
          </p:spPr>
          <p:txBody>
            <a:bodyPr rtlCol="0" anchor="ctr"/>
            <a:lstStyle/>
            <a:p>
              <a:endParaRPr lang="en-GB"/>
            </a:p>
          </p:txBody>
        </p:sp>
        <p:sp>
          <p:nvSpPr>
            <p:cNvPr id="113" name="Vrije vorm: vorm 112">
              <a:extLst>
                <a:ext uri="{FF2B5EF4-FFF2-40B4-BE49-F238E27FC236}">
                  <a16:creationId xmlns:a16="http://schemas.microsoft.com/office/drawing/2014/main" id="{8ED2A76F-DA9B-3E9F-6C55-BB0F0930FD0D}"/>
                </a:ext>
              </a:extLst>
            </p:cNvPr>
            <p:cNvSpPr/>
            <p:nvPr/>
          </p:nvSpPr>
          <p:spPr>
            <a:xfrm flipV="1">
              <a:off x="2678344" y="-5155"/>
              <a:ext cx="799457" cy="635860"/>
            </a:xfrm>
            <a:custGeom>
              <a:avLst/>
              <a:gdLst>
                <a:gd name="connsiteX0" fmla="*/ 69116 w 799457"/>
                <a:gd name="connsiteY0" fmla="*/ 194205 h 635860"/>
                <a:gd name="connsiteX1" fmla="*/ 63343 w 799457"/>
                <a:gd name="connsiteY1" fmla="*/ 168952 h 635860"/>
                <a:gd name="connsiteX2" fmla="*/ 121358 w 799457"/>
                <a:gd name="connsiteY2" fmla="*/ 110937 h 635860"/>
                <a:gd name="connsiteX3" fmla="*/ 134827 w 799457"/>
                <a:gd name="connsiteY3" fmla="*/ 112525 h 635860"/>
                <a:gd name="connsiteX4" fmla="*/ 179373 w 799457"/>
                <a:gd name="connsiteY4" fmla="*/ 69195 h 635860"/>
                <a:gd name="connsiteX5" fmla="*/ 207537 w 799457"/>
                <a:gd name="connsiteY5" fmla="*/ 79224 h 635860"/>
                <a:gd name="connsiteX6" fmla="*/ 251649 w 799457"/>
                <a:gd name="connsiteY6" fmla="*/ 41053 h 635860"/>
                <a:gd name="connsiteX7" fmla="*/ 270268 w 799457"/>
                <a:gd name="connsiteY7" fmla="*/ 45129 h 635860"/>
                <a:gd name="connsiteX8" fmla="*/ 332109 w 799457"/>
                <a:gd name="connsiteY8" fmla="*/ 185 h 635860"/>
                <a:gd name="connsiteX9" fmla="*/ 392511 w 799457"/>
                <a:gd name="connsiteY9" fmla="*/ 41159 h 635860"/>
                <a:gd name="connsiteX10" fmla="*/ 429279 w 799457"/>
                <a:gd name="connsiteY10" fmla="*/ 21781 h 635860"/>
                <a:gd name="connsiteX11" fmla="*/ 466592 w 799457"/>
                <a:gd name="connsiteY11" fmla="*/ 41980 h 635860"/>
                <a:gd name="connsiteX12" fmla="*/ 509538 w 799457"/>
                <a:gd name="connsiteY12" fmla="*/ 9345 h 635860"/>
                <a:gd name="connsiteX13" fmla="*/ 553809 w 799457"/>
                <a:gd name="connsiteY13" fmla="*/ 48761 h 635860"/>
                <a:gd name="connsiteX14" fmla="*/ 608898 w 799457"/>
                <a:gd name="connsiteY14" fmla="*/ 24617 h 635860"/>
                <a:gd name="connsiteX15" fmla="*/ 683853 w 799457"/>
                <a:gd name="connsiteY15" fmla="*/ 99572 h 635860"/>
                <a:gd name="connsiteX16" fmla="*/ 681803 w 799457"/>
                <a:gd name="connsiteY16" fmla="*/ 116963 h 635860"/>
                <a:gd name="connsiteX17" fmla="*/ 704175 w 799457"/>
                <a:gd name="connsiteY17" fmla="*/ 110937 h 635860"/>
                <a:gd name="connsiteX18" fmla="*/ 748752 w 799457"/>
                <a:gd name="connsiteY18" fmla="*/ 155514 h 635860"/>
                <a:gd name="connsiteX19" fmla="*/ 737299 w 799457"/>
                <a:gd name="connsiteY19" fmla="*/ 185341 h 635860"/>
                <a:gd name="connsiteX20" fmla="*/ 799595 w 799457"/>
                <a:gd name="connsiteY20" fmla="*/ 259209 h 635860"/>
                <a:gd name="connsiteX21" fmla="*/ 724640 w 799457"/>
                <a:gd name="connsiteY21" fmla="*/ 334164 h 635860"/>
                <a:gd name="connsiteX22" fmla="*/ 718369 w 799457"/>
                <a:gd name="connsiteY22" fmla="*/ 333883 h 635860"/>
                <a:gd name="connsiteX23" fmla="*/ 718376 w 799457"/>
                <a:gd name="connsiteY23" fmla="*/ 334164 h 635860"/>
                <a:gd name="connsiteX24" fmla="*/ 673798 w 799457"/>
                <a:gd name="connsiteY24" fmla="*/ 378741 h 635860"/>
                <a:gd name="connsiteX25" fmla="*/ 639099 w 799457"/>
                <a:gd name="connsiteY25" fmla="*/ 362136 h 635860"/>
                <a:gd name="connsiteX26" fmla="*/ 639123 w 799457"/>
                <a:gd name="connsiteY26" fmla="*/ 363126 h 635860"/>
                <a:gd name="connsiteX27" fmla="*/ 594546 w 799457"/>
                <a:gd name="connsiteY27" fmla="*/ 407703 h 635860"/>
                <a:gd name="connsiteX28" fmla="*/ 559988 w 799457"/>
                <a:gd name="connsiteY28" fmla="*/ 391278 h 635860"/>
                <a:gd name="connsiteX29" fmla="*/ 560010 w 799457"/>
                <a:gd name="connsiteY29" fmla="*/ 392177 h 635860"/>
                <a:gd name="connsiteX30" fmla="*/ 524231 w 799457"/>
                <a:gd name="connsiteY30" fmla="*/ 445772 h 635860"/>
                <a:gd name="connsiteX31" fmla="*/ 533944 w 799457"/>
                <a:gd name="connsiteY31" fmla="*/ 482656 h 635860"/>
                <a:gd name="connsiteX32" fmla="*/ 458991 w 799457"/>
                <a:gd name="connsiteY32" fmla="*/ 557612 h 635860"/>
                <a:gd name="connsiteX33" fmla="*/ 420115 w 799457"/>
                <a:gd name="connsiteY33" fmla="*/ 546754 h 635860"/>
                <a:gd name="connsiteX34" fmla="*/ 429279 w 799457"/>
                <a:gd name="connsiteY34" fmla="*/ 578030 h 635860"/>
                <a:gd name="connsiteX35" fmla="*/ 371264 w 799457"/>
                <a:gd name="connsiteY35" fmla="*/ 636045 h 635860"/>
                <a:gd name="connsiteX36" fmla="*/ 320996 w 799457"/>
                <a:gd name="connsiteY36" fmla="*/ 606977 h 635860"/>
                <a:gd name="connsiteX37" fmla="*/ 296226 w 799457"/>
                <a:gd name="connsiteY37" fmla="*/ 614490 h 635860"/>
                <a:gd name="connsiteX38" fmla="*/ 251649 w 799457"/>
                <a:gd name="connsiteY38" fmla="*/ 569913 h 635860"/>
                <a:gd name="connsiteX39" fmla="*/ 251699 w 799457"/>
                <a:gd name="connsiteY39" fmla="*/ 567912 h 635860"/>
                <a:gd name="connsiteX40" fmla="*/ 206839 w 799457"/>
                <a:gd name="connsiteY40" fmla="*/ 585019 h 635860"/>
                <a:gd name="connsiteX41" fmla="*/ 139425 w 799457"/>
                <a:gd name="connsiteY41" fmla="*/ 517607 h 635860"/>
                <a:gd name="connsiteX42" fmla="*/ 140634 w 799457"/>
                <a:gd name="connsiteY42" fmla="*/ 504915 h 635860"/>
                <a:gd name="connsiteX43" fmla="*/ 121358 w 799457"/>
                <a:gd name="connsiteY43" fmla="*/ 508207 h 635860"/>
                <a:gd name="connsiteX44" fmla="*/ 63343 w 799457"/>
                <a:gd name="connsiteY44" fmla="*/ 450192 h 635860"/>
                <a:gd name="connsiteX45" fmla="*/ 73292 w 799457"/>
                <a:gd name="connsiteY45" fmla="*/ 417700 h 635860"/>
                <a:gd name="connsiteX46" fmla="*/ 63343 w 799457"/>
                <a:gd name="connsiteY46" fmla="*/ 418829 h 635860"/>
                <a:gd name="connsiteX47" fmla="*/ 18766 w 799457"/>
                <a:gd name="connsiteY47" fmla="*/ 374250 h 635860"/>
                <a:gd name="connsiteX48" fmla="*/ 41034 w 799457"/>
                <a:gd name="connsiteY48" fmla="*/ 335664 h 635860"/>
                <a:gd name="connsiteX49" fmla="*/ 138 w 799457"/>
                <a:gd name="connsiteY49" fmla="*/ 268901 h 635860"/>
                <a:gd name="connsiteX50" fmla="*/ 69116 w 799457"/>
                <a:gd name="connsiteY50" fmla="*/ 194205 h 63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99457" h="635860">
                  <a:moveTo>
                    <a:pt x="69116" y="194205"/>
                  </a:moveTo>
                  <a:cubicBezTo>
                    <a:pt x="65419" y="186570"/>
                    <a:pt x="63343" y="178003"/>
                    <a:pt x="63343" y="168952"/>
                  </a:cubicBezTo>
                  <a:cubicBezTo>
                    <a:pt x="63343" y="136911"/>
                    <a:pt x="89318" y="110937"/>
                    <a:pt x="121358" y="110937"/>
                  </a:cubicBezTo>
                  <a:cubicBezTo>
                    <a:pt x="125997" y="110937"/>
                    <a:pt x="130502" y="111498"/>
                    <a:pt x="134827" y="112525"/>
                  </a:cubicBezTo>
                  <a:cubicBezTo>
                    <a:pt x="135489" y="88485"/>
                    <a:pt x="155172" y="69195"/>
                    <a:pt x="179373" y="69195"/>
                  </a:cubicBezTo>
                  <a:cubicBezTo>
                    <a:pt x="190055" y="69195"/>
                    <a:pt x="199858" y="72958"/>
                    <a:pt x="207537" y="79224"/>
                  </a:cubicBezTo>
                  <a:cubicBezTo>
                    <a:pt x="210644" y="57642"/>
                    <a:pt x="229205" y="41053"/>
                    <a:pt x="251649" y="41053"/>
                  </a:cubicBezTo>
                  <a:cubicBezTo>
                    <a:pt x="258299" y="41053"/>
                    <a:pt x="264601" y="42519"/>
                    <a:pt x="270268" y="45129"/>
                  </a:cubicBezTo>
                  <a:cubicBezTo>
                    <a:pt x="278726" y="19048"/>
                    <a:pt x="303209" y="185"/>
                    <a:pt x="332109" y="185"/>
                  </a:cubicBezTo>
                  <a:cubicBezTo>
                    <a:pt x="359518" y="185"/>
                    <a:pt x="382951" y="17157"/>
                    <a:pt x="392511" y="41159"/>
                  </a:cubicBezTo>
                  <a:cubicBezTo>
                    <a:pt x="400546" y="29459"/>
                    <a:pt x="414014" y="21781"/>
                    <a:pt x="429279" y="21781"/>
                  </a:cubicBezTo>
                  <a:cubicBezTo>
                    <a:pt x="444897" y="21781"/>
                    <a:pt x="458631" y="29820"/>
                    <a:pt x="466592" y="41980"/>
                  </a:cubicBezTo>
                  <a:cubicBezTo>
                    <a:pt x="471814" y="23162"/>
                    <a:pt x="489057" y="9345"/>
                    <a:pt x="509538" y="9345"/>
                  </a:cubicBezTo>
                  <a:cubicBezTo>
                    <a:pt x="532411" y="9345"/>
                    <a:pt x="551250" y="26574"/>
                    <a:pt x="553809" y="48761"/>
                  </a:cubicBezTo>
                  <a:cubicBezTo>
                    <a:pt x="567504" y="33922"/>
                    <a:pt x="587112" y="24617"/>
                    <a:pt x="608898" y="24617"/>
                  </a:cubicBezTo>
                  <a:cubicBezTo>
                    <a:pt x="650295" y="24617"/>
                    <a:pt x="683853" y="58177"/>
                    <a:pt x="683853" y="99572"/>
                  </a:cubicBezTo>
                  <a:cubicBezTo>
                    <a:pt x="683853" y="105562"/>
                    <a:pt x="683129" y="111379"/>
                    <a:pt x="681803" y="116963"/>
                  </a:cubicBezTo>
                  <a:cubicBezTo>
                    <a:pt x="688379" y="113138"/>
                    <a:pt x="696018" y="110937"/>
                    <a:pt x="704175" y="110937"/>
                  </a:cubicBezTo>
                  <a:cubicBezTo>
                    <a:pt x="728794" y="110937"/>
                    <a:pt x="748752" y="130895"/>
                    <a:pt x="748752" y="155514"/>
                  </a:cubicBezTo>
                  <a:cubicBezTo>
                    <a:pt x="748752" y="166985"/>
                    <a:pt x="744416" y="177441"/>
                    <a:pt x="737299" y="185341"/>
                  </a:cubicBezTo>
                  <a:cubicBezTo>
                    <a:pt x="772664" y="191358"/>
                    <a:pt x="799595" y="222130"/>
                    <a:pt x="799595" y="259209"/>
                  </a:cubicBezTo>
                  <a:cubicBezTo>
                    <a:pt x="799595" y="300605"/>
                    <a:pt x="766037" y="334164"/>
                    <a:pt x="724640" y="334164"/>
                  </a:cubicBezTo>
                  <a:cubicBezTo>
                    <a:pt x="722526" y="334164"/>
                    <a:pt x="720439" y="334053"/>
                    <a:pt x="718369" y="333883"/>
                  </a:cubicBezTo>
                  <a:cubicBezTo>
                    <a:pt x="718369" y="333977"/>
                    <a:pt x="718376" y="334070"/>
                    <a:pt x="718376" y="334164"/>
                  </a:cubicBezTo>
                  <a:cubicBezTo>
                    <a:pt x="718376" y="358783"/>
                    <a:pt x="698418" y="378741"/>
                    <a:pt x="673798" y="378741"/>
                  </a:cubicBezTo>
                  <a:cubicBezTo>
                    <a:pt x="659775" y="378741"/>
                    <a:pt x="647270" y="372258"/>
                    <a:pt x="639099" y="362136"/>
                  </a:cubicBezTo>
                  <a:cubicBezTo>
                    <a:pt x="639105" y="362466"/>
                    <a:pt x="639123" y="362794"/>
                    <a:pt x="639123" y="363126"/>
                  </a:cubicBezTo>
                  <a:cubicBezTo>
                    <a:pt x="639123" y="387745"/>
                    <a:pt x="619165" y="407703"/>
                    <a:pt x="594546" y="407703"/>
                  </a:cubicBezTo>
                  <a:cubicBezTo>
                    <a:pt x="580604" y="407703"/>
                    <a:pt x="568161" y="401300"/>
                    <a:pt x="559988" y="391278"/>
                  </a:cubicBezTo>
                  <a:cubicBezTo>
                    <a:pt x="559993" y="391579"/>
                    <a:pt x="560010" y="391876"/>
                    <a:pt x="560010" y="392177"/>
                  </a:cubicBezTo>
                  <a:cubicBezTo>
                    <a:pt x="560010" y="416340"/>
                    <a:pt x="545236" y="437045"/>
                    <a:pt x="524231" y="445772"/>
                  </a:cubicBezTo>
                  <a:cubicBezTo>
                    <a:pt x="530403" y="456663"/>
                    <a:pt x="533944" y="469243"/>
                    <a:pt x="533944" y="482656"/>
                  </a:cubicBezTo>
                  <a:cubicBezTo>
                    <a:pt x="533944" y="524053"/>
                    <a:pt x="500386" y="557612"/>
                    <a:pt x="458991" y="557612"/>
                  </a:cubicBezTo>
                  <a:cubicBezTo>
                    <a:pt x="444757" y="557612"/>
                    <a:pt x="431450" y="553643"/>
                    <a:pt x="420115" y="546754"/>
                  </a:cubicBezTo>
                  <a:cubicBezTo>
                    <a:pt x="425907" y="555781"/>
                    <a:pt x="429279" y="566509"/>
                    <a:pt x="429279" y="578030"/>
                  </a:cubicBezTo>
                  <a:cubicBezTo>
                    <a:pt x="429279" y="610069"/>
                    <a:pt x="403305" y="636045"/>
                    <a:pt x="371264" y="636045"/>
                  </a:cubicBezTo>
                  <a:cubicBezTo>
                    <a:pt x="349770" y="636045"/>
                    <a:pt x="331020" y="624345"/>
                    <a:pt x="320996" y="606977"/>
                  </a:cubicBezTo>
                  <a:cubicBezTo>
                    <a:pt x="313911" y="611721"/>
                    <a:pt x="305393" y="614490"/>
                    <a:pt x="296226" y="614490"/>
                  </a:cubicBezTo>
                  <a:cubicBezTo>
                    <a:pt x="271607" y="614490"/>
                    <a:pt x="251649" y="594532"/>
                    <a:pt x="251649" y="569913"/>
                  </a:cubicBezTo>
                  <a:cubicBezTo>
                    <a:pt x="251649" y="569242"/>
                    <a:pt x="251670" y="568575"/>
                    <a:pt x="251699" y="567912"/>
                  </a:cubicBezTo>
                  <a:cubicBezTo>
                    <a:pt x="239781" y="578547"/>
                    <a:pt x="224069" y="585019"/>
                    <a:pt x="206839" y="585019"/>
                  </a:cubicBezTo>
                  <a:cubicBezTo>
                    <a:pt x="169608" y="585019"/>
                    <a:pt x="139425" y="554838"/>
                    <a:pt x="139425" y="517607"/>
                  </a:cubicBezTo>
                  <a:cubicBezTo>
                    <a:pt x="139425" y="513266"/>
                    <a:pt x="139851" y="509027"/>
                    <a:pt x="140634" y="504915"/>
                  </a:cubicBezTo>
                  <a:cubicBezTo>
                    <a:pt x="134602" y="507040"/>
                    <a:pt x="128118" y="508207"/>
                    <a:pt x="121358" y="508207"/>
                  </a:cubicBezTo>
                  <a:cubicBezTo>
                    <a:pt x="89318" y="508207"/>
                    <a:pt x="63343" y="482234"/>
                    <a:pt x="63343" y="450192"/>
                  </a:cubicBezTo>
                  <a:cubicBezTo>
                    <a:pt x="63343" y="438153"/>
                    <a:pt x="67012" y="426971"/>
                    <a:pt x="73292" y="417700"/>
                  </a:cubicBezTo>
                  <a:cubicBezTo>
                    <a:pt x="70090" y="418431"/>
                    <a:pt x="66764" y="418829"/>
                    <a:pt x="63343" y="418829"/>
                  </a:cubicBezTo>
                  <a:cubicBezTo>
                    <a:pt x="38724" y="418829"/>
                    <a:pt x="18766" y="398871"/>
                    <a:pt x="18766" y="374250"/>
                  </a:cubicBezTo>
                  <a:cubicBezTo>
                    <a:pt x="18766" y="357762"/>
                    <a:pt x="27724" y="343374"/>
                    <a:pt x="41034" y="335664"/>
                  </a:cubicBezTo>
                  <a:cubicBezTo>
                    <a:pt x="16764" y="323257"/>
                    <a:pt x="138" y="298028"/>
                    <a:pt x="138" y="268901"/>
                  </a:cubicBezTo>
                  <a:cubicBezTo>
                    <a:pt x="138" y="229520"/>
                    <a:pt x="30518" y="197254"/>
                    <a:pt x="69116" y="194205"/>
                  </a:cubicBezTo>
                </a:path>
              </a:pathLst>
            </a:custGeom>
            <a:solidFill>
              <a:schemeClr val="accent2">
                <a:lumMod val="40000"/>
                <a:lumOff val="60000"/>
              </a:schemeClr>
            </a:solidFill>
            <a:ln w="1617" cap="flat">
              <a:noFill/>
              <a:prstDash val="solid"/>
              <a:miter/>
            </a:ln>
          </p:spPr>
          <p:txBody>
            <a:bodyPr rtlCol="0" anchor="ctr"/>
            <a:lstStyle/>
            <a:p>
              <a:endParaRPr lang="en-GB"/>
            </a:p>
          </p:txBody>
        </p:sp>
        <p:sp>
          <p:nvSpPr>
            <p:cNvPr id="114" name="Vrije vorm: vorm 113">
              <a:extLst>
                <a:ext uri="{FF2B5EF4-FFF2-40B4-BE49-F238E27FC236}">
                  <a16:creationId xmlns:a16="http://schemas.microsoft.com/office/drawing/2014/main" id="{A8A14D01-8B21-FA41-5434-57454602C2BC}"/>
                </a:ext>
              </a:extLst>
            </p:cNvPr>
            <p:cNvSpPr/>
            <p:nvPr/>
          </p:nvSpPr>
          <p:spPr>
            <a:xfrm flipV="1">
              <a:off x="2678345" y="-5146"/>
              <a:ext cx="425289" cy="635865"/>
            </a:xfrm>
            <a:custGeom>
              <a:avLst/>
              <a:gdLst>
                <a:gd name="connsiteX0" fmla="*/ 367971 w 425289"/>
                <a:gd name="connsiteY0" fmla="*/ 584048 h 635865"/>
                <a:gd name="connsiteX1" fmla="*/ 413899 w 425289"/>
                <a:gd name="connsiteY1" fmla="*/ 566527 h 635865"/>
                <a:gd name="connsiteX2" fmla="*/ 413848 w 425289"/>
                <a:gd name="connsiteY2" fmla="*/ 568587 h 635865"/>
                <a:gd name="connsiteX3" fmla="*/ 425573 w 425289"/>
                <a:gd name="connsiteY3" fmla="*/ 599105 h 635865"/>
                <a:gd name="connsiteX4" fmla="*/ 371421 w 425289"/>
                <a:gd name="connsiteY4" fmla="*/ 636289 h 635865"/>
                <a:gd name="connsiteX5" fmla="*/ 321138 w 425289"/>
                <a:gd name="connsiteY5" fmla="*/ 607230 h 635865"/>
                <a:gd name="connsiteX6" fmla="*/ 296383 w 425289"/>
                <a:gd name="connsiteY6" fmla="*/ 614733 h 635865"/>
                <a:gd name="connsiteX7" fmla="*/ 251796 w 425289"/>
                <a:gd name="connsiteY7" fmla="*/ 570163 h 635865"/>
                <a:gd name="connsiteX8" fmla="*/ 251846 w 425289"/>
                <a:gd name="connsiteY8" fmla="*/ 568151 h 635865"/>
                <a:gd name="connsiteX9" fmla="*/ 206989 w 425289"/>
                <a:gd name="connsiteY9" fmla="*/ 585270 h 635865"/>
                <a:gd name="connsiteX10" fmla="*/ 139573 w 425289"/>
                <a:gd name="connsiteY10" fmla="*/ 517853 h 635865"/>
                <a:gd name="connsiteX11" fmla="*/ 140778 w 425289"/>
                <a:gd name="connsiteY11" fmla="*/ 505156 h 635865"/>
                <a:gd name="connsiteX12" fmla="*/ 121516 w 425289"/>
                <a:gd name="connsiteY12" fmla="*/ 508457 h 635865"/>
                <a:gd name="connsiteX13" fmla="*/ 63496 w 425289"/>
                <a:gd name="connsiteY13" fmla="*/ 450435 h 635865"/>
                <a:gd name="connsiteX14" fmla="*/ 73445 w 425289"/>
                <a:gd name="connsiteY14" fmla="*/ 417942 h 635865"/>
                <a:gd name="connsiteX15" fmla="*/ 63496 w 425289"/>
                <a:gd name="connsiteY15" fmla="*/ 419080 h 635865"/>
                <a:gd name="connsiteX16" fmla="*/ 18926 w 425289"/>
                <a:gd name="connsiteY16" fmla="*/ 374493 h 635865"/>
                <a:gd name="connsiteX17" fmla="*/ 41186 w 425289"/>
                <a:gd name="connsiteY17" fmla="*/ 335902 h 635865"/>
                <a:gd name="connsiteX18" fmla="*/ 283 w 425289"/>
                <a:gd name="connsiteY18" fmla="*/ 269155 h 635865"/>
                <a:gd name="connsiteX19" fmla="*/ 69275 w 425289"/>
                <a:gd name="connsiteY19" fmla="*/ 194452 h 635865"/>
                <a:gd name="connsiteX20" fmla="*/ 63496 w 425289"/>
                <a:gd name="connsiteY20" fmla="*/ 169193 h 635865"/>
                <a:gd name="connsiteX21" fmla="*/ 121516 w 425289"/>
                <a:gd name="connsiteY21" fmla="*/ 111188 h 635865"/>
                <a:gd name="connsiteX22" fmla="*/ 134984 w 425289"/>
                <a:gd name="connsiteY22" fmla="*/ 112763 h 635865"/>
                <a:gd name="connsiteX23" fmla="*/ 179520 w 425289"/>
                <a:gd name="connsiteY23" fmla="*/ 69448 h 635865"/>
                <a:gd name="connsiteX24" fmla="*/ 207693 w 425289"/>
                <a:gd name="connsiteY24" fmla="*/ 79465 h 635865"/>
                <a:gd name="connsiteX25" fmla="*/ 251796 w 425289"/>
                <a:gd name="connsiteY25" fmla="*/ 41293 h 635865"/>
                <a:gd name="connsiteX26" fmla="*/ 270420 w 425289"/>
                <a:gd name="connsiteY26" fmla="*/ 45380 h 635865"/>
                <a:gd name="connsiteX27" fmla="*/ 332261 w 425289"/>
                <a:gd name="connsiteY27" fmla="*/ 424 h 635865"/>
                <a:gd name="connsiteX28" fmla="*/ 389292 w 425289"/>
                <a:gd name="connsiteY28" fmla="*/ 34291 h 635865"/>
                <a:gd name="connsiteX29" fmla="*/ 368691 w 425289"/>
                <a:gd name="connsiteY29" fmla="*/ 66200 h 635865"/>
                <a:gd name="connsiteX30" fmla="*/ 339848 w 425289"/>
                <a:gd name="connsiteY30" fmla="*/ 55932 h 635865"/>
                <a:gd name="connsiteX31" fmla="*/ 294238 w 425289"/>
                <a:gd name="connsiteY31" fmla="*/ 100285 h 635865"/>
                <a:gd name="connsiteX32" fmla="*/ 280454 w 425289"/>
                <a:gd name="connsiteY32" fmla="*/ 98660 h 635865"/>
                <a:gd name="connsiteX33" fmla="*/ 221060 w 425289"/>
                <a:gd name="connsiteY33" fmla="*/ 158054 h 635865"/>
                <a:gd name="connsiteX34" fmla="*/ 226972 w 425289"/>
                <a:gd name="connsiteY34" fmla="*/ 183916 h 635865"/>
                <a:gd name="connsiteX35" fmla="*/ 156340 w 425289"/>
                <a:gd name="connsiteY35" fmla="*/ 260394 h 635865"/>
                <a:gd name="connsiteX36" fmla="*/ 198213 w 425289"/>
                <a:gd name="connsiteY36" fmla="*/ 328750 h 635865"/>
                <a:gd name="connsiteX37" fmla="*/ 175416 w 425289"/>
                <a:gd name="connsiteY37" fmla="*/ 368263 h 635865"/>
                <a:gd name="connsiteX38" fmla="*/ 221060 w 425289"/>
                <a:gd name="connsiteY38" fmla="*/ 413888 h 635865"/>
                <a:gd name="connsiteX39" fmla="*/ 231243 w 425289"/>
                <a:gd name="connsiteY39" fmla="*/ 412732 h 635865"/>
                <a:gd name="connsiteX40" fmla="*/ 221060 w 425289"/>
                <a:gd name="connsiteY40" fmla="*/ 446014 h 635865"/>
                <a:gd name="connsiteX41" fmla="*/ 280454 w 425289"/>
                <a:gd name="connsiteY41" fmla="*/ 505408 h 635865"/>
                <a:gd name="connsiteX42" fmla="*/ 300202 w 425289"/>
                <a:gd name="connsiteY42" fmla="*/ 502041 h 635865"/>
                <a:gd name="connsiteX43" fmla="*/ 298961 w 425289"/>
                <a:gd name="connsiteY43" fmla="*/ 515022 h 635865"/>
                <a:gd name="connsiteX44" fmla="*/ 367971 w 425289"/>
                <a:gd name="connsiteY44" fmla="*/ 584048 h 63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25289" h="635865">
                  <a:moveTo>
                    <a:pt x="367971" y="584048"/>
                  </a:moveTo>
                  <a:cubicBezTo>
                    <a:pt x="385624" y="584048"/>
                    <a:pt x="401705" y="577416"/>
                    <a:pt x="413899" y="566527"/>
                  </a:cubicBezTo>
                  <a:cubicBezTo>
                    <a:pt x="413881" y="567213"/>
                    <a:pt x="413848" y="567901"/>
                    <a:pt x="413848" y="568587"/>
                  </a:cubicBezTo>
                  <a:cubicBezTo>
                    <a:pt x="413848" y="580313"/>
                    <a:pt x="418269" y="591016"/>
                    <a:pt x="425573" y="599105"/>
                  </a:cubicBezTo>
                  <a:cubicBezTo>
                    <a:pt x="417198" y="620863"/>
                    <a:pt x="396110" y="636289"/>
                    <a:pt x="371421" y="636289"/>
                  </a:cubicBezTo>
                  <a:cubicBezTo>
                    <a:pt x="349915" y="636289"/>
                    <a:pt x="331172" y="624599"/>
                    <a:pt x="321138" y="607230"/>
                  </a:cubicBezTo>
                  <a:cubicBezTo>
                    <a:pt x="314071" y="611969"/>
                    <a:pt x="305544" y="614733"/>
                    <a:pt x="296383" y="614733"/>
                  </a:cubicBezTo>
                  <a:cubicBezTo>
                    <a:pt x="271760" y="614733"/>
                    <a:pt x="251796" y="594785"/>
                    <a:pt x="251796" y="570163"/>
                  </a:cubicBezTo>
                  <a:cubicBezTo>
                    <a:pt x="251796" y="569493"/>
                    <a:pt x="251828" y="568823"/>
                    <a:pt x="251846" y="568151"/>
                  </a:cubicBezTo>
                  <a:cubicBezTo>
                    <a:pt x="239936" y="578788"/>
                    <a:pt x="224225" y="585270"/>
                    <a:pt x="206989" y="585270"/>
                  </a:cubicBezTo>
                  <a:cubicBezTo>
                    <a:pt x="169755" y="585270"/>
                    <a:pt x="139573" y="555087"/>
                    <a:pt x="139573" y="517853"/>
                  </a:cubicBezTo>
                  <a:cubicBezTo>
                    <a:pt x="139573" y="513515"/>
                    <a:pt x="140008" y="509278"/>
                    <a:pt x="140778" y="505156"/>
                  </a:cubicBezTo>
                  <a:cubicBezTo>
                    <a:pt x="134749" y="507284"/>
                    <a:pt x="128267" y="508457"/>
                    <a:pt x="121516" y="508457"/>
                  </a:cubicBezTo>
                  <a:cubicBezTo>
                    <a:pt x="89475" y="508457"/>
                    <a:pt x="63496" y="482478"/>
                    <a:pt x="63496" y="450435"/>
                  </a:cubicBezTo>
                  <a:cubicBezTo>
                    <a:pt x="63496" y="438392"/>
                    <a:pt x="67164" y="427221"/>
                    <a:pt x="73445" y="417942"/>
                  </a:cubicBezTo>
                  <a:cubicBezTo>
                    <a:pt x="70245" y="418678"/>
                    <a:pt x="66912" y="419080"/>
                    <a:pt x="63496" y="419080"/>
                  </a:cubicBezTo>
                  <a:cubicBezTo>
                    <a:pt x="38874" y="419080"/>
                    <a:pt x="18926" y="399116"/>
                    <a:pt x="18926" y="374493"/>
                  </a:cubicBezTo>
                  <a:cubicBezTo>
                    <a:pt x="18926" y="358011"/>
                    <a:pt x="27870" y="343624"/>
                    <a:pt x="41186" y="335902"/>
                  </a:cubicBezTo>
                  <a:cubicBezTo>
                    <a:pt x="16915" y="323507"/>
                    <a:pt x="283" y="298283"/>
                    <a:pt x="283" y="269155"/>
                  </a:cubicBezTo>
                  <a:cubicBezTo>
                    <a:pt x="283" y="229759"/>
                    <a:pt x="30666" y="197500"/>
                    <a:pt x="69275" y="194452"/>
                  </a:cubicBezTo>
                  <a:cubicBezTo>
                    <a:pt x="65573" y="186813"/>
                    <a:pt x="63496" y="178254"/>
                    <a:pt x="63496" y="169193"/>
                  </a:cubicBezTo>
                  <a:cubicBezTo>
                    <a:pt x="63496" y="137150"/>
                    <a:pt x="89475" y="111188"/>
                    <a:pt x="121516" y="111188"/>
                  </a:cubicBezTo>
                  <a:cubicBezTo>
                    <a:pt x="126157" y="111188"/>
                    <a:pt x="130662" y="111742"/>
                    <a:pt x="134984" y="112763"/>
                  </a:cubicBezTo>
                  <a:cubicBezTo>
                    <a:pt x="135637" y="88728"/>
                    <a:pt x="155317" y="69448"/>
                    <a:pt x="179520" y="69448"/>
                  </a:cubicBezTo>
                  <a:cubicBezTo>
                    <a:pt x="190207" y="69448"/>
                    <a:pt x="200005" y="73201"/>
                    <a:pt x="207693" y="79465"/>
                  </a:cubicBezTo>
                  <a:cubicBezTo>
                    <a:pt x="210792" y="57891"/>
                    <a:pt x="229350" y="41293"/>
                    <a:pt x="251796" y="41293"/>
                  </a:cubicBezTo>
                  <a:cubicBezTo>
                    <a:pt x="258444" y="41293"/>
                    <a:pt x="264759" y="42766"/>
                    <a:pt x="270420" y="45380"/>
                  </a:cubicBezTo>
                  <a:cubicBezTo>
                    <a:pt x="278880" y="19301"/>
                    <a:pt x="303367" y="424"/>
                    <a:pt x="332261" y="424"/>
                  </a:cubicBezTo>
                  <a:cubicBezTo>
                    <a:pt x="356866" y="424"/>
                    <a:pt x="378272" y="14108"/>
                    <a:pt x="389292" y="34291"/>
                  </a:cubicBezTo>
                  <a:cubicBezTo>
                    <a:pt x="378371" y="41275"/>
                    <a:pt x="370618" y="52801"/>
                    <a:pt x="368691" y="66200"/>
                  </a:cubicBezTo>
                  <a:cubicBezTo>
                    <a:pt x="360835" y="59784"/>
                    <a:pt x="350785" y="55932"/>
                    <a:pt x="339848" y="55932"/>
                  </a:cubicBezTo>
                  <a:cubicBezTo>
                    <a:pt x="315075" y="55932"/>
                    <a:pt x="294926" y="75679"/>
                    <a:pt x="294238" y="100285"/>
                  </a:cubicBezTo>
                  <a:cubicBezTo>
                    <a:pt x="289817" y="99230"/>
                    <a:pt x="285211" y="98660"/>
                    <a:pt x="280454" y="98660"/>
                  </a:cubicBezTo>
                  <a:cubicBezTo>
                    <a:pt x="247658" y="98660"/>
                    <a:pt x="221060" y="125258"/>
                    <a:pt x="221060" y="158054"/>
                  </a:cubicBezTo>
                  <a:cubicBezTo>
                    <a:pt x="221060" y="167333"/>
                    <a:pt x="223187" y="176094"/>
                    <a:pt x="226972" y="183916"/>
                  </a:cubicBezTo>
                  <a:cubicBezTo>
                    <a:pt x="187443" y="187031"/>
                    <a:pt x="156340" y="220077"/>
                    <a:pt x="156340" y="260394"/>
                  </a:cubicBezTo>
                  <a:cubicBezTo>
                    <a:pt x="156340" y="290208"/>
                    <a:pt x="173374" y="316036"/>
                    <a:pt x="198213" y="328750"/>
                  </a:cubicBezTo>
                  <a:cubicBezTo>
                    <a:pt x="184596" y="336639"/>
                    <a:pt x="175416" y="351378"/>
                    <a:pt x="175416" y="368263"/>
                  </a:cubicBezTo>
                  <a:cubicBezTo>
                    <a:pt x="175416" y="393454"/>
                    <a:pt x="195852" y="413888"/>
                    <a:pt x="221060" y="413888"/>
                  </a:cubicBezTo>
                  <a:cubicBezTo>
                    <a:pt x="224560" y="413888"/>
                    <a:pt x="227960" y="413487"/>
                    <a:pt x="231243" y="412732"/>
                  </a:cubicBezTo>
                  <a:cubicBezTo>
                    <a:pt x="224811" y="422229"/>
                    <a:pt x="221060" y="433687"/>
                    <a:pt x="221060" y="446014"/>
                  </a:cubicBezTo>
                  <a:cubicBezTo>
                    <a:pt x="221060" y="478810"/>
                    <a:pt x="247658" y="505408"/>
                    <a:pt x="280454" y="505408"/>
                  </a:cubicBezTo>
                  <a:cubicBezTo>
                    <a:pt x="287372" y="505408"/>
                    <a:pt x="294020" y="504202"/>
                    <a:pt x="300202" y="502041"/>
                  </a:cubicBezTo>
                  <a:cubicBezTo>
                    <a:pt x="299397" y="506246"/>
                    <a:pt x="298961" y="510583"/>
                    <a:pt x="298961" y="515022"/>
                  </a:cubicBezTo>
                  <a:cubicBezTo>
                    <a:pt x="298961" y="553144"/>
                    <a:pt x="329848" y="584048"/>
                    <a:pt x="367971" y="584048"/>
                  </a:cubicBezTo>
                </a:path>
              </a:pathLst>
            </a:custGeom>
            <a:solidFill>
              <a:schemeClr val="accent2">
                <a:lumMod val="60000"/>
                <a:lumOff val="40000"/>
              </a:schemeClr>
            </a:solidFill>
            <a:ln w="1617" cap="flat">
              <a:noFill/>
              <a:prstDash val="solid"/>
              <a:miter/>
            </a:ln>
          </p:spPr>
          <p:txBody>
            <a:bodyPr rtlCol="0" anchor="ctr"/>
            <a:lstStyle/>
            <a:p>
              <a:endParaRPr lang="en-GB"/>
            </a:p>
          </p:txBody>
        </p:sp>
      </p:grpSp>
      <p:grpSp>
        <p:nvGrpSpPr>
          <p:cNvPr id="125" name="Groep 124">
            <a:extLst>
              <a:ext uri="{FF2B5EF4-FFF2-40B4-BE49-F238E27FC236}">
                <a16:creationId xmlns:a16="http://schemas.microsoft.com/office/drawing/2014/main" id="{1440AB3C-021D-4C66-398F-99B46A89065D}"/>
              </a:ext>
            </a:extLst>
          </p:cNvPr>
          <p:cNvGrpSpPr/>
          <p:nvPr/>
        </p:nvGrpSpPr>
        <p:grpSpPr>
          <a:xfrm>
            <a:off x="4695525" y="5191953"/>
            <a:ext cx="747055" cy="573357"/>
            <a:chOff x="7454582" y="4939753"/>
            <a:chExt cx="994331" cy="763138"/>
          </a:xfrm>
        </p:grpSpPr>
        <p:grpSp>
          <p:nvGrpSpPr>
            <p:cNvPr id="126" name="Groep 125">
              <a:extLst>
                <a:ext uri="{FF2B5EF4-FFF2-40B4-BE49-F238E27FC236}">
                  <a16:creationId xmlns:a16="http://schemas.microsoft.com/office/drawing/2014/main" id="{EA02519E-73EB-A2F5-26EF-EEB6FF3F290F}"/>
                </a:ext>
              </a:extLst>
            </p:cNvPr>
            <p:cNvGrpSpPr/>
            <p:nvPr/>
          </p:nvGrpSpPr>
          <p:grpSpPr>
            <a:xfrm>
              <a:off x="7552908" y="4989125"/>
              <a:ext cx="797678" cy="713766"/>
              <a:chOff x="7645137" y="4989125"/>
              <a:chExt cx="797678" cy="713766"/>
            </a:xfrm>
          </p:grpSpPr>
          <p:pic>
            <p:nvPicPr>
              <p:cNvPr id="130" name="Graphic 129">
                <a:extLst>
                  <a:ext uri="{FF2B5EF4-FFF2-40B4-BE49-F238E27FC236}">
                    <a16:creationId xmlns:a16="http://schemas.microsoft.com/office/drawing/2014/main" id="{6E4AF11B-2475-0771-3D0D-AEB4764C21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95115" y="4989125"/>
                <a:ext cx="647700" cy="647700"/>
              </a:xfrm>
              <a:prstGeom prst="rect">
                <a:avLst/>
              </a:prstGeom>
            </p:spPr>
          </p:pic>
          <p:sp>
            <p:nvSpPr>
              <p:cNvPr id="131" name="Graphic 55">
                <a:extLst>
                  <a:ext uri="{FF2B5EF4-FFF2-40B4-BE49-F238E27FC236}">
                    <a16:creationId xmlns:a16="http://schemas.microsoft.com/office/drawing/2014/main" id="{90154348-7CBD-A0E1-0EB6-661FDD16531D}"/>
                  </a:ext>
                </a:extLst>
              </p:cNvPr>
              <p:cNvSpPr/>
              <p:nvPr/>
            </p:nvSpPr>
            <p:spPr>
              <a:xfrm>
                <a:off x="7645137" y="5248407"/>
                <a:ext cx="531366" cy="454484"/>
              </a:xfrm>
              <a:custGeom>
                <a:avLst/>
                <a:gdLst>
                  <a:gd name="connsiteX0" fmla="*/ 305932 w 492446"/>
                  <a:gd name="connsiteY0" fmla="*/ 274616 h 421195"/>
                  <a:gd name="connsiteX1" fmla="*/ 304855 w 492446"/>
                  <a:gd name="connsiteY1" fmla="*/ 274693 h 421195"/>
                  <a:gd name="connsiteX2" fmla="*/ 305240 w 492446"/>
                  <a:gd name="connsiteY2" fmla="*/ 274308 h 421195"/>
                  <a:gd name="connsiteX3" fmla="*/ 305932 w 492446"/>
                  <a:gd name="connsiteY3" fmla="*/ 274616 h 421195"/>
                  <a:gd name="connsiteX4" fmla="*/ 156121 w 492446"/>
                  <a:gd name="connsiteY4" fmla="*/ 144194 h 421195"/>
                  <a:gd name="connsiteX5" fmla="*/ 224756 w 492446"/>
                  <a:gd name="connsiteY5" fmla="*/ 72097 h 421195"/>
                  <a:gd name="connsiteX6" fmla="*/ 156121 w 492446"/>
                  <a:gd name="connsiteY6" fmla="*/ 0 h 421195"/>
                  <a:gd name="connsiteX7" fmla="*/ 87486 w 492446"/>
                  <a:gd name="connsiteY7" fmla="*/ 72097 h 421195"/>
                  <a:gd name="connsiteX8" fmla="*/ 156121 w 492446"/>
                  <a:gd name="connsiteY8" fmla="*/ 144194 h 421195"/>
                  <a:gd name="connsiteX9" fmla="*/ 252302 w 492446"/>
                  <a:gd name="connsiteY9" fmla="*/ 192977 h 421195"/>
                  <a:gd name="connsiteX10" fmla="*/ 253225 w 492446"/>
                  <a:gd name="connsiteY10" fmla="*/ 180589 h 421195"/>
                  <a:gd name="connsiteX11" fmla="*/ 156121 w 492446"/>
                  <a:gd name="connsiteY11" fmla="*/ 168201 h 421195"/>
                  <a:gd name="connsiteX12" fmla="*/ 0 w 492446"/>
                  <a:gd name="connsiteY12" fmla="*/ 256534 h 421195"/>
                  <a:gd name="connsiteX13" fmla="*/ 156121 w 492446"/>
                  <a:gd name="connsiteY13" fmla="*/ 300315 h 421195"/>
                  <a:gd name="connsiteX14" fmla="*/ 206597 w 492446"/>
                  <a:gd name="connsiteY14" fmla="*/ 299161 h 421195"/>
                  <a:gd name="connsiteX15" fmla="*/ 304855 w 492446"/>
                  <a:gd name="connsiteY15" fmla="*/ 274616 h 421195"/>
                  <a:gd name="connsiteX16" fmla="*/ 305240 w 492446"/>
                  <a:gd name="connsiteY16" fmla="*/ 274231 h 421195"/>
                  <a:gd name="connsiteX17" fmla="*/ 252302 w 492446"/>
                  <a:gd name="connsiteY17" fmla="*/ 192977 h 421195"/>
                  <a:gd name="connsiteX18" fmla="*/ 336326 w 492446"/>
                  <a:gd name="connsiteY18" fmla="*/ 289081 h 421195"/>
                  <a:gd name="connsiteX19" fmla="*/ 180128 w 492446"/>
                  <a:gd name="connsiteY19" fmla="*/ 377414 h 421195"/>
                  <a:gd name="connsiteX20" fmla="*/ 336326 w 492446"/>
                  <a:gd name="connsiteY20" fmla="*/ 421195 h 421195"/>
                  <a:gd name="connsiteX21" fmla="*/ 492446 w 492446"/>
                  <a:gd name="connsiteY21" fmla="*/ 377414 h 421195"/>
                  <a:gd name="connsiteX22" fmla="*/ 336326 w 492446"/>
                  <a:gd name="connsiteY22" fmla="*/ 289081 h 421195"/>
                  <a:gd name="connsiteX23" fmla="*/ 368027 w 492446"/>
                  <a:gd name="connsiteY23" fmla="*/ 129113 h 421195"/>
                  <a:gd name="connsiteX24" fmla="*/ 372336 w 492446"/>
                  <a:gd name="connsiteY24" fmla="*/ 114878 h 421195"/>
                  <a:gd name="connsiteX25" fmla="*/ 336326 w 492446"/>
                  <a:gd name="connsiteY25" fmla="*/ 84870 h 421195"/>
                  <a:gd name="connsiteX26" fmla="*/ 300239 w 492446"/>
                  <a:gd name="connsiteY26" fmla="*/ 114878 h 421195"/>
                  <a:gd name="connsiteX27" fmla="*/ 304547 w 492446"/>
                  <a:gd name="connsiteY27" fmla="*/ 129113 h 421195"/>
                  <a:gd name="connsiteX28" fmla="*/ 267691 w 492446"/>
                  <a:gd name="connsiteY28" fmla="*/ 192977 h 421195"/>
                  <a:gd name="connsiteX29" fmla="*/ 336326 w 492446"/>
                  <a:gd name="connsiteY29" fmla="*/ 264998 h 421195"/>
                  <a:gd name="connsiteX30" fmla="*/ 404960 w 492446"/>
                  <a:gd name="connsiteY30" fmla="*/ 192977 h 421195"/>
                  <a:gd name="connsiteX31" fmla="*/ 368027 w 492446"/>
                  <a:gd name="connsiteY31" fmla="*/ 129113 h 421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92446" h="421195">
                    <a:moveTo>
                      <a:pt x="305932" y="274616"/>
                    </a:moveTo>
                    <a:cubicBezTo>
                      <a:pt x="305548" y="274616"/>
                      <a:pt x="305240" y="274616"/>
                      <a:pt x="304855" y="274693"/>
                    </a:cubicBezTo>
                    <a:cubicBezTo>
                      <a:pt x="304932" y="274539"/>
                      <a:pt x="305086" y="274385"/>
                      <a:pt x="305240" y="274308"/>
                    </a:cubicBezTo>
                    <a:cubicBezTo>
                      <a:pt x="305471" y="274385"/>
                      <a:pt x="305702" y="274462"/>
                      <a:pt x="305932" y="274616"/>
                    </a:cubicBezTo>
                    <a:close/>
                    <a:moveTo>
                      <a:pt x="156121" y="144194"/>
                    </a:moveTo>
                    <a:cubicBezTo>
                      <a:pt x="194055" y="144194"/>
                      <a:pt x="224756" y="111955"/>
                      <a:pt x="224756" y="72097"/>
                    </a:cubicBezTo>
                    <a:cubicBezTo>
                      <a:pt x="224756" y="32240"/>
                      <a:pt x="194055" y="0"/>
                      <a:pt x="156121" y="0"/>
                    </a:cubicBezTo>
                    <a:cubicBezTo>
                      <a:pt x="118187" y="0"/>
                      <a:pt x="87486" y="32240"/>
                      <a:pt x="87486" y="72097"/>
                    </a:cubicBezTo>
                    <a:cubicBezTo>
                      <a:pt x="87486" y="111955"/>
                      <a:pt x="118187" y="144194"/>
                      <a:pt x="156121" y="144194"/>
                    </a:cubicBezTo>
                    <a:close/>
                    <a:moveTo>
                      <a:pt x="252302" y="192977"/>
                    </a:moveTo>
                    <a:cubicBezTo>
                      <a:pt x="252302" y="188745"/>
                      <a:pt x="252610" y="184667"/>
                      <a:pt x="253225" y="180589"/>
                    </a:cubicBezTo>
                    <a:cubicBezTo>
                      <a:pt x="230604" y="173049"/>
                      <a:pt x="199364" y="168201"/>
                      <a:pt x="156121" y="168201"/>
                    </a:cubicBezTo>
                    <a:cubicBezTo>
                      <a:pt x="2386" y="168201"/>
                      <a:pt x="154" y="229526"/>
                      <a:pt x="0" y="256534"/>
                    </a:cubicBezTo>
                    <a:cubicBezTo>
                      <a:pt x="-154" y="293698"/>
                      <a:pt x="72559" y="300315"/>
                      <a:pt x="156121" y="300315"/>
                    </a:cubicBezTo>
                    <a:cubicBezTo>
                      <a:pt x="173664" y="300315"/>
                      <a:pt x="190592" y="300007"/>
                      <a:pt x="206597" y="299161"/>
                    </a:cubicBezTo>
                    <a:cubicBezTo>
                      <a:pt x="227526" y="286619"/>
                      <a:pt x="258688" y="277463"/>
                      <a:pt x="304855" y="274616"/>
                    </a:cubicBezTo>
                    <a:cubicBezTo>
                      <a:pt x="304932" y="274462"/>
                      <a:pt x="305086" y="274308"/>
                      <a:pt x="305240" y="274231"/>
                    </a:cubicBezTo>
                    <a:cubicBezTo>
                      <a:pt x="274231" y="261304"/>
                      <a:pt x="252302" y="229757"/>
                      <a:pt x="252302" y="192977"/>
                    </a:cubicBezTo>
                    <a:close/>
                    <a:moveTo>
                      <a:pt x="336326" y="289081"/>
                    </a:moveTo>
                    <a:cubicBezTo>
                      <a:pt x="182513" y="289081"/>
                      <a:pt x="180282" y="350406"/>
                      <a:pt x="180128" y="377414"/>
                    </a:cubicBezTo>
                    <a:cubicBezTo>
                      <a:pt x="179974" y="414578"/>
                      <a:pt x="252764" y="421195"/>
                      <a:pt x="336326" y="421195"/>
                    </a:cubicBezTo>
                    <a:cubicBezTo>
                      <a:pt x="419888" y="421195"/>
                      <a:pt x="492600" y="414578"/>
                      <a:pt x="492446" y="377414"/>
                    </a:cubicBezTo>
                    <a:cubicBezTo>
                      <a:pt x="492293" y="350406"/>
                      <a:pt x="490061" y="289081"/>
                      <a:pt x="336326" y="289081"/>
                    </a:cubicBezTo>
                    <a:close/>
                    <a:moveTo>
                      <a:pt x="368027" y="129113"/>
                    </a:moveTo>
                    <a:cubicBezTo>
                      <a:pt x="370797" y="124881"/>
                      <a:pt x="372336" y="120034"/>
                      <a:pt x="372336" y="114878"/>
                    </a:cubicBezTo>
                    <a:cubicBezTo>
                      <a:pt x="372336" y="98335"/>
                      <a:pt x="356177" y="84870"/>
                      <a:pt x="336326" y="84870"/>
                    </a:cubicBezTo>
                    <a:cubicBezTo>
                      <a:pt x="316474" y="84870"/>
                      <a:pt x="300239" y="98335"/>
                      <a:pt x="300239" y="114878"/>
                    </a:cubicBezTo>
                    <a:cubicBezTo>
                      <a:pt x="300239" y="120034"/>
                      <a:pt x="301854" y="124881"/>
                      <a:pt x="304547" y="129113"/>
                    </a:cubicBezTo>
                    <a:cubicBezTo>
                      <a:pt x="282618" y="141117"/>
                      <a:pt x="267691" y="165200"/>
                      <a:pt x="267691" y="192977"/>
                    </a:cubicBezTo>
                    <a:cubicBezTo>
                      <a:pt x="267691" y="232758"/>
                      <a:pt x="298392" y="264998"/>
                      <a:pt x="336326" y="264998"/>
                    </a:cubicBezTo>
                    <a:cubicBezTo>
                      <a:pt x="374259" y="264998"/>
                      <a:pt x="404960" y="232758"/>
                      <a:pt x="404960" y="192977"/>
                    </a:cubicBezTo>
                    <a:cubicBezTo>
                      <a:pt x="404960" y="165200"/>
                      <a:pt x="389956" y="141117"/>
                      <a:pt x="368027" y="129113"/>
                    </a:cubicBezTo>
                    <a:close/>
                  </a:path>
                </a:pathLst>
              </a:custGeom>
              <a:solidFill>
                <a:schemeClr val="bg2"/>
              </a:solidFill>
              <a:ln w="19050" cap="flat">
                <a:solidFill>
                  <a:schemeClr val="accent4"/>
                </a:solidFill>
                <a:prstDash val="solid"/>
                <a:miter/>
              </a:ln>
            </p:spPr>
            <p:txBody>
              <a:bodyPr rtlCol="0" anchor="ctr"/>
              <a:lstStyle/>
              <a:p>
                <a:endParaRPr lang="en-GB" dirty="0"/>
              </a:p>
            </p:txBody>
          </p:sp>
        </p:grpSp>
        <p:grpSp>
          <p:nvGrpSpPr>
            <p:cNvPr id="127" name="Groep 126">
              <a:extLst>
                <a:ext uri="{FF2B5EF4-FFF2-40B4-BE49-F238E27FC236}">
                  <a16:creationId xmlns:a16="http://schemas.microsoft.com/office/drawing/2014/main" id="{0364F20C-5600-400F-BF4F-8C77CC6B13E9}"/>
                </a:ext>
              </a:extLst>
            </p:cNvPr>
            <p:cNvGrpSpPr/>
            <p:nvPr/>
          </p:nvGrpSpPr>
          <p:grpSpPr>
            <a:xfrm>
              <a:off x="7454582" y="4939753"/>
              <a:ext cx="994331" cy="55231"/>
              <a:chOff x="7477480" y="4797702"/>
              <a:chExt cx="994331" cy="55231"/>
            </a:xfrm>
          </p:grpSpPr>
          <p:sp>
            <p:nvSpPr>
              <p:cNvPr id="128" name="Rechthoek 59">
                <a:extLst>
                  <a:ext uri="{FF2B5EF4-FFF2-40B4-BE49-F238E27FC236}">
                    <a16:creationId xmlns:a16="http://schemas.microsoft.com/office/drawing/2014/main" id="{312E386B-0A4F-06B7-82FD-A1E774A96F18}"/>
                  </a:ext>
                </a:extLst>
              </p:cNvPr>
              <p:cNvSpPr/>
              <p:nvPr/>
            </p:nvSpPr>
            <p:spPr>
              <a:xfrm rot="19800000">
                <a:off x="7477480" y="4797702"/>
                <a:ext cx="556182" cy="55231"/>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9" name="Rechthoek 59">
                <a:extLst>
                  <a:ext uri="{FF2B5EF4-FFF2-40B4-BE49-F238E27FC236}">
                    <a16:creationId xmlns:a16="http://schemas.microsoft.com/office/drawing/2014/main" id="{4D0E9B92-0B8E-D590-AE16-223E1DD1E07F}"/>
                  </a:ext>
                </a:extLst>
              </p:cNvPr>
              <p:cNvSpPr/>
              <p:nvPr/>
            </p:nvSpPr>
            <p:spPr>
              <a:xfrm rot="1800000" flipH="1">
                <a:off x="7915629" y="4797702"/>
                <a:ext cx="556182" cy="55231"/>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grpSp>
        <p:nvGrpSpPr>
          <p:cNvPr id="134" name="Graphic 132">
            <a:extLst>
              <a:ext uri="{FF2B5EF4-FFF2-40B4-BE49-F238E27FC236}">
                <a16:creationId xmlns:a16="http://schemas.microsoft.com/office/drawing/2014/main" id="{666FDC21-BC64-FC4C-9CA5-9B721ED954A5}"/>
              </a:ext>
            </a:extLst>
          </p:cNvPr>
          <p:cNvGrpSpPr/>
          <p:nvPr/>
        </p:nvGrpSpPr>
        <p:grpSpPr>
          <a:xfrm>
            <a:off x="2927846" y="5556087"/>
            <a:ext cx="344978" cy="261157"/>
            <a:chOff x="3657600" y="5580125"/>
            <a:chExt cx="379476" cy="287273"/>
          </a:xfrm>
          <a:solidFill>
            <a:schemeClr val="bg1"/>
          </a:solidFill>
        </p:grpSpPr>
        <p:grpSp>
          <p:nvGrpSpPr>
            <p:cNvPr id="135" name="Graphic 132">
              <a:extLst>
                <a:ext uri="{FF2B5EF4-FFF2-40B4-BE49-F238E27FC236}">
                  <a16:creationId xmlns:a16="http://schemas.microsoft.com/office/drawing/2014/main" id="{871B04F8-A590-7180-CC41-1AE80F5BDEED}"/>
                </a:ext>
              </a:extLst>
            </p:cNvPr>
            <p:cNvGrpSpPr/>
            <p:nvPr/>
          </p:nvGrpSpPr>
          <p:grpSpPr>
            <a:xfrm>
              <a:off x="3657600" y="5587416"/>
              <a:ext cx="293005" cy="279982"/>
              <a:chOff x="3657600" y="5587416"/>
              <a:chExt cx="293005" cy="279982"/>
            </a:xfrm>
            <a:grpFill/>
          </p:grpSpPr>
          <p:grpSp>
            <p:nvGrpSpPr>
              <p:cNvPr id="136" name="Graphic 132">
                <a:extLst>
                  <a:ext uri="{FF2B5EF4-FFF2-40B4-BE49-F238E27FC236}">
                    <a16:creationId xmlns:a16="http://schemas.microsoft.com/office/drawing/2014/main" id="{29011B98-9E84-57AD-BFA8-09BAA389BC1E}"/>
                  </a:ext>
                </a:extLst>
              </p:cNvPr>
              <p:cNvGrpSpPr/>
              <p:nvPr/>
            </p:nvGrpSpPr>
            <p:grpSpPr>
              <a:xfrm>
                <a:off x="3657600" y="5587416"/>
                <a:ext cx="175803" cy="279982"/>
                <a:chOff x="3657600" y="5587416"/>
                <a:chExt cx="175803" cy="279982"/>
              </a:xfrm>
              <a:grpFill/>
            </p:grpSpPr>
            <p:grpSp>
              <p:nvGrpSpPr>
                <p:cNvPr id="137" name="Graphic 132">
                  <a:extLst>
                    <a:ext uri="{FF2B5EF4-FFF2-40B4-BE49-F238E27FC236}">
                      <a16:creationId xmlns:a16="http://schemas.microsoft.com/office/drawing/2014/main" id="{060C8EBB-DA68-2CB6-8261-B9E2B0131146}"/>
                    </a:ext>
                  </a:extLst>
                </p:cNvPr>
                <p:cNvGrpSpPr/>
                <p:nvPr/>
              </p:nvGrpSpPr>
              <p:grpSpPr>
                <a:xfrm>
                  <a:off x="3703178" y="5756708"/>
                  <a:ext cx="84645" cy="110690"/>
                  <a:chOff x="3703178" y="5756708"/>
                  <a:chExt cx="84645" cy="110690"/>
                </a:xfrm>
                <a:grpFill/>
              </p:grpSpPr>
              <p:sp>
                <p:nvSpPr>
                  <p:cNvPr id="138" name="Vrije vorm: vorm 137">
                    <a:extLst>
                      <a:ext uri="{FF2B5EF4-FFF2-40B4-BE49-F238E27FC236}">
                        <a16:creationId xmlns:a16="http://schemas.microsoft.com/office/drawing/2014/main" id="{4DE38D45-4D73-4E3D-12C4-07376AFC768C}"/>
                      </a:ext>
                    </a:extLst>
                  </p:cNvPr>
                  <p:cNvSpPr/>
                  <p:nvPr/>
                </p:nvSpPr>
                <p:spPr>
                  <a:xfrm>
                    <a:off x="3703178" y="5756708"/>
                    <a:ext cx="32556" cy="110690"/>
                  </a:xfrm>
                  <a:custGeom>
                    <a:avLst/>
                    <a:gdLst>
                      <a:gd name="connsiteX0" fmla="*/ 16278 w 32556"/>
                      <a:gd name="connsiteY0" fmla="*/ 110691 h 110690"/>
                      <a:gd name="connsiteX1" fmla="*/ 0 w 32556"/>
                      <a:gd name="connsiteY1" fmla="*/ 94413 h 110690"/>
                      <a:gd name="connsiteX2" fmla="*/ 0 w 32556"/>
                      <a:gd name="connsiteY2" fmla="*/ 16278 h 110690"/>
                      <a:gd name="connsiteX3" fmla="*/ 16278 w 32556"/>
                      <a:gd name="connsiteY3" fmla="*/ 0 h 110690"/>
                      <a:gd name="connsiteX4" fmla="*/ 32556 w 32556"/>
                      <a:gd name="connsiteY4" fmla="*/ 16278 h 110690"/>
                      <a:gd name="connsiteX5" fmla="*/ 32556 w 32556"/>
                      <a:gd name="connsiteY5" fmla="*/ 94413 h 110690"/>
                      <a:gd name="connsiteX6" fmla="*/ 16278 w 32556"/>
                      <a:gd name="connsiteY6" fmla="*/ 110691 h 11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56" h="110690">
                        <a:moveTo>
                          <a:pt x="16278" y="110691"/>
                        </a:moveTo>
                        <a:cubicBezTo>
                          <a:pt x="7288" y="110691"/>
                          <a:pt x="0" y="103403"/>
                          <a:pt x="0" y="94413"/>
                        </a:cubicBezTo>
                        <a:lnTo>
                          <a:pt x="0" y="16278"/>
                        </a:lnTo>
                        <a:cubicBezTo>
                          <a:pt x="0" y="7288"/>
                          <a:pt x="7288" y="0"/>
                          <a:pt x="16278" y="0"/>
                        </a:cubicBezTo>
                        <a:cubicBezTo>
                          <a:pt x="25268" y="0"/>
                          <a:pt x="32556" y="7288"/>
                          <a:pt x="32556" y="16278"/>
                        </a:cubicBezTo>
                        <a:lnTo>
                          <a:pt x="32556" y="94413"/>
                        </a:lnTo>
                        <a:cubicBezTo>
                          <a:pt x="32556" y="103403"/>
                          <a:pt x="25268" y="110691"/>
                          <a:pt x="16278" y="110691"/>
                        </a:cubicBezTo>
                        <a:close/>
                      </a:path>
                    </a:pathLst>
                  </a:custGeom>
                  <a:grpFill/>
                  <a:ln w="651" cap="flat">
                    <a:noFill/>
                    <a:prstDash val="solid"/>
                    <a:miter/>
                  </a:ln>
                </p:spPr>
                <p:txBody>
                  <a:bodyPr rtlCol="0" anchor="ctr"/>
                  <a:lstStyle/>
                  <a:p>
                    <a:endParaRPr lang="en-GB">
                      <a:solidFill>
                        <a:schemeClr val="bg1"/>
                      </a:solidFill>
                    </a:endParaRPr>
                  </a:p>
                </p:txBody>
              </p:sp>
              <p:sp>
                <p:nvSpPr>
                  <p:cNvPr id="139" name="Vrije vorm: vorm 138">
                    <a:extLst>
                      <a:ext uri="{FF2B5EF4-FFF2-40B4-BE49-F238E27FC236}">
                        <a16:creationId xmlns:a16="http://schemas.microsoft.com/office/drawing/2014/main" id="{8AE2568A-DA49-5347-341B-CD198ABF2899}"/>
                      </a:ext>
                    </a:extLst>
                  </p:cNvPr>
                  <p:cNvSpPr/>
                  <p:nvPr/>
                </p:nvSpPr>
                <p:spPr>
                  <a:xfrm>
                    <a:off x="3755268" y="5756708"/>
                    <a:ext cx="32556" cy="110690"/>
                  </a:xfrm>
                  <a:custGeom>
                    <a:avLst/>
                    <a:gdLst>
                      <a:gd name="connsiteX0" fmla="*/ 16278 w 32556"/>
                      <a:gd name="connsiteY0" fmla="*/ 110691 h 110690"/>
                      <a:gd name="connsiteX1" fmla="*/ 0 w 32556"/>
                      <a:gd name="connsiteY1" fmla="*/ 94413 h 110690"/>
                      <a:gd name="connsiteX2" fmla="*/ 0 w 32556"/>
                      <a:gd name="connsiteY2" fmla="*/ 16278 h 110690"/>
                      <a:gd name="connsiteX3" fmla="*/ 16278 w 32556"/>
                      <a:gd name="connsiteY3" fmla="*/ 0 h 110690"/>
                      <a:gd name="connsiteX4" fmla="*/ 32556 w 32556"/>
                      <a:gd name="connsiteY4" fmla="*/ 16278 h 110690"/>
                      <a:gd name="connsiteX5" fmla="*/ 32556 w 32556"/>
                      <a:gd name="connsiteY5" fmla="*/ 94413 h 110690"/>
                      <a:gd name="connsiteX6" fmla="*/ 16278 w 32556"/>
                      <a:gd name="connsiteY6" fmla="*/ 110691 h 110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56" h="110690">
                        <a:moveTo>
                          <a:pt x="16278" y="110691"/>
                        </a:moveTo>
                        <a:cubicBezTo>
                          <a:pt x="7288" y="110691"/>
                          <a:pt x="0" y="103403"/>
                          <a:pt x="0" y="94413"/>
                        </a:cubicBezTo>
                        <a:lnTo>
                          <a:pt x="0" y="16278"/>
                        </a:lnTo>
                        <a:cubicBezTo>
                          <a:pt x="0" y="7288"/>
                          <a:pt x="7288" y="0"/>
                          <a:pt x="16278" y="0"/>
                        </a:cubicBezTo>
                        <a:cubicBezTo>
                          <a:pt x="25268" y="0"/>
                          <a:pt x="32556" y="7288"/>
                          <a:pt x="32556" y="16278"/>
                        </a:cubicBezTo>
                        <a:lnTo>
                          <a:pt x="32556" y="94413"/>
                        </a:lnTo>
                        <a:cubicBezTo>
                          <a:pt x="32556" y="103403"/>
                          <a:pt x="25268" y="110691"/>
                          <a:pt x="16278" y="110691"/>
                        </a:cubicBezTo>
                        <a:close/>
                      </a:path>
                    </a:pathLst>
                  </a:custGeom>
                  <a:grpFill/>
                  <a:ln w="651" cap="flat">
                    <a:noFill/>
                    <a:prstDash val="solid"/>
                    <a:miter/>
                  </a:ln>
                </p:spPr>
                <p:txBody>
                  <a:bodyPr rtlCol="0" anchor="ctr"/>
                  <a:lstStyle/>
                  <a:p>
                    <a:endParaRPr lang="en-GB">
                      <a:solidFill>
                        <a:schemeClr val="bg1"/>
                      </a:solidFill>
                    </a:endParaRPr>
                  </a:p>
                </p:txBody>
              </p:sp>
            </p:grpSp>
            <p:grpSp>
              <p:nvGrpSpPr>
                <p:cNvPr id="140" name="Graphic 132">
                  <a:extLst>
                    <a:ext uri="{FF2B5EF4-FFF2-40B4-BE49-F238E27FC236}">
                      <a16:creationId xmlns:a16="http://schemas.microsoft.com/office/drawing/2014/main" id="{0328776C-A069-FD29-3ED7-32FCD5CC9634}"/>
                    </a:ext>
                  </a:extLst>
                </p:cNvPr>
                <p:cNvGrpSpPr/>
                <p:nvPr/>
              </p:nvGrpSpPr>
              <p:grpSpPr>
                <a:xfrm>
                  <a:off x="3657600" y="5587416"/>
                  <a:ext cx="175803" cy="206994"/>
                  <a:chOff x="3657600" y="5587416"/>
                  <a:chExt cx="175803" cy="206994"/>
                </a:xfrm>
                <a:grpFill/>
              </p:grpSpPr>
              <p:sp>
                <p:nvSpPr>
                  <p:cNvPr id="141" name="Vrije vorm: vorm 140">
                    <a:extLst>
                      <a:ext uri="{FF2B5EF4-FFF2-40B4-BE49-F238E27FC236}">
                        <a16:creationId xmlns:a16="http://schemas.microsoft.com/office/drawing/2014/main" id="{EB641D33-CC87-0F1E-F20E-646C4A0A86FE}"/>
                      </a:ext>
                    </a:extLst>
                  </p:cNvPr>
                  <p:cNvSpPr/>
                  <p:nvPr/>
                </p:nvSpPr>
                <p:spPr>
                  <a:xfrm>
                    <a:off x="3657600" y="5654225"/>
                    <a:ext cx="175803" cy="140185"/>
                  </a:xfrm>
                  <a:custGeom>
                    <a:avLst/>
                    <a:gdLst>
                      <a:gd name="connsiteX0" fmla="*/ 160542 w 175803"/>
                      <a:gd name="connsiteY0" fmla="*/ 12970 h 140185"/>
                      <a:gd name="connsiteX1" fmla="*/ 144700 w 175803"/>
                      <a:gd name="connsiteY1" fmla="*/ 0 h 140185"/>
                      <a:gd name="connsiteX2" fmla="*/ 87902 w 175803"/>
                      <a:gd name="connsiteY2" fmla="*/ 37371 h 140185"/>
                      <a:gd name="connsiteX3" fmla="*/ 31103 w 175803"/>
                      <a:gd name="connsiteY3" fmla="*/ 0 h 140185"/>
                      <a:gd name="connsiteX4" fmla="*/ 15262 w 175803"/>
                      <a:gd name="connsiteY4" fmla="*/ 12970 h 140185"/>
                      <a:gd name="connsiteX5" fmla="*/ 0 w 175803"/>
                      <a:gd name="connsiteY5" fmla="*/ 53649 h 140185"/>
                      <a:gd name="connsiteX6" fmla="*/ 0 w 175803"/>
                      <a:gd name="connsiteY6" fmla="*/ 105738 h 140185"/>
                      <a:gd name="connsiteX7" fmla="*/ 26045 w 175803"/>
                      <a:gd name="connsiteY7" fmla="*/ 140185 h 140185"/>
                      <a:gd name="connsiteX8" fmla="*/ 26045 w 175803"/>
                      <a:gd name="connsiteY8" fmla="*/ 60160 h 140185"/>
                      <a:gd name="connsiteX9" fmla="*/ 35812 w 175803"/>
                      <a:gd name="connsiteY9" fmla="*/ 50393 h 140185"/>
                      <a:gd name="connsiteX10" fmla="*/ 45579 w 175803"/>
                      <a:gd name="connsiteY10" fmla="*/ 60160 h 140185"/>
                      <a:gd name="connsiteX11" fmla="*/ 45579 w 175803"/>
                      <a:gd name="connsiteY11" fmla="*/ 86879 h 140185"/>
                      <a:gd name="connsiteX12" fmla="*/ 61857 w 175803"/>
                      <a:gd name="connsiteY12" fmla="*/ 82949 h 140185"/>
                      <a:gd name="connsiteX13" fmla="*/ 87902 w 175803"/>
                      <a:gd name="connsiteY13" fmla="*/ 94220 h 140185"/>
                      <a:gd name="connsiteX14" fmla="*/ 113947 w 175803"/>
                      <a:gd name="connsiteY14" fmla="*/ 82949 h 140185"/>
                      <a:gd name="connsiteX15" fmla="*/ 130225 w 175803"/>
                      <a:gd name="connsiteY15" fmla="*/ 86879 h 140185"/>
                      <a:gd name="connsiteX16" fmla="*/ 130225 w 175803"/>
                      <a:gd name="connsiteY16" fmla="*/ 60160 h 140185"/>
                      <a:gd name="connsiteX17" fmla="*/ 139991 w 175803"/>
                      <a:gd name="connsiteY17" fmla="*/ 50393 h 140185"/>
                      <a:gd name="connsiteX18" fmla="*/ 149758 w 175803"/>
                      <a:gd name="connsiteY18" fmla="*/ 60160 h 140185"/>
                      <a:gd name="connsiteX19" fmla="*/ 149758 w 175803"/>
                      <a:gd name="connsiteY19" fmla="*/ 140185 h 140185"/>
                      <a:gd name="connsiteX20" fmla="*/ 175803 w 175803"/>
                      <a:gd name="connsiteY20" fmla="*/ 105738 h 140185"/>
                      <a:gd name="connsiteX21" fmla="*/ 175803 w 175803"/>
                      <a:gd name="connsiteY21" fmla="*/ 53649 h 140185"/>
                      <a:gd name="connsiteX22" fmla="*/ 160542 w 175803"/>
                      <a:gd name="connsiteY22" fmla="*/ 12970 h 14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5803" h="140185">
                        <a:moveTo>
                          <a:pt x="160542" y="12970"/>
                        </a:moveTo>
                        <a:cubicBezTo>
                          <a:pt x="155981" y="7752"/>
                          <a:pt x="150611" y="3392"/>
                          <a:pt x="144700" y="0"/>
                        </a:cubicBezTo>
                        <a:cubicBezTo>
                          <a:pt x="135196" y="21963"/>
                          <a:pt x="113316" y="37371"/>
                          <a:pt x="87902" y="37371"/>
                        </a:cubicBezTo>
                        <a:cubicBezTo>
                          <a:pt x="62488" y="37371"/>
                          <a:pt x="40607" y="21963"/>
                          <a:pt x="31103" y="0"/>
                        </a:cubicBezTo>
                        <a:cubicBezTo>
                          <a:pt x="25192" y="3392"/>
                          <a:pt x="19822" y="7752"/>
                          <a:pt x="15262" y="12970"/>
                        </a:cubicBezTo>
                        <a:cubicBezTo>
                          <a:pt x="5420" y="24231"/>
                          <a:pt x="0" y="38678"/>
                          <a:pt x="0" y="53649"/>
                        </a:cubicBezTo>
                        <a:lnTo>
                          <a:pt x="0" y="105738"/>
                        </a:lnTo>
                        <a:cubicBezTo>
                          <a:pt x="0" y="122099"/>
                          <a:pt x="11032" y="135922"/>
                          <a:pt x="26045" y="140185"/>
                        </a:cubicBezTo>
                        <a:lnTo>
                          <a:pt x="26045" y="60160"/>
                        </a:lnTo>
                        <a:cubicBezTo>
                          <a:pt x="26045" y="54766"/>
                          <a:pt x="30418" y="50393"/>
                          <a:pt x="35812" y="50393"/>
                        </a:cubicBezTo>
                        <a:cubicBezTo>
                          <a:pt x="41206" y="50393"/>
                          <a:pt x="45579" y="54766"/>
                          <a:pt x="45579" y="60160"/>
                        </a:cubicBezTo>
                        <a:lnTo>
                          <a:pt x="45579" y="86879"/>
                        </a:lnTo>
                        <a:cubicBezTo>
                          <a:pt x="50467" y="84373"/>
                          <a:pt x="55997" y="82949"/>
                          <a:pt x="61857" y="82949"/>
                        </a:cubicBezTo>
                        <a:cubicBezTo>
                          <a:pt x="72112" y="82949"/>
                          <a:pt x="81367" y="87289"/>
                          <a:pt x="87902" y="94220"/>
                        </a:cubicBezTo>
                        <a:cubicBezTo>
                          <a:pt x="94436" y="87289"/>
                          <a:pt x="103691" y="82949"/>
                          <a:pt x="113947" y="82949"/>
                        </a:cubicBezTo>
                        <a:cubicBezTo>
                          <a:pt x="119807" y="82949"/>
                          <a:pt x="125337" y="84373"/>
                          <a:pt x="130225" y="86879"/>
                        </a:cubicBezTo>
                        <a:lnTo>
                          <a:pt x="130225" y="60160"/>
                        </a:lnTo>
                        <a:cubicBezTo>
                          <a:pt x="130225" y="54766"/>
                          <a:pt x="134598" y="50393"/>
                          <a:pt x="139991" y="50393"/>
                        </a:cubicBezTo>
                        <a:cubicBezTo>
                          <a:pt x="145385" y="50393"/>
                          <a:pt x="149758" y="54766"/>
                          <a:pt x="149758" y="60160"/>
                        </a:cubicBezTo>
                        <a:lnTo>
                          <a:pt x="149758" y="140185"/>
                        </a:lnTo>
                        <a:cubicBezTo>
                          <a:pt x="164771" y="135923"/>
                          <a:pt x="175803" y="122099"/>
                          <a:pt x="175803" y="105738"/>
                        </a:cubicBezTo>
                        <a:lnTo>
                          <a:pt x="175803" y="53649"/>
                        </a:lnTo>
                        <a:cubicBezTo>
                          <a:pt x="175803" y="38678"/>
                          <a:pt x="170383" y="24231"/>
                          <a:pt x="160542" y="12970"/>
                        </a:cubicBezTo>
                        <a:close/>
                      </a:path>
                    </a:pathLst>
                  </a:custGeom>
                  <a:grpFill/>
                  <a:ln w="651" cap="flat">
                    <a:noFill/>
                    <a:prstDash val="solid"/>
                    <a:miter/>
                  </a:ln>
                </p:spPr>
                <p:txBody>
                  <a:bodyPr rtlCol="0" anchor="ctr"/>
                  <a:lstStyle/>
                  <a:p>
                    <a:endParaRPr lang="en-GB">
                      <a:solidFill>
                        <a:schemeClr val="bg1"/>
                      </a:solidFill>
                    </a:endParaRPr>
                  </a:p>
                </p:txBody>
              </p:sp>
              <p:sp>
                <p:nvSpPr>
                  <p:cNvPr id="142" name="Vrije vorm: vorm 141">
                    <a:extLst>
                      <a:ext uri="{FF2B5EF4-FFF2-40B4-BE49-F238E27FC236}">
                        <a16:creationId xmlns:a16="http://schemas.microsoft.com/office/drawing/2014/main" id="{B1D5C282-8C9A-8EB5-3E2F-3ABB9EBEFDA2}"/>
                      </a:ext>
                    </a:extLst>
                  </p:cNvPr>
                  <p:cNvSpPr/>
                  <p:nvPr/>
                </p:nvSpPr>
                <p:spPr>
                  <a:xfrm>
                    <a:off x="3703178" y="5587416"/>
                    <a:ext cx="84645" cy="84645"/>
                  </a:xfrm>
                  <a:custGeom>
                    <a:avLst/>
                    <a:gdLst>
                      <a:gd name="connsiteX0" fmla="*/ 42323 w 84645"/>
                      <a:gd name="connsiteY0" fmla="*/ 84646 h 84645"/>
                      <a:gd name="connsiteX1" fmla="*/ 0 w 84645"/>
                      <a:gd name="connsiteY1" fmla="*/ 42323 h 84645"/>
                      <a:gd name="connsiteX2" fmla="*/ 42323 w 84645"/>
                      <a:gd name="connsiteY2" fmla="*/ 0 h 84645"/>
                      <a:gd name="connsiteX3" fmla="*/ 84646 w 84645"/>
                      <a:gd name="connsiteY3" fmla="*/ 42323 h 84645"/>
                      <a:gd name="connsiteX4" fmla="*/ 42323 w 84645"/>
                      <a:gd name="connsiteY4" fmla="*/ 84646 h 84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45" h="84645">
                        <a:moveTo>
                          <a:pt x="42323" y="84646"/>
                        </a:moveTo>
                        <a:cubicBezTo>
                          <a:pt x="18986" y="84646"/>
                          <a:pt x="0" y="65660"/>
                          <a:pt x="0" y="42323"/>
                        </a:cubicBezTo>
                        <a:cubicBezTo>
                          <a:pt x="0" y="18986"/>
                          <a:pt x="18986" y="0"/>
                          <a:pt x="42323" y="0"/>
                        </a:cubicBezTo>
                        <a:cubicBezTo>
                          <a:pt x="65660" y="0"/>
                          <a:pt x="84646" y="18986"/>
                          <a:pt x="84646" y="42323"/>
                        </a:cubicBezTo>
                        <a:cubicBezTo>
                          <a:pt x="84646" y="65660"/>
                          <a:pt x="65660" y="84646"/>
                          <a:pt x="42323" y="84646"/>
                        </a:cubicBezTo>
                        <a:close/>
                      </a:path>
                    </a:pathLst>
                  </a:custGeom>
                  <a:grpFill/>
                  <a:ln w="651" cap="flat">
                    <a:noFill/>
                    <a:prstDash val="solid"/>
                    <a:miter/>
                  </a:ln>
                </p:spPr>
                <p:txBody>
                  <a:bodyPr rtlCol="0" anchor="ctr"/>
                  <a:lstStyle/>
                  <a:p>
                    <a:endParaRPr lang="en-GB">
                      <a:solidFill>
                        <a:schemeClr val="bg1"/>
                      </a:solidFill>
                    </a:endParaRPr>
                  </a:p>
                </p:txBody>
              </p:sp>
            </p:grpSp>
          </p:grpSp>
          <p:sp>
            <p:nvSpPr>
              <p:cNvPr id="143" name="Vrije vorm: vorm 142">
                <a:extLst>
                  <a:ext uri="{FF2B5EF4-FFF2-40B4-BE49-F238E27FC236}">
                    <a16:creationId xmlns:a16="http://schemas.microsoft.com/office/drawing/2014/main" id="{31230C4C-2209-9910-7179-4E261C6C3FF7}"/>
                  </a:ext>
                </a:extLst>
              </p:cNvPr>
              <p:cNvSpPr/>
              <p:nvPr/>
            </p:nvSpPr>
            <p:spPr>
              <a:xfrm>
                <a:off x="3839914" y="5802286"/>
                <a:ext cx="110690" cy="65112"/>
              </a:xfrm>
              <a:custGeom>
                <a:avLst/>
                <a:gdLst>
                  <a:gd name="connsiteX0" fmla="*/ 55345 w 110690"/>
                  <a:gd name="connsiteY0" fmla="*/ 65112 h 65112"/>
                  <a:gd name="connsiteX1" fmla="*/ 0 w 110690"/>
                  <a:gd name="connsiteY1" fmla="*/ 9767 h 65112"/>
                  <a:gd name="connsiteX2" fmla="*/ 9767 w 110690"/>
                  <a:gd name="connsiteY2" fmla="*/ 0 h 65112"/>
                  <a:gd name="connsiteX3" fmla="*/ 100924 w 110690"/>
                  <a:gd name="connsiteY3" fmla="*/ 0 h 65112"/>
                  <a:gd name="connsiteX4" fmla="*/ 110691 w 110690"/>
                  <a:gd name="connsiteY4" fmla="*/ 9767 h 65112"/>
                  <a:gd name="connsiteX5" fmla="*/ 55345 w 110690"/>
                  <a:gd name="connsiteY5" fmla="*/ 65112 h 6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690" h="65112">
                    <a:moveTo>
                      <a:pt x="55345" y="65112"/>
                    </a:moveTo>
                    <a:cubicBezTo>
                      <a:pt x="24828" y="65112"/>
                      <a:pt x="0" y="40284"/>
                      <a:pt x="0" y="9767"/>
                    </a:cubicBezTo>
                    <a:cubicBezTo>
                      <a:pt x="0" y="4373"/>
                      <a:pt x="4373" y="0"/>
                      <a:pt x="9767" y="0"/>
                    </a:cubicBezTo>
                    <a:lnTo>
                      <a:pt x="100924" y="0"/>
                    </a:lnTo>
                    <a:cubicBezTo>
                      <a:pt x="106318" y="0"/>
                      <a:pt x="110691" y="4373"/>
                      <a:pt x="110691" y="9767"/>
                    </a:cubicBezTo>
                    <a:cubicBezTo>
                      <a:pt x="110691" y="40284"/>
                      <a:pt x="85863" y="65112"/>
                      <a:pt x="55345" y="65112"/>
                    </a:cubicBezTo>
                    <a:close/>
                  </a:path>
                </a:pathLst>
              </a:custGeom>
              <a:grpFill/>
              <a:ln w="651" cap="flat">
                <a:noFill/>
                <a:prstDash val="solid"/>
                <a:miter/>
              </a:ln>
            </p:spPr>
            <p:txBody>
              <a:bodyPr rtlCol="0" anchor="ctr"/>
              <a:lstStyle/>
              <a:p>
                <a:endParaRPr lang="en-GB">
                  <a:solidFill>
                    <a:schemeClr val="bg1"/>
                  </a:solidFill>
                </a:endParaRPr>
              </a:p>
            </p:txBody>
          </p:sp>
        </p:grpSp>
        <p:sp>
          <p:nvSpPr>
            <p:cNvPr id="144" name="Vrije vorm: vorm 143">
              <a:extLst>
                <a:ext uri="{FF2B5EF4-FFF2-40B4-BE49-F238E27FC236}">
                  <a16:creationId xmlns:a16="http://schemas.microsoft.com/office/drawing/2014/main" id="{9F0DB77A-659D-3FB8-1CA3-FA12F966CFF9}"/>
                </a:ext>
              </a:extLst>
            </p:cNvPr>
            <p:cNvSpPr/>
            <p:nvPr/>
          </p:nvSpPr>
          <p:spPr>
            <a:xfrm>
              <a:off x="3874296" y="5580125"/>
              <a:ext cx="162780" cy="162780"/>
            </a:xfrm>
            <a:custGeom>
              <a:avLst/>
              <a:gdLst>
                <a:gd name="connsiteX0" fmla="*/ 81390 w 162780"/>
                <a:gd name="connsiteY0" fmla="*/ 0 h 162780"/>
                <a:gd name="connsiteX1" fmla="*/ 0 w 162780"/>
                <a:gd name="connsiteY1" fmla="*/ 81390 h 162780"/>
                <a:gd name="connsiteX2" fmla="*/ 81390 w 162780"/>
                <a:gd name="connsiteY2" fmla="*/ 162781 h 162780"/>
                <a:gd name="connsiteX3" fmla="*/ 162781 w 162780"/>
                <a:gd name="connsiteY3" fmla="*/ 81390 h 162780"/>
                <a:gd name="connsiteX4" fmla="*/ 81390 w 162780"/>
                <a:gd name="connsiteY4" fmla="*/ 0 h 162780"/>
                <a:gd name="connsiteX5" fmla="*/ 39067 w 162780"/>
                <a:gd name="connsiteY5" fmla="*/ 58601 h 162780"/>
                <a:gd name="connsiteX6" fmla="*/ 48834 w 162780"/>
                <a:gd name="connsiteY6" fmla="*/ 48834 h 162780"/>
                <a:gd name="connsiteX7" fmla="*/ 58601 w 162780"/>
                <a:gd name="connsiteY7" fmla="*/ 58601 h 162780"/>
                <a:gd name="connsiteX8" fmla="*/ 48834 w 162780"/>
                <a:gd name="connsiteY8" fmla="*/ 68368 h 162780"/>
                <a:gd name="connsiteX9" fmla="*/ 39067 w 162780"/>
                <a:gd name="connsiteY9" fmla="*/ 58601 h 162780"/>
                <a:gd name="connsiteX10" fmla="*/ 109912 w 162780"/>
                <a:gd name="connsiteY10" fmla="*/ 125110 h 162780"/>
                <a:gd name="connsiteX11" fmla="*/ 96272 w 162780"/>
                <a:gd name="connsiteY11" fmla="*/ 122935 h 162780"/>
                <a:gd name="connsiteX12" fmla="*/ 81390 w 162780"/>
                <a:gd name="connsiteY12" fmla="*/ 113947 h 162780"/>
                <a:gd name="connsiteX13" fmla="*/ 66509 w 162780"/>
                <a:gd name="connsiteY13" fmla="*/ 122935 h 162780"/>
                <a:gd name="connsiteX14" fmla="*/ 52869 w 162780"/>
                <a:gd name="connsiteY14" fmla="*/ 125110 h 162780"/>
                <a:gd name="connsiteX15" fmla="*/ 50694 w 162780"/>
                <a:gd name="connsiteY15" fmla="*/ 111470 h 162780"/>
                <a:gd name="connsiteX16" fmla="*/ 81390 w 162780"/>
                <a:gd name="connsiteY16" fmla="*/ 94413 h 162780"/>
                <a:gd name="connsiteX17" fmla="*/ 112088 w 162780"/>
                <a:gd name="connsiteY17" fmla="*/ 111470 h 162780"/>
                <a:gd name="connsiteX18" fmla="*/ 109912 w 162780"/>
                <a:gd name="connsiteY18" fmla="*/ 125110 h 162780"/>
                <a:gd name="connsiteX19" fmla="*/ 113947 w 162780"/>
                <a:gd name="connsiteY19" fmla="*/ 68368 h 162780"/>
                <a:gd name="connsiteX20" fmla="*/ 104180 w 162780"/>
                <a:gd name="connsiteY20" fmla="*/ 58601 h 162780"/>
                <a:gd name="connsiteX21" fmla="*/ 113947 w 162780"/>
                <a:gd name="connsiteY21" fmla="*/ 48834 h 162780"/>
                <a:gd name="connsiteX22" fmla="*/ 123713 w 162780"/>
                <a:gd name="connsiteY22" fmla="*/ 58601 h 162780"/>
                <a:gd name="connsiteX23" fmla="*/ 113947 w 162780"/>
                <a:gd name="connsiteY23" fmla="*/ 68368 h 16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2780" h="162780">
                  <a:moveTo>
                    <a:pt x="81390" y="0"/>
                  </a:moveTo>
                  <a:cubicBezTo>
                    <a:pt x="36512" y="0"/>
                    <a:pt x="0" y="36512"/>
                    <a:pt x="0" y="81390"/>
                  </a:cubicBezTo>
                  <a:cubicBezTo>
                    <a:pt x="0" y="126269"/>
                    <a:pt x="36512" y="162781"/>
                    <a:pt x="81390" y="162781"/>
                  </a:cubicBezTo>
                  <a:cubicBezTo>
                    <a:pt x="126269" y="162781"/>
                    <a:pt x="162781" y="126269"/>
                    <a:pt x="162781" y="81390"/>
                  </a:cubicBezTo>
                  <a:cubicBezTo>
                    <a:pt x="162781" y="36512"/>
                    <a:pt x="126269" y="0"/>
                    <a:pt x="81390" y="0"/>
                  </a:cubicBezTo>
                  <a:close/>
                  <a:moveTo>
                    <a:pt x="39067" y="58601"/>
                  </a:moveTo>
                  <a:cubicBezTo>
                    <a:pt x="39067" y="53207"/>
                    <a:pt x="43440" y="48834"/>
                    <a:pt x="48834" y="48834"/>
                  </a:cubicBezTo>
                  <a:cubicBezTo>
                    <a:pt x="54228" y="48834"/>
                    <a:pt x="58601" y="53207"/>
                    <a:pt x="58601" y="58601"/>
                  </a:cubicBezTo>
                  <a:cubicBezTo>
                    <a:pt x="58601" y="63995"/>
                    <a:pt x="54228" y="68368"/>
                    <a:pt x="48834" y="68368"/>
                  </a:cubicBezTo>
                  <a:cubicBezTo>
                    <a:pt x="43440" y="68368"/>
                    <a:pt x="39067" y="63995"/>
                    <a:pt x="39067" y="58601"/>
                  </a:cubicBezTo>
                  <a:close/>
                  <a:moveTo>
                    <a:pt x="109912" y="125110"/>
                  </a:moveTo>
                  <a:cubicBezTo>
                    <a:pt x="105544" y="128276"/>
                    <a:pt x="99438" y="127302"/>
                    <a:pt x="96272" y="122935"/>
                  </a:cubicBezTo>
                  <a:cubicBezTo>
                    <a:pt x="92070" y="117138"/>
                    <a:pt x="86786" y="113947"/>
                    <a:pt x="81390" y="113947"/>
                  </a:cubicBezTo>
                  <a:cubicBezTo>
                    <a:pt x="75995" y="113947"/>
                    <a:pt x="70711" y="117138"/>
                    <a:pt x="66509" y="122935"/>
                  </a:cubicBezTo>
                  <a:cubicBezTo>
                    <a:pt x="63344" y="127302"/>
                    <a:pt x="57237" y="128276"/>
                    <a:pt x="52869" y="125110"/>
                  </a:cubicBezTo>
                  <a:cubicBezTo>
                    <a:pt x="48502" y="121944"/>
                    <a:pt x="47528" y="115837"/>
                    <a:pt x="50694" y="111470"/>
                  </a:cubicBezTo>
                  <a:cubicBezTo>
                    <a:pt x="58551" y="100630"/>
                    <a:pt x="69739" y="94413"/>
                    <a:pt x="81390" y="94413"/>
                  </a:cubicBezTo>
                  <a:cubicBezTo>
                    <a:pt x="93042" y="94413"/>
                    <a:pt x="104230" y="100630"/>
                    <a:pt x="112088" y="111470"/>
                  </a:cubicBezTo>
                  <a:cubicBezTo>
                    <a:pt x="115253" y="115837"/>
                    <a:pt x="114279" y="121944"/>
                    <a:pt x="109912" y="125110"/>
                  </a:cubicBezTo>
                  <a:close/>
                  <a:moveTo>
                    <a:pt x="113947" y="68368"/>
                  </a:moveTo>
                  <a:cubicBezTo>
                    <a:pt x="108553" y="68368"/>
                    <a:pt x="104180" y="63995"/>
                    <a:pt x="104180" y="58601"/>
                  </a:cubicBezTo>
                  <a:cubicBezTo>
                    <a:pt x="104180" y="53207"/>
                    <a:pt x="108553" y="48834"/>
                    <a:pt x="113947" y="48834"/>
                  </a:cubicBezTo>
                  <a:cubicBezTo>
                    <a:pt x="119340" y="48834"/>
                    <a:pt x="123713" y="53207"/>
                    <a:pt x="123713" y="58601"/>
                  </a:cubicBezTo>
                  <a:cubicBezTo>
                    <a:pt x="123713" y="63995"/>
                    <a:pt x="119340" y="68368"/>
                    <a:pt x="113947" y="68368"/>
                  </a:cubicBezTo>
                  <a:close/>
                </a:path>
              </a:pathLst>
            </a:custGeom>
            <a:grpFill/>
            <a:ln w="651" cap="flat">
              <a:noFill/>
              <a:prstDash val="solid"/>
              <a:miter/>
            </a:ln>
          </p:spPr>
          <p:txBody>
            <a:bodyPr rtlCol="0" anchor="ctr"/>
            <a:lstStyle/>
            <a:p>
              <a:endParaRPr lang="en-GB">
                <a:solidFill>
                  <a:schemeClr val="bg1"/>
                </a:solidFill>
              </a:endParaRPr>
            </a:p>
          </p:txBody>
        </p:sp>
      </p:grpSp>
      <p:pic>
        <p:nvPicPr>
          <p:cNvPr id="145" name="Graphic 144">
            <a:extLst>
              <a:ext uri="{FF2B5EF4-FFF2-40B4-BE49-F238E27FC236}">
                <a16:creationId xmlns:a16="http://schemas.microsoft.com/office/drawing/2014/main" id="{DB81ACC4-559A-B694-A825-F1A651883C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78962" y="4292718"/>
            <a:ext cx="485895" cy="485895"/>
          </a:xfrm>
          <a:prstGeom prst="rect">
            <a:avLst/>
          </a:prstGeom>
        </p:spPr>
      </p:pic>
      <p:pic>
        <p:nvPicPr>
          <p:cNvPr id="146" name="Graphic 145">
            <a:extLst>
              <a:ext uri="{FF2B5EF4-FFF2-40B4-BE49-F238E27FC236}">
                <a16:creationId xmlns:a16="http://schemas.microsoft.com/office/drawing/2014/main" id="{47C176E3-9A6E-4EFA-E0A9-B1CEC5CD19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68353" y="5284199"/>
            <a:ext cx="507112" cy="507112"/>
          </a:xfrm>
          <a:prstGeom prst="rect">
            <a:avLst/>
          </a:prstGeom>
        </p:spPr>
      </p:pic>
      <p:pic>
        <p:nvPicPr>
          <p:cNvPr id="147" name="Graphic 146">
            <a:extLst>
              <a:ext uri="{FF2B5EF4-FFF2-40B4-BE49-F238E27FC236}">
                <a16:creationId xmlns:a16="http://schemas.microsoft.com/office/drawing/2014/main" id="{6990044B-E3EC-612E-FC47-666BCFD5E0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35942" y="5299770"/>
            <a:ext cx="475970" cy="475970"/>
          </a:xfrm>
          <a:prstGeom prst="rect">
            <a:avLst/>
          </a:prstGeom>
        </p:spPr>
      </p:pic>
      <p:pic>
        <p:nvPicPr>
          <p:cNvPr id="149" name="Graphic 148">
            <a:extLst>
              <a:ext uri="{FF2B5EF4-FFF2-40B4-BE49-F238E27FC236}">
                <a16:creationId xmlns:a16="http://schemas.microsoft.com/office/drawing/2014/main" id="{1E67652B-B840-BE55-8C1B-4223B116105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73902" y="4335640"/>
            <a:ext cx="400050" cy="400050"/>
          </a:xfrm>
          <a:prstGeom prst="rect">
            <a:avLst/>
          </a:prstGeom>
        </p:spPr>
      </p:pic>
      <p:pic>
        <p:nvPicPr>
          <p:cNvPr id="151" name="Graphic 150">
            <a:extLst>
              <a:ext uri="{FF2B5EF4-FFF2-40B4-BE49-F238E27FC236}">
                <a16:creationId xmlns:a16="http://schemas.microsoft.com/office/drawing/2014/main" id="{3188AC11-E8FD-D1DB-33C0-BD31656D10E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073902" y="4822836"/>
            <a:ext cx="400050" cy="400050"/>
          </a:xfrm>
          <a:prstGeom prst="rect">
            <a:avLst/>
          </a:prstGeom>
        </p:spPr>
      </p:pic>
      <p:pic>
        <p:nvPicPr>
          <p:cNvPr id="153" name="Graphic 152">
            <a:extLst>
              <a:ext uri="{FF2B5EF4-FFF2-40B4-BE49-F238E27FC236}">
                <a16:creationId xmlns:a16="http://schemas.microsoft.com/office/drawing/2014/main" id="{C3BE5E43-D6FC-F495-F67D-7C2EF66A8BF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517598" y="4818550"/>
            <a:ext cx="408623" cy="408623"/>
          </a:xfrm>
          <a:prstGeom prst="rect">
            <a:avLst/>
          </a:prstGeom>
        </p:spPr>
      </p:pic>
      <p:pic>
        <p:nvPicPr>
          <p:cNvPr id="154" name="Graphic 153">
            <a:extLst>
              <a:ext uri="{FF2B5EF4-FFF2-40B4-BE49-F238E27FC236}">
                <a16:creationId xmlns:a16="http://schemas.microsoft.com/office/drawing/2014/main" id="{4C9BF503-83D8-CB24-6584-AFA2C90A301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591396" y="3980897"/>
            <a:ext cx="647700" cy="647700"/>
          </a:xfrm>
          <a:prstGeom prst="rect">
            <a:avLst/>
          </a:prstGeom>
        </p:spPr>
      </p:pic>
      <p:pic>
        <p:nvPicPr>
          <p:cNvPr id="155" name="Graphic 154">
            <a:extLst>
              <a:ext uri="{FF2B5EF4-FFF2-40B4-BE49-F238E27FC236}">
                <a16:creationId xmlns:a16="http://schemas.microsoft.com/office/drawing/2014/main" id="{EB1A2CD7-3CC9-325E-5308-C6EAD9B8CC9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591396" y="4656698"/>
            <a:ext cx="647700" cy="647700"/>
          </a:xfrm>
          <a:prstGeom prst="rect">
            <a:avLst/>
          </a:prstGeom>
        </p:spPr>
      </p:pic>
      <p:grpSp>
        <p:nvGrpSpPr>
          <p:cNvPr id="159" name="Graphic 156">
            <a:extLst>
              <a:ext uri="{FF2B5EF4-FFF2-40B4-BE49-F238E27FC236}">
                <a16:creationId xmlns:a16="http://schemas.microsoft.com/office/drawing/2014/main" id="{75C66A95-07EF-A3B7-B011-6F2A08547E95}"/>
              </a:ext>
            </a:extLst>
          </p:cNvPr>
          <p:cNvGrpSpPr/>
          <p:nvPr/>
        </p:nvGrpSpPr>
        <p:grpSpPr>
          <a:xfrm>
            <a:off x="8564516" y="3503216"/>
            <a:ext cx="701460" cy="335280"/>
            <a:chOff x="3667123" y="990600"/>
            <a:chExt cx="4857752" cy="2321880"/>
          </a:xfrm>
          <a:solidFill>
            <a:schemeClr val="bg1"/>
          </a:solidFill>
        </p:grpSpPr>
        <p:sp>
          <p:nvSpPr>
            <p:cNvPr id="160" name="Vrije vorm: vorm 159">
              <a:extLst>
                <a:ext uri="{FF2B5EF4-FFF2-40B4-BE49-F238E27FC236}">
                  <a16:creationId xmlns:a16="http://schemas.microsoft.com/office/drawing/2014/main" id="{38DA2548-EAC3-C1EF-284C-E671A9ABDE80}"/>
                </a:ext>
              </a:extLst>
            </p:cNvPr>
            <p:cNvSpPr/>
            <p:nvPr/>
          </p:nvSpPr>
          <p:spPr>
            <a:xfrm>
              <a:off x="5095793" y="990600"/>
              <a:ext cx="2000414" cy="1923869"/>
            </a:xfrm>
            <a:custGeom>
              <a:avLst/>
              <a:gdLst>
                <a:gd name="connsiteX0" fmla="*/ 517327 w 2000414"/>
                <a:gd name="connsiteY0" fmla="*/ 1923869 h 1923869"/>
                <a:gd name="connsiteX1" fmla="*/ 388768 w 2000414"/>
                <a:gd name="connsiteY1" fmla="*/ 1881797 h 1923869"/>
                <a:gd name="connsiteX2" fmla="*/ 301624 w 2000414"/>
                <a:gd name="connsiteY2" fmla="*/ 1667542 h 1923869"/>
                <a:gd name="connsiteX3" fmla="*/ 374338 w 2000414"/>
                <a:gd name="connsiteY3" fmla="*/ 1243584 h 1923869"/>
                <a:gd name="connsiteX4" fmla="*/ 66318 w 2000414"/>
                <a:gd name="connsiteY4" fmla="*/ 943337 h 1923869"/>
                <a:gd name="connsiteX5" fmla="*/ 10883 w 2000414"/>
                <a:gd name="connsiteY5" fmla="*/ 718785 h 1923869"/>
                <a:gd name="connsiteX6" fmla="*/ 187724 w 2000414"/>
                <a:gd name="connsiteY6" fmla="*/ 569700 h 1923869"/>
                <a:gd name="connsiteX7" fmla="*/ 613396 w 2000414"/>
                <a:gd name="connsiteY7" fmla="*/ 507844 h 1923869"/>
                <a:gd name="connsiteX8" fmla="*/ 803763 w 2000414"/>
                <a:gd name="connsiteY8" fmla="*/ 122120 h 1923869"/>
                <a:gd name="connsiteX9" fmla="*/ 1000207 w 2000414"/>
                <a:gd name="connsiteY9" fmla="*/ 0 h 1923869"/>
                <a:gd name="connsiteX10" fmla="*/ 1196650 w 2000414"/>
                <a:gd name="connsiteY10" fmla="*/ 122111 h 1923869"/>
                <a:gd name="connsiteX11" fmla="*/ 1387017 w 2000414"/>
                <a:gd name="connsiteY11" fmla="*/ 507835 h 1923869"/>
                <a:gd name="connsiteX12" fmla="*/ 1812699 w 2000414"/>
                <a:gd name="connsiteY12" fmla="*/ 569690 h 1923869"/>
                <a:gd name="connsiteX13" fmla="*/ 1989530 w 2000414"/>
                <a:gd name="connsiteY13" fmla="*/ 718776 h 1923869"/>
                <a:gd name="connsiteX14" fmla="*/ 1934095 w 2000414"/>
                <a:gd name="connsiteY14" fmla="*/ 943327 h 1923869"/>
                <a:gd name="connsiteX15" fmla="*/ 1626075 w 2000414"/>
                <a:gd name="connsiteY15" fmla="*/ 1243575 h 1923869"/>
                <a:gd name="connsiteX16" fmla="*/ 1698789 w 2000414"/>
                <a:gd name="connsiteY16" fmla="*/ 1667532 h 1923869"/>
                <a:gd name="connsiteX17" fmla="*/ 1611645 w 2000414"/>
                <a:gd name="connsiteY17" fmla="*/ 1881788 h 1923869"/>
                <a:gd name="connsiteX18" fmla="*/ 1380949 w 2000414"/>
                <a:gd name="connsiteY18" fmla="*/ 1898466 h 1923869"/>
                <a:gd name="connsiteX19" fmla="*/ 1000207 w 2000414"/>
                <a:gd name="connsiteY19" fmla="*/ 1698308 h 1923869"/>
                <a:gd name="connsiteX20" fmla="*/ 619464 w 2000414"/>
                <a:gd name="connsiteY20" fmla="*/ 1898485 h 1923869"/>
                <a:gd name="connsiteX21" fmla="*/ 517327 w 2000414"/>
                <a:gd name="connsiteY21" fmla="*/ 1923869 h 192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00414" h="1923869">
                  <a:moveTo>
                    <a:pt x="517327" y="1923869"/>
                  </a:moveTo>
                  <a:cubicBezTo>
                    <a:pt x="472093" y="1923869"/>
                    <a:pt x="427173" y="1909696"/>
                    <a:pt x="388768" y="1881797"/>
                  </a:cubicBezTo>
                  <a:cubicBezTo>
                    <a:pt x="320817" y="1832420"/>
                    <a:pt x="287422" y="1750324"/>
                    <a:pt x="301624" y="1667542"/>
                  </a:cubicBezTo>
                  <a:lnTo>
                    <a:pt x="374338" y="1243584"/>
                  </a:lnTo>
                  <a:lnTo>
                    <a:pt x="66318" y="943337"/>
                  </a:lnTo>
                  <a:cubicBezTo>
                    <a:pt x="6178" y="884711"/>
                    <a:pt x="-15073" y="798671"/>
                    <a:pt x="10883" y="718785"/>
                  </a:cubicBezTo>
                  <a:cubicBezTo>
                    <a:pt x="36839" y="638889"/>
                    <a:pt x="104599" y="581768"/>
                    <a:pt x="187724" y="569700"/>
                  </a:cubicBezTo>
                  <a:lnTo>
                    <a:pt x="613396" y="507844"/>
                  </a:lnTo>
                  <a:lnTo>
                    <a:pt x="803763" y="122120"/>
                  </a:lnTo>
                  <a:cubicBezTo>
                    <a:pt x="840939" y="46787"/>
                    <a:pt x="916215" y="0"/>
                    <a:pt x="1000207" y="0"/>
                  </a:cubicBezTo>
                  <a:cubicBezTo>
                    <a:pt x="1084198" y="0"/>
                    <a:pt x="1159474" y="46787"/>
                    <a:pt x="1196650" y="122111"/>
                  </a:cubicBezTo>
                  <a:lnTo>
                    <a:pt x="1387017" y="507835"/>
                  </a:lnTo>
                  <a:lnTo>
                    <a:pt x="1812699" y="569690"/>
                  </a:lnTo>
                  <a:cubicBezTo>
                    <a:pt x="1895814" y="581768"/>
                    <a:pt x="1963575" y="638889"/>
                    <a:pt x="1989530" y="718776"/>
                  </a:cubicBezTo>
                  <a:cubicBezTo>
                    <a:pt x="2015486" y="798662"/>
                    <a:pt x="1994245" y="884701"/>
                    <a:pt x="1934095" y="943327"/>
                  </a:cubicBezTo>
                  <a:lnTo>
                    <a:pt x="1626075" y="1243575"/>
                  </a:lnTo>
                  <a:lnTo>
                    <a:pt x="1698789" y="1667532"/>
                  </a:lnTo>
                  <a:cubicBezTo>
                    <a:pt x="1712991" y="1750314"/>
                    <a:pt x="1679596" y="1832420"/>
                    <a:pt x="1611645" y="1881788"/>
                  </a:cubicBezTo>
                  <a:cubicBezTo>
                    <a:pt x="1543684" y="1931165"/>
                    <a:pt x="1455302" y="1937537"/>
                    <a:pt x="1380949" y="1898466"/>
                  </a:cubicBezTo>
                  <a:lnTo>
                    <a:pt x="1000207" y="1698308"/>
                  </a:lnTo>
                  <a:lnTo>
                    <a:pt x="619464" y="1898485"/>
                  </a:lnTo>
                  <a:cubicBezTo>
                    <a:pt x="587136" y="1915478"/>
                    <a:pt x="552141" y="1923869"/>
                    <a:pt x="517327" y="1923869"/>
                  </a:cubicBezTo>
                  <a:close/>
                </a:path>
              </a:pathLst>
            </a:custGeom>
            <a:grpFill/>
            <a:ln w="9525" cap="flat">
              <a:noFill/>
              <a:prstDash val="solid"/>
              <a:miter/>
            </a:ln>
          </p:spPr>
          <p:txBody>
            <a:bodyPr rtlCol="0" anchor="ctr"/>
            <a:lstStyle/>
            <a:p>
              <a:endParaRPr lang="en-GB"/>
            </a:p>
          </p:txBody>
        </p:sp>
        <p:sp>
          <p:nvSpPr>
            <p:cNvPr id="161" name="Vrije vorm: vorm 160">
              <a:extLst>
                <a:ext uri="{FF2B5EF4-FFF2-40B4-BE49-F238E27FC236}">
                  <a16:creationId xmlns:a16="http://schemas.microsoft.com/office/drawing/2014/main" id="{1BBBA852-D340-E07F-3297-F208A180467C}"/>
                </a:ext>
              </a:extLst>
            </p:cNvPr>
            <p:cNvSpPr/>
            <p:nvPr/>
          </p:nvSpPr>
          <p:spPr>
            <a:xfrm>
              <a:off x="3667123" y="1752600"/>
              <a:ext cx="1619410" cy="1559880"/>
            </a:xfrm>
            <a:custGeom>
              <a:avLst/>
              <a:gdLst>
                <a:gd name="connsiteX0" fmla="*/ 1185321 w 1619410"/>
                <a:gd name="connsiteY0" fmla="*/ 1559881 h 1559880"/>
                <a:gd name="connsiteX1" fmla="*/ 1091071 w 1619410"/>
                <a:gd name="connsiteY1" fmla="*/ 1536449 h 1559880"/>
                <a:gd name="connsiteX2" fmla="*/ 809712 w 1619410"/>
                <a:gd name="connsiteY2" fmla="*/ 1388526 h 1559880"/>
                <a:gd name="connsiteX3" fmla="*/ 528353 w 1619410"/>
                <a:gd name="connsiteY3" fmla="*/ 1536449 h 1559880"/>
                <a:gd name="connsiteX4" fmla="*/ 315488 w 1619410"/>
                <a:gd name="connsiteY4" fmla="*/ 1521066 h 1559880"/>
                <a:gd name="connsiteX5" fmla="*/ 235078 w 1619410"/>
                <a:gd name="connsiteY5" fmla="*/ 1323375 h 1559880"/>
                <a:gd name="connsiteX6" fmla="*/ 288818 w 1619410"/>
                <a:gd name="connsiteY6" fmla="*/ 1010069 h 1559880"/>
                <a:gd name="connsiteX7" fmla="*/ 61190 w 1619410"/>
                <a:gd name="connsiteY7" fmla="*/ 788194 h 1559880"/>
                <a:gd name="connsiteX8" fmla="*/ 10041 w 1619410"/>
                <a:gd name="connsiteY8" fmla="*/ 581006 h 1559880"/>
                <a:gd name="connsiteX9" fmla="*/ 173194 w 1619410"/>
                <a:gd name="connsiteY9" fmla="*/ 443427 h 1559880"/>
                <a:gd name="connsiteX10" fmla="*/ 487776 w 1619410"/>
                <a:gd name="connsiteY10" fmla="*/ 397716 h 1559880"/>
                <a:gd name="connsiteX11" fmla="*/ 628451 w 1619410"/>
                <a:gd name="connsiteY11" fmla="*/ 112671 h 1559880"/>
                <a:gd name="connsiteX12" fmla="*/ 809712 w 1619410"/>
                <a:gd name="connsiteY12" fmla="*/ 0 h 1559880"/>
                <a:gd name="connsiteX13" fmla="*/ 990963 w 1619410"/>
                <a:gd name="connsiteY13" fmla="*/ 112671 h 1559880"/>
                <a:gd name="connsiteX14" fmla="*/ 1131638 w 1619410"/>
                <a:gd name="connsiteY14" fmla="*/ 397716 h 1559880"/>
                <a:gd name="connsiteX15" fmla="*/ 1446201 w 1619410"/>
                <a:gd name="connsiteY15" fmla="*/ 443427 h 1559880"/>
                <a:gd name="connsiteX16" fmla="*/ 1609374 w 1619410"/>
                <a:gd name="connsiteY16" fmla="*/ 581006 h 1559880"/>
                <a:gd name="connsiteX17" fmla="*/ 1558225 w 1619410"/>
                <a:gd name="connsiteY17" fmla="*/ 788194 h 1559880"/>
                <a:gd name="connsiteX18" fmla="*/ 1330606 w 1619410"/>
                <a:gd name="connsiteY18" fmla="*/ 1010069 h 1559880"/>
                <a:gd name="connsiteX19" fmla="*/ 1384346 w 1619410"/>
                <a:gd name="connsiteY19" fmla="*/ 1323366 h 1559880"/>
                <a:gd name="connsiteX20" fmla="*/ 1303936 w 1619410"/>
                <a:gd name="connsiteY20" fmla="*/ 1521066 h 1559880"/>
                <a:gd name="connsiteX21" fmla="*/ 1185321 w 1619410"/>
                <a:gd name="connsiteY21" fmla="*/ 1559881 h 155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19410" h="1559880">
                  <a:moveTo>
                    <a:pt x="1185321" y="1559881"/>
                  </a:moveTo>
                  <a:cubicBezTo>
                    <a:pt x="1153193" y="1559881"/>
                    <a:pt x="1120913" y="1552137"/>
                    <a:pt x="1091071" y="1536449"/>
                  </a:cubicBezTo>
                  <a:lnTo>
                    <a:pt x="809712" y="1388526"/>
                  </a:lnTo>
                  <a:lnTo>
                    <a:pt x="528353" y="1536449"/>
                  </a:lnTo>
                  <a:cubicBezTo>
                    <a:pt x="459754" y="1572501"/>
                    <a:pt x="378182" y="1566605"/>
                    <a:pt x="315488" y="1521066"/>
                  </a:cubicBezTo>
                  <a:cubicBezTo>
                    <a:pt x="252785" y="1475508"/>
                    <a:pt x="221972" y="1399765"/>
                    <a:pt x="235078" y="1323375"/>
                  </a:cubicBezTo>
                  <a:lnTo>
                    <a:pt x="288818" y="1010069"/>
                  </a:lnTo>
                  <a:lnTo>
                    <a:pt x="61190" y="788194"/>
                  </a:lnTo>
                  <a:cubicBezTo>
                    <a:pt x="5697" y="734101"/>
                    <a:pt x="-13905" y="654710"/>
                    <a:pt x="10041" y="581006"/>
                  </a:cubicBezTo>
                  <a:cubicBezTo>
                    <a:pt x="33986" y="507301"/>
                    <a:pt x="96499" y="454581"/>
                    <a:pt x="173194" y="443427"/>
                  </a:cubicBezTo>
                  <a:lnTo>
                    <a:pt x="487776" y="397716"/>
                  </a:lnTo>
                  <a:lnTo>
                    <a:pt x="628451" y="112671"/>
                  </a:lnTo>
                  <a:cubicBezTo>
                    <a:pt x="662760" y="43167"/>
                    <a:pt x="732207" y="0"/>
                    <a:pt x="809712" y="0"/>
                  </a:cubicBezTo>
                  <a:cubicBezTo>
                    <a:pt x="887217" y="0"/>
                    <a:pt x="956664" y="43167"/>
                    <a:pt x="990963" y="112671"/>
                  </a:cubicBezTo>
                  <a:lnTo>
                    <a:pt x="1131638" y="397716"/>
                  </a:lnTo>
                  <a:lnTo>
                    <a:pt x="1446201" y="443427"/>
                  </a:lnTo>
                  <a:cubicBezTo>
                    <a:pt x="1522915" y="454581"/>
                    <a:pt x="1585437" y="507301"/>
                    <a:pt x="1609374" y="581006"/>
                  </a:cubicBezTo>
                  <a:cubicBezTo>
                    <a:pt x="1633310" y="654710"/>
                    <a:pt x="1613717" y="734101"/>
                    <a:pt x="1558225" y="788194"/>
                  </a:cubicBezTo>
                  <a:lnTo>
                    <a:pt x="1330606" y="1010069"/>
                  </a:lnTo>
                  <a:lnTo>
                    <a:pt x="1384346" y="1323366"/>
                  </a:lnTo>
                  <a:cubicBezTo>
                    <a:pt x="1397443" y="1399765"/>
                    <a:pt x="1366639" y="1475508"/>
                    <a:pt x="1303936" y="1521066"/>
                  </a:cubicBezTo>
                  <a:cubicBezTo>
                    <a:pt x="1268512" y="1546803"/>
                    <a:pt x="1227050" y="1559881"/>
                    <a:pt x="1185321" y="1559881"/>
                  </a:cubicBezTo>
                  <a:close/>
                </a:path>
              </a:pathLst>
            </a:custGeom>
            <a:grpFill/>
            <a:ln w="9525" cap="flat">
              <a:noFill/>
              <a:prstDash val="solid"/>
              <a:miter/>
            </a:ln>
          </p:spPr>
          <p:txBody>
            <a:bodyPr rtlCol="0" anchor="ctr"/>
            <a:lstStyle/>
            <a:p>
              <a:endParaRPr lang="en-GB"/>
            </a:p>
          </p:txBody>
        </p:sp>
        <p:sp>
          <p:nvSpPr>
            <p:cNvPr id="162" name="Vrije vorm: vorm 161">
              <a:extLst>
                <a:ext uri="{FF2B5EF4-FFF2-40B4-BE49-F238E27FC236}">
                  <a16:creationId xmlns:a16="http://schemas.microsoft.com/office/drawing/2014/main" id="{BF0D130B-79FF-837F-ED36-51CDCA7ED91A}"/>
                </a:ext>
              </a:extLst>
            </p:cNvPr>
            <p:cNvSpPr/>
            <p:nvPr/>
          </p:nvSpPr>
          <p:spPr>
            <a:xfrm>
              <a:off x="6905461" y="1752600"/>
              <a:ext cx="1619414" cy="1559880"/>
            </a:xfrm>
            <a:custGeom>
              <a:avLst/>
              <a:gdLst>
                <a:gd name="connsiteX0" fmla="*/ 1185311 w 1619414"/>
                <a:gd name="connsiteY0" fmla="*/ 1559881 h 1559880"/>
                <a:gd name="connsiteX1" fmla="*/ 1091061 w 1619414"/>
                <a:gd name="connsiteY1" fmla="*/ 1536449 h 1559880"/>
                <a:gd name="connsiteX2" fmla="*/ 809702 w 1619414"/>
                <a:gd name="connsiteY2" fmla="*/ 1388526 h 1559880"/>
                <a:gd name="connsiteX3" fmla="*/ 528343 w 1619414"/>
                <a:gd name="connsiteY3" fmla="*/ 1536449 h 1559880"/>
                <a:gd name="connsiteX4" fmla="*/ 315479 w 1619414"/>
                <a:gd name="connsiteY4" fmla="*/ 1521066 h 1559880"/>
                <a:gd name="connsiteX5" fmla="*/ 235069 w 1619414"/>
                <a:gd name="connsiteY5" fmla="*/ 1323375 h 1559880"/>
                <a:gd name="connsiteX6" fmla="*/ 288809 w 1619414"/>
                <a:gd name="connsiteY6" fmla="*/ 1010069 h 1559880"/>
                <a:gd name="connsiteX7" fmla="*/ 61190 w 1619414"/>
                <a:gd name="connsiteY7" fmla="*/ 788194 h 1559880"/>
                <a:gd name="connsiteX8" fmla="*/ 10040 w 1619414"/>
                <a:gd name="connsiteY8" fmla="*/ 581006 h 1559880"/>
                <a:gd name="connsiteX9" fmla="*/ 173194 w 1619414"/>
                <a:gd name="connsiteY9" fmla="*/ 443427 h 1559880"/>
                <a:gd name="connsiteX10" fmla="*/ 487776 w 1619414"/>
                <a:gd name="connsiteY10" fmla="*/ 397716 h 1559880"/>
                <a:gd name="connsiteX11" fmla="*/ 628451 w 1619414"/>
                <a:gd name="connsiteY11" fmla="*/ 112671 h 1559880"/>
                <a:gd name="connsiteX12" fmla="*/ 809702 w 1619414"/>
                <a:gd name="connsiteY12" fmla="*/ 0 h 1559880"/>
                <a:gd name="connsiteX13" fmla="*/ 990954 w 1619414"/>
                <a:gd name="connsiteY13" fmla="*/ 112671 h 1559880"/>
                <a:gd name="connsiteX14" fmla="*/ 1131638 w 1619414"/>
                <a:gd name="connsiteY14" fmla="*/ 397716 h 1559880"/>
                <a:gd name="connsiteX15" fmla="*/ 1446201 w 1619414"/>
                <a:gd name="connsiteY15" fmla="*/ 443427 h 1559880"/>
                <a:gd name="connsiteX16" fmla="*/ 1609374 w 1619414"/>
                <a:gd name="connsiteY16" fmla="*/ 581006 h 1559880"/>
                <a:gd name="connsiteX17" fmla="*/ 1558224 w 1619414"/>
                <a:gd name="connsiteY17" fmla="*/ 788194 h 1559880"/>
                <a:gd name="connsiteX18" fmla="*/ 1330606 w 1619414"/>
                <a:gd name="connsiteY18" fmla="*/ 1010069 h 1559880"/>
                <a:gd name="connsiteX19" fmla="*/ 1384346 w 1619414"/>
                <a:gd name="connsiteY19" fmla="*/ 1323366 h 1559880"/>
                <a:gd name="connsiteX20" fmla="*/ 1303936 w 1619414"/>
                <a:gd name="connsiteY20" fmla="*/ 1521066 h 1559880"/>
                <a:gd name="connsiteX21" fmla="*/ 1185311 w 1619414"/>
                <a:gd name="connsiteY21" fmla="*/ 1559881 h 155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19414" h="1559880">
                  <a:moveTo>
                    <a:pt x="1185311" y="1559881"/>
                  </a:moveTo>
                  <a:cubicBezTo>
                    <a:pt x="1153183" y="1559881"/>
                    <a:pt x="1120903" y="1552137"/>
                    <a:pt x="1091061" y="1536449"/>
                  </a:cubicBezTo>
                  <a:lnTo>
                    <a:pt x="809702" y="1388526"/>
                  </a:lnTo>
                  <a:lnTo>
                    <a:pt x="528343" y="1536449"/>
                  </a:lnTo>
                  <a:cubicBezTo>
                    <a:pt x="459744" y="1572501"/>
                    <a:pt x="378172" y="1566605"/>
                    <a:pt x="315479" y="1521066"/>
                  </a:cubicBezTo>
                  <a:cubicBezTo>
                    <a:pt x="252776" y="1475508"/>
                    <a:pt x="221962" y="1399765"/>
                    <a:pt x="235069" y="1323375"/>
                  </a:cubicBezTo>
                  <a:lnTo>
                    <a:pt x="288809" y="1010069"/>
                  </a:lnTo>
                  <a:lnTo>
                    <a:pt x="61190" y="788194"/>
                  </a:lnTo>
                  <a:cubicBezTo>
                    <a:pt x="5697" y="734101"/>
                    <a:pt x="-13905" y="654710"/>
                    <a:pt x="10040" y="581006"/>
                  </a:cubicBezTo>
                  <a:cubicBezTo>
                    <a:pt x="33986" y="507301"/>
                    <a:pt x="96499" y="454581"/>
                    <a:pt x="173194" y="443427"/>
                  </a:cubicBezTo>
                  <a:lnTo>
                    <a:pt x="487776" y="397716"/>
                  </a:lnTo>
                  <a:lnTo>
                    <a:pt x="628451" y="112671"/>
                  </a:lnTo>
                  <a:cubicBezTo>
                    <a:pt x="662751" y="43167"/>
                    <a:pt x="732198" y="0"/>
                    <a:pt x="809702" y="0"/>
                  </a:cubicBezTo>
                  <a:cubicBezTo>
                    <a:pt x="887207" y="0"/>
                    <a:pt x="956654" y="43167"/>
                    <a:pt x="990954" y="112671"/>
                  </a:cubicBezTo>
                  <a:lnTo>
                    <a:pt x="1131638" y="397716"/>
                  </a:lnTo>
                  <a:lnTo>
                    <a:pt x="1446201" y="443427"/>
                  </a:lnTo>
                  <a:cubicBezTo>
                    <a:pt x="1522915" y="454581"/>
                    <a:pt x="1585438" y="507301"/>
                    <a:pt x="1609374" y="581006"/>
                  </a:cubicBezTo>
                  <a:cubicBezTo>
                    <a:pt x="1633320" y="654710"/>
                    <a:pt x="1613717" y="734101"/>
                    <a:pt x="1558224" y="788194"/>
                  </a:cubicBezTo>
                  <a:lnTo>
                    <a:pt x="1330606" y="1010069"/>
                  </a:lnTo>
                  <a:lnTo>
                    <a:pt x="1384346" y="1323366"/>
                  </a:lnTo>
                  <a:cubicBezTo>
                    <a:pt x="1397443" y="1399765"/>
                    <a:pt x="1366639" y="1475508"/>
                    <a:pt x="1303936" y="1521066"/>
                  </a:cubicBezTo>
                  <a:cubicBezTo>
                    <a:pt x="1268493" y="1546803"/>
                    <a:pt x="1227040" y="1559881"/>
                    <a:pt x="1185311" y="1559881"/>
                  </a:cubicBezTo>
                  <a:close/>
                </a:path>
              </a:pathLst>
            </a:custGeom>
            <a:grp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423696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4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4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4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4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5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5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8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5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55"/>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59"/>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42" grpId="0"/>
      <p:bldP spid="43" grpId="0"/>
      <p:bldP spid="44" grpId="0"/>
      <p:bldP spid="4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8C9568F-356D-F009-C98E-FA9B93DA45D0}"/>
              </a:ext>
            </a:extLst>
          </p:cNvPr>
          <p:cNvSpPr>
            <a:spLocks noGrp="1"/>
          </p:cNvSpPr>
          <p:nvPr>
            <p:ph type="title"/>
          </p:nvPr>
        </p:nvSpPr>
        <p:spPr/>
        <p:txBody>
          <a:bodyPr/>
          <a:lstStyle/>
          <a:p>
            <a:r>
              <a:rPr lang="en-GB"/>
              <a:t>What is the living income gap?</a:t>
            </a:r>
            <a:endParaRPr lang="en-GB" dirty="0"/>
          </a:p>
        </p:txBody>
      </p:sp>
      <p:sp>
        <p:nvSpPr>
          <p:cNvPr id="25" name="Tijdelijke aanduiding voor tekst 24">
            <a:extLst>
              <a:ext uri="{FF2B5EF4-FFF2-40B4-BE49-F238E27FC236}">
                <a16:creationId xmlns:a16="http://schemas.microsoft.com/office/drawing/2014/main" id="{F5DBDCC8-8C85-C408-FC0D-20BAD21CD3FB}"/>
              </a:ext>
            </a:extLst>
          </p:cNvPr>
          <p:cNvSpPr>
            <a:spLocks noGrp="1"/>
          </p:cNvSpPr>
          <p:nvPr>
            <p:ph type="body" sz="quarter" idx="18"/>
          </p:nvPr>
        </p:nvSpPr>
        <p:spPr/>
        <p:txBody>
          <a:bodyPr/>
          <a:lstStyle/>
          <a:p>
            <a:endParaRPr lang="en-GB" dirty="0"/>
          </a:p>
        </p:txBody>
      </p:sp>
      <p:sp>
        <p:nvSpPr>
          <p:cNvPr id="7" name="Graphic 48">
            <a:extLst>
              <a:ext uri="{FF2B5EF4-FFF2-40B4-BE49-F238E27FC236}">
                <a16:creationId xmlns:a16="http://schemas.microsoft.com/office/drawing/2014/main" id="{1105DA53-DCE1-AEFA-2A24-92B4CF422E31}"/>
              </a:ext>
            </a:extLst>
          </p:cNvPr>
          <p:cNvSpPr/>
          <p:nvPr/>
        </p:nvSpPr>
        <p:spPr>
          <a:xfrm rot="19800000">
            <a:off x="1205465" y="2344717"/>
            <a:ext cx="2223944" cy="2072112"/>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endParaRPr lang="en-GB" dirty="0"/>
          </a:p>
        </p:txBody>
      </p:sp>
      <p:sp>
        <p:nvSpPr>
          <p:cNvPr id="8" name="Tekstvak 7">
            <a:extLst>
              <a:ext uri="{FF2B5EF4-FFF2-40B4-BE49-F238E27FC236}">
                <a16:creationId xmlns:a16="http://schemas.microsoft.com/office/drawing/2014/main" id="{6A9D8817-F112-459B-502D-17B8AAAECF27}"/>
              </a:ext>
            </a:extLst>
          </p:cNvPr>
          <p:cNvSpPr txBox="1"/>
          <p:nvPr/>
        </p:nvSpPr>
        <p:spPr>
          <a:xfrm>
            <a:off x="1338836" y="1825169"/>
            <a:ext cx="1957202" cy="301806"/>
          </a:xfrm>
          <a:prstGeom prst="rect">
            <a:avLst/>
          </a:prstGeom>
          <a:noFill/>
        </p:spPr>
        <p:txBody>
          <a:bodyPr wrap="square" lIns="0" tIns="0" rIns="0" bIns="0" rtlCol="0" anchor="t">
            <a:noAutofit/>
          </a:bodyPr>
          <a:lstStyle/>
          <a:p>
            <a:pPr algn="ctr"/>
            <a:r>
              <a:rPr lang="en-GB" sz="2400" b="1" dirty="0">
                <a:solidFill>
                  <a:schemeClr val="accent1"/>
                </a:solidFill>
                <a:latin typeface="+mj-lt"/>
                <a:cs typeface="Arial" panose="020B0604020202020204" pitchFamily="34" charset="0"/>
              </a:rPr>
              <a:t>$250</a:t>
            </a:r>
          </a:p>
        </p:txBody>
      </p:sp>
      <p:sp>
        <p:nvSpPr>
          <p:cNvPr id="9" name="Graphic 48">
            <a:extLst>
              <a:ext uri="{FF2B5EF4-FFF2-40B4-BE49-F238E27FC236}">
                <a16:creationId xmlns:a16="http://schemas.microsoft.com/office/drawing/2014/main" id="{634F4861-1E91-A6C5-F2E3-599F3CA2FD80}"/>
              </a:ext>
            </a:extLst>
          </p:cNvPr>
          <p:cNvSpPr/>
          <p:nvPr/>
        </p:nvSpPr>
        <p:spPr>
          <a:xfrm rot="13500000">
            <a:off x="4578789" y="2344717"/>
            <a:ext cx="2223944" cy="2072112"/>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1"/>
          </a:solidFill>
          <a:ln w="9449" cap="flat">
            <a:noFill/>
            <a:prstDash val="solid"/>
            <a:miter/>
          </a:ln>
        </p:spPr>
        <p:txBody>
          <a:bodyPr rtlCol="0" anchor="ctr"/>
          <a:lstStyle/>
          <a:p>
            <a:endParaRPr lang="en-GB" dirty="0"/>
          </a:p>
        </p:txBody>
      </p:sp>
      <p:sp>
        <p:nvSpPr>
          <p:cNvPr id="10" name="Graphic 48">
            <a:extLst>
              <a:ext uri="{FF2B5EF4-FFF2-40B4-BE49-F238E27FC236}">
                <a16:creationId xmlns:a16="http://schemas.microsoft.com/office/drawing/2014/main" id="{0E5C5351-E814-2C85-763C-559A2DAAEAE2}"/>
              </a:ext>
            </a:extLst>
          </p:cNvPr>
          <p:cNvSpPr/>
          <p:nvPr/>
        </p:nvSpPr>
        <p:spPr>
          <a:xfrm rot="9900000">
            <a:off x="8308856" y="2344717"/>
            <a:ext cx="2223944" cy="2072112"/>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bg1"/>
          </a:solidFill>
          <a:ln w="9449" cap="flat">
            <a:noFill/>
            <a:prstDash val="solid"/>
            <a:miter/>
          </a:ln>
        </p:spPr>
        <p:txBody>
          <a:bodyPr rtlCol="0" anchor="ctr"/>
          <a:lstStyle/>
          <a:p>
            <a:endParaRPr lang="en-GB" dirty="0"/>
          </a:p>
        </p:txBody>
      </p:sp>
      <p:sp>
        <p:nvSpPr>
          <p:cNvPr id="11" name="Tekstvak 10">
            <a:extLst>
              <a:ext uri="{FF2B5EF4-FFF2-40B4-BE49-F238E27FC236}">
                <a16:creationId xmlns:a16="http://schemas.microsoft.com/office/drawing/2014/main" id="{21569DDF-FFE4-4124-9ADE-314F4D6BB90A}"/>
              </a:ext>
            </a:extLst>
          </p:cNvPr>
          <p:cNvSpPr txBox="1"/>
          <p:nvPr/>
        </p:nvSpPr>
        <p:spPr>
          <a:xfrm>
            <a:off x="1240976" y="4644523"/>
            <a:ext cx="2152922" cy="503948"/>
          </a:xfrm>
          <a:prstGeom prst="rect">
            <a:avLst/>
          </a:prstGeom>
          <a:noFill/>
        </p:spPr>
        <p:txBody>
          <a:bodyPr wrap="square" lIns="0" tIns="0" rIns="0" bIns="0" rtlCol="0" anchor="t">
            <a:noAutofit/>
          </a:bodyPr>
          <a:lstStyle/>
          <a:p>
            <a:pPr algn="ctr"/>
            <a:r>
              <a:rPr lang="en-GB" sz="1600" dirty="0">
                <a:solidFill>
                  <a:schemeClr val="bg1"/>
                </a:solidFill>
                <a:cs typeface="Arial" panose="020B0604020202020204" pitchFamily="34" charset="0"/>
              </a:rPr>
              <a:t>Living Income Benchmark</a:t>
            </a:r>
          </a:p>
        </p:txBody>
      </p:sp>
      <p:sp>
        <p:nvSpPr>
          <p:cNvPr id="12" name="Tekstvak 11">
            <a:extLst>
              <a:ext uri="{FF2B5EF4-FFF2-40B4-BE49-F238E27FC236}">
                <a16:creationId xmlns:a16="http://schemas.microsoft.com/office/drawing/2014/main" id="{80F2AA2B-4CF5-EBB6-29CB-E93EFC912A94}"/>
              </a:ext>
            </a:extLst>
          </p:cNvPr>
          <p:cNvSpPr txBox="1"/>
          <p:nvPr/>
        </p:nvSpPr>
        <p:spPr>
          <a:xfrm>
            <a:off x="4712160" y="1825169"/>
            <a:ext cx="1957202" cy="301806"/>
          </a:xfrm>
          <a:prstGeom prst="rect">
            <a:avLst/>
          </a:prstGeom>
          <a:noFill/>
        </p:spPr>
        <p:txBody>
          <a:bodyPr wrap="square" lIns="0" tIns="0" rIns="0" bIns="0" rtlCol="0" anchor="t">
            <a:noAutofit/>
          </a:bodyPr>
          <a:lstStyle/>
          <a:p>
            <a:pPr algn="ctr"/>
            <a:r>
              <a:rPr lang="en-GB" sz="2400" b="1">
                <a:solidFill>
                  <a:schemeClr val="accent1"/>
                </a:solidFill>
                <a:latin typeface="+mj-lt"/>
                <a:cs typeface="Arial" panose="020B0604020202020204" pitchFamily="34" charset="0"/>
              </a:rPr>
              <a:t>$200</a:t>
            </a:r>
            <a:endParaRPr lang="en-GB" sz="2400" b="1" dirty="0">
              <a:solidFill>
                <a:schemeClr val="accent1"/>
              </a:solidFill>
              <a:latin typeface="+mj-lt"/>
              <a:cs typeface="Arial" panose="020B0604020202020204" pitchFamily="34" charset="0"/>
            </a:endParaRPr>
          </a:p>
        </p:txBody>
      </p:sp>
      <p:sp>
        <p:nvSpPr>
          <p:cNvPr id="13" name="Tekstvak 12">
            <a:extLst>
              <a:ext uri="{FF2B5EF4-FFF2-40B4-BE49-F238E27FC236}">
                <a16:creationId xmlns:a16="http://schemas.microsoft.com/office/drawing/2014/main" id="{F6E1F695-AE4C-F744-FBD5-6329445A84CA}"/>
              </a:ext>
            </a:extLst>
          </p:cNvPr>
          <p:cNvSpPr txBox="1"/>
          <p:nvPr/>
        </p:nvSpPr>
        <p:spPr>
          <a:xfrm>
            <a:off x="4614300" y="4644523"/>
            <a:ext cx="2152922" cy="503948"/>
          </a:xfrm>
          <a:prstGeom prst="rect">
            <a:avLst/>
          </a:prstGeom>
          <a:noFill/>
        </p:spPr>
        <p:txBody>
          <a:bodyPr wrap="square" lIns="0" tIns="0" rIns="0" bIns="0" rtlCol="0" anchor="t">
            <a:noAutofit/>
          </a:bodyPr>
          <a:lstStyle/>
          <a:p>
            <a:pPr algn="ctr"/>
            <a:r>
              <a:rPr lang="en-GB" sz="1600">
                <a:solidFill>
                  <a:schemeClr val="bg1"/>
                </a:solidFill>
                <a:cs typeface="Arial" panose="020B0604020202020204" pitchFamily="34" charset="0"/>
              </a:rPr>
              <a:t>Actual Income</a:t>
            </a:r>
            <a:endParaRPr lang="en-GB" sz="1600" dirty="0">
              <a:solidFill>
                <a:schemeClr val="bg1"/>
              </a:solidFill>
              <a:cs typeface="Arial" panose="020B0604020202020204" pitchFamily="34" charset="0"/>
            </a:endParaRPr>
          </a:p>
        </p:txBody>
      </p:sp>
      <p:sp>
        <p:nvSpPr>
          <p:cNvPr id="14" name="Tekstvak 13">
            <a:extLst>
              <a:ext uri="{FF2B5EF4-FFF2-40B4-BE49-F238E27FC236}">
                <a16:creationId xmlns:a16="http://schemas.microsoft.com/office/drawing/2014/main" id="{733AE237-6866-EE7F-C9CB-02A786158DC8}"/>
              </a:ext>
            </a:extLst>
          </p:cNvPr>
          <p:cNvSpPr txBox="1"/>
          <p:nvPr/>
        </p:nvSpPr>
        <p:spPr>
          <a:xfrm>
            <a:off x="8442227" y="1825168"/>
            <a:ext cx="1957202" cy="301806"/>
          </a:xfrm>
          <a:prstGeom prst="rect">
            <a:avLst/>
          </a:prstGeom>
          <a:noFill/>
        </p:spPr>
        <p:txBody>
          <a:bodyPr wrap="square" lIns="0" tIns="0" rIns="0" bIns="0" rtlCol="0" anchor="t">
            <a:noAutofit/>
          </a:bodyPr>
          <a:lstStyle/>
          <a:p>
            <a:pPr algn="ctr"/>
            <a:r>
              <a:rPr lang="en-GB" sz="2400" b="1">
                <a:solidFill>
                  <a:schemeClr val="accent1"/>
                </a:solidFill>
                <a:latin typeface="+mj-lt"/>
                <a:cs typeface="Arial" panose="020B0604020202020204" pitchFamily="34" charset="0"/>
              </a:rPr>
              <a:t>$50 / 20%</a:t>
            </a:r>
            <a:endParaRPr lang="en-GB" sz="2400" b="1" dirty="0">
              <a:solidFill>
                <a:schemeClr val="accent1"/>
              </a:solidFill>
              <a:latin typeface="+mj-lt"/>
              <a:cs typeface="Arial" panose="020B0604020202020204" pitchFamily="34" charset="0"/>
            </a:endParaRPr>
          </a:p>
        </p:txBody>
      </p:sp>
      <p:sp>
        <p:nvSpPr>
          <p:cNvPr id="15" name="Tekstvak 14">
            <a:extLst>
              <a:ext uri="{FF2B5EF4-FFF2-40B4-BE49-F238E27FC236}">
                <a16:creationId xmlns:a16="http://schemas.microsoft.com/office/drawing/2014/main" id="{A594538A-D219-953C-4D93-717C05495D3A}"/>
              </a:ext>
            </a:extLst>
          </p:cNvPr>
          <p:cNvSpPr txBox="1"/>
          <p:nvPr/>
        </p:nvSpPr>
        <p:spPr>
          <a:xfrm>
            <a:off x="8344367" y="4644522"/>
            <a:ext cx="2152922" cy="503948"/>
          </a:xfrm>
          <a:prstGeom prst="rect">
            <a:avLst/>
          </a:prstGeom>
          <a:noFill/>
        </p:spPr>
        <p:txBody>
          <a:bodyPr wrap="square" lIns="0" tIns="0" rIns="0" bIns="0" rtlCol="0" anchor="t">
            <a:noAutofit/>
          </a:bodyPr>
          <a:lstStyle/>
          <a:p>
            <a:pPr algn="ctr"/>
            <a:r>
              <a:rPr lang="en-GB" sz="1600">
                <a:solidFill>
                  <a:schemeClr val="bg1"/>
                </a:solidFill>
                <a:cs typeface="Arial" panose="020B0604020202020204" pitchFamily="34" charset="0"/>
              </a:rPr>
              <a:t>Living Income</a:t>
            </a:r>
            <a:br>
              <a:rPr lang="en-GB" sz="1600">
                <a:solidFill>
                  <a:schemeClr val="bg1"/>
                </a:solidFill>
                <a:cs typeface="Arial" panose="020B0604020202020204" pitchFamily="34" charset="0"/>
              </a:rPr>
            </a:br>
            <a:r>
              <a:rPr lang="en-GB" sz="1600">
                <a:solidFill>
                  <a:schemeClr val="bg1"/>
                </a:solidFill>
                <a:cs typeface="Arial" panose="020B0604020202020204" pitchFamily="34" charset="0"/>
              </a:rPr>
              <a:t>Gap</a:t>
            </a:r>
            <a:endParaRPr lang="en-GB" sz="1600" dirty="0">
              <a:solidFill>
                <a:schemeClr val="bg1"/>
              </a:solidFill>
              <a:cs typeface="Arial" panose="020B0604020202020204" pitchFamily="34" charset="0"/>
            </a:endParaRPr>
          </a:p>
        </p:txBody>
      </p:sp>
      <p:pic>
        <p:nvPicPr>
          <p:cNvPr id="16" name="Graphic 15">
            <a:extLst>
              <a:ext uri="{FF2B5EF4-FFF2-40B4-BE49-F238E27FC236}">
                <a16:creationId xmlns:a16="http://schemas.microsoft.com/office/drawing/2014/main" id="{70E66DC0-3DAA-FE92-64A2-2DCBA70A19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44467" y="2857499"/>
            <a:ext cx="1046549" cy="1046549"/>
          </a:xfrm>
          <a:prstGeom prst="rect">
            <a:avLst/>
          </a:prstGeom>
        </p:spPr>
      </p:pic>
      <p:pic>
        <p:nvPicPr>
          <p:cNvPr id="17" name="Graphic 16">
            <a:extLst>
              <a:ext uri="{FF2B5EF4-FFF2-40B4-BE49-F238E27FC236}">
                <a16:creationId xmlns:a16="http://schemas.microsoft.com/office/drawing/2014/main" id="{78D35C62-2605-EF25-F3CD-2ABFD05623E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16612" y="2906624"/>
            <a:ext cx="948298" cy="948298"/>
          </a:xfrm>
          <a:prstGeom prst="rect">
            <a:avLst/>
          </a:prstGeom>
        </p:spPr>
      </p:pic>
      <p:pic>
        <p:nvPicPr>
          <p:cNvPr id="18" name="Graphic 17">
            <a:extLst>
              <a:ext uri="{FF2B5EF4-FFF2-40B4-BE49-F238E27FC236}">
                <a16:creationId xmlns:a16="http://schemas.microsoft.com/office/drawing/2014/main" id="{04EA4FC0-8576-FF6A-D577-6BFD4B8561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861313" y="2791440"/>
            <a:ext cx="1119030" cy="1119030"/>
          </a:xfrm>
          <a:prstGeom prst="rect">
            <a:avLst/>
          </a:prstGeom>
        </p:spPr>
      </p:pic>
      <p:grpSp>
        <p:nvGrpSpPr>
          <p:cNvPr id="22" name="Groep 21">
            <a:extLst>
              <a:ext uri="{FF2B5EF4-FFF2-40B4-BE49-F238E27FC236}">
                <a16:creationId xmlns:a16="http://schemas.microsoft.com/office/drawing/2014/main" id="{CE6C4833-F117-C788-2147-3A40C73112B6}"/>
              </a:ext>
            </a:extLst>
          </p:cNvPr>
          <p:cNvGrpSpPr/>
          <p:nvPr/>
        </p:nvGrpSpPr>
        <p:grpSpPr>
          <a:xfrm>
            <a:off x="7254654" y="3196420"/>
            <a:ext cx="526365" cy="368707"/>
            <a:chOff x="7434878" y="1650307"/>
            <a:chExt cx="844009" cy="591208"/>
          </a:xfrm>
          <a:solidFill>
            <a:schemeClr val="bg1"/>
          </a:solidFill>
        </p:grpSpPr>
        <p:sp>
          <p:nvSpPr>
            <p:cNvPr id="23" name="Rechthoek: afgeronde hoeken 22">
              <a:extLst>
                <a:ext uri="{FF2B5EF4-FFF2-40B4-BE49-F238E27FC236}">
                  <a16:creationId xmlns:a16="http://schemas.microsoft.com/office/drawing/2014/main" id="{C53B2AD7-BE98-F3FB-3510-A83D0F265167}"/>
                </a:ext>
              </a:extLst>
            </p:cNvPr>
            <p:cNvSpPr/>
            <p:nvPr/>
          </p:nvSpPr>
          <p:spPr>
            <a:xfrm rot="5400000">
              <a:off x="7752522" y="1332663"/>
              <a:ext cx="208721" cy="844009"/>
            </a:xfrm>
            <a:prstGeom prst="roundRect">
              <a:avLst>
                <a:gd name="adj" fmla="val 361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echthoek: afgeronde hoeken 23">
              <a:extLst>
                <a:ext uri="{FF2B5EF4-FFF2-40B4-BE49-F238E27FC236}">
                  <a16:creationId xmlns:a16="http://schemas.microsoft.com/office/drawing/2014/main" id="{67B75FE3-2067-C3B7-6328-AF03DDEE9D1B}"/>
                </a:ext>
              </a:extLst>
            </p:cNvPr>
            <p:cNvSpPr/>
            <p:nvPr/>
          </p:nvSpPr>
          <p:spPr>
            <a:xfrm rot="5400000">
              <a:off x="7752522" y="1715150"/>
              <a:ext cx="208721" cy="844009"/>
            </a:xfrm>
            <a:prstGeom prst="roundRect">
              <a:avLst>
                <a:gd name="adj" fmla="val 3611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 name="Minus Sign 1">
            <a:extLst>
              <a:ext uri="{FF2B5EF4-FFF2-40B4-BE49-F238E27FC236}">
                <a16:creationId xmlns:a16="http://schemas.microsoft.com/office/drawing/2014/main" id="{7407F844-03B6-0C9E-0FC8-1D688DEFA903}"/>
              </a:ext>
            </a:extLst>
          </p:cNvPr>
          <p:cNvSpPr/>
          <p:nvPr/>
        </p:nvSpPr>
        <p:spPr>
          <a:xfrm>
            <a:off x="3743114" y="3117591"/>
            <a:ext cx="580354" cy="526364"/>
          </a:xfrm>
          <a:prstGeom prst="mathMin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7679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D15CD1F4-990C-B280-1BD6-E1B878731CA3}"/>
              </a:ext>
            </a:extLst>
          </p:cNvPr>
          <p:cNvSpPr>
            <a:spLocks noGrp="1"/>
          </p:cNvSpPr>
          <p:nvPr>
            <p:ph type="sldNum" sz="quarter" idx="2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4303E-A424-9540-91A8-53B791C91E8F}" type="slidenum">
              <a:rPr kumimoji="0" lang="en-GB" sz="10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Oval 6">
            <a:extLst>
              <a:ext uri="{FF2B5EF4-FFF2-40B4-BE49-F238E27FC236}">
                <a16:creationId xmlns:a16="http://schemas.microsoft.com/office/drawing/2014/main" id="{70A4A612-3B1C-E4EB-2FAB-1A9B491E04F8}"/>
              </a:ext>
            </a:extLst>
          </p:cNvPr>
          <p:cNvSpPr/>
          <p:nvPr/>
        </p:nvSpPr>
        <p:spPr>
          <a:xfrm>
            <a:off x="2872910" y="1411994"/>
            <a:ext cx="4368800" cy="4368800"/>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Oval 7">
            <a:extLst>
              <a:ext uri="{FF2B5EF4-FFF2-40B4-BE49-F238E27FC236}">
                <a16:creationId xmlns:a16="http://schemas.microsoft.com/office/drawing/2014/main" id="{3A0201C0-0FC8-84CF-DCB3-1F54524FE327}"/>
              </a:ext>
            </a:extLst>
          </p:cNvPr>
          <p:cNvSpPr/>
          <p:nvPr/>
        </p:nvSpPr>
        <p:spPr>
          <a:xfrm>
            <a:off x="4955514" y="1411994"/>
            <a:ext cx="4368800" cy="4368800"/>
          </a:xfrm>
          <a:prstGeom prst="ellipse">
            <a:avLst/>
          </a:prstGeom>
          <a:solidFill>
            <a:schemeClr val="accent1">
              <a:lumMod val="75000"/>
              <a:lumOff val="2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7D985"/>
              </a:solidFill>
              <a:effectLst/>
              <a:uLnTx/>
              <a:uFillTx/>
              <a:latin typeface="Arial" panose="020B0604020202020204"/>
              <a:ea typeface="+mn-ea"/>
              <a:cs typeface="+mn-cs"/>
            </a:endParaRPr>
          </a:p>
        </p:txBody>
      </p:sp>
      <p:sp>
        <p:nvSpPr>
          <p:cNvPr id="10" name="Freeform 8">
            <a:extLst>
              <a:ext uri="{FF2B5EF4-FFF2-40B4-BE49-F238E27FC236}">
                <a16:creationId xmlns:a16="http://schemas.microsoft.com/office/drawing/2014/main" id="{D63846D4-68CB-1147-1990-460582F8CA78}"/>
              </a:ext>
            </a:extLst>
          </p:cNvPr>
          <p:cNvSpPr/>
          <p:nvPr/>
        </p:nvSpPr>
        <p:spPr>
          <a:xfrm>
            <a:off x="4953979" y="1675692"/>
            <a:ext cx="2286196" cy="3841404"/>
          </a:xfrm>
          <a:custGeom>
            <a:avLst/>
            <a:gdLst>
              <a:gd name="connsiteX0" fmla="*/ 1143098 w 2286196"/>
              <a:gd name="connsiteY0" fmla="*/ 0 h 3841404"/>
              <a:gd name="connsiteX1" fmla="*/ 1323115 w 2286196"/>
              <a:gd name="connsiteY1" fmla="*/ 109363 h 3841404"/>
              <a:gd name="connsiteX2" fmla="*/ 2286196 w 2286196"/>
              <a:gd name="connsiteY2" fmla="*/ 1920702 h 3841404"/>
              <a:gd name="connsiteX3" fmla="*/ 1323115 w 2286196"/>
              <a:gd name="connsiteY3" fmla="*/ 3732041 h 3841404"/>
              <a:gd name="connsiteX4" fmla="*/ 1143098 w 2286196"/>
              <a:gd name="connsiteY4" fmla="*/ 3841404 h 3841404"/>
              <a:gd name="connsiteX5" fmla="*/ 963081 w 2286196"/>
              <a:gd name="connsiteY5" fmla="*/ 3732041 h 3841404"/>
              <a:gd name="connsiteX6" fmla="*/ 0 w 2286196"/>
              <a:gd name="connsiteY6" fmla="*/ 1920702 h 3841404"/>
              <a:gd name="connsiteX7" fmla="*/ 963081 w 2286196"/>
              <a:gd name="connsiteY7" fmla="*/ 109363 h 3841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196" h="3841404">
                <a:moveTo>
                  <a:pt x="1143098" y="0"/>
                </a:moveTo>
                <a:lnTo>
                  <a:pt x="1323115" y="109363"/>
                </a:lnTo>
                <a:cubicBezTo>
                  <a:pt x="1904169" y="501916"/>
                  <a:pt x="2286196" y="1166695"/>
                  <a:pt x="2286196" y="1920702"/>
                </a:cubicBezTo>
                <a:cubicBezTo>
                  <a:pt x="2286196" y="2674709"/>
                  <a:pt x="1904169" y="3339489"/>
                  <a:pt x="1323115" y="3732041"/>
                </a:cubicBezTo>
                <a:lnTo>
                  <a:pt x="1143098" y="3841404"/>
                </a:lnTo>
                <a:lnTo>
                  <a:pt x="963081" y="3732041"/>
                </a:lnTo>
                <a:cubicBezTo>
                  <a:pt x="382027" y="3339489"/>
                  <a:pt x="0" y="2674709"/>
                  <a:pt x="0" y="1920702"/>
                </a:cubicBezTo>
                <a:cubicBezTo>
                  <a:pt x="0" y="1166695"/>
                  <a:pt x="382027" y="501916"/>
                  <a:pt x="963081" y="109363"/>
                </a:cubicBez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TextBox 9">
            <a:extLst>
              <a:ext uri="{FF2B5EF4-FFF2-40B4-BE49-F238E27FC236}">
                <a16:creationId xmlns:a16="http://schemas.microsoft.com/office/drawing/2014/main" id="{6C385BA5-026C-7C69-A7E8-789D804587D4}"/>
              </a:ext>
            </a:extLst>
          </p:cNvPr>
          <p:cNvSpPr txBox="1"/>
          <p:nvPr/>
        </p:nvSpPr>
        <p:spPr>
          <a:xfrm>
            <a:off x="1714818" y="1722263"/>
            <a:ext cx="1261884"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47D985"/>
                </a:solidFill>
                <a:effectLst/>
                <a:uLnTx/>
                <a:uFillTx/>
                <a:latin typeface="Arial" panose="020B0604020202020204"/>
                <a:ea typeface="+mn-ea"/>
                <a:cs typeface="Gotham Bold" pitchFamily="2" charset="0"/>
              </a:rPr>
              <a:t>Living</a:t>
            </a:r>
            <a:br>
              <a:rPr kumimoji="0" lang="en-GB" sz="2400" b="1" i="0" u="none" strike="noStrike" kern="1200" cap="none" spc="0" normalizeH="0" baseline="0" noProof="0" dirty="0">
                <a:ln>
                  <a:noFill/>
                </a:ln>
                <a:solidFill>
                  <a:srgbClr val="47D985"/>
                </a:solidFill>
                <a:effectLst/>
                <a:uLnTx/>
                <a:uFillTx/>
                <a:latin typeface="Arial" panose="020B0604020202020204"/>
                <a:ea typeface="+mn-ea"/>
                <a:cs typeface="Gotham Bold" pitchFamily="2" charset="0"/>
              </a:rPr>
            </a:br>
            <a:r>
              <a:rPr kumimoji="0" lang="en-GB" sz="2400" b="1" i="0" u="none" strike="noStrike" kern="1200" cap="none" spc="0" normalizeH="0" baseline="0" noProof="0" dirty="0">
                <a:ln>
                  <a:noFill/>
                </a:ln>
                <a:solidFill>
                  <a:srgbClr val="47D985"/>
                </a:solidFill>
                <a:effectLst/>
                <a:uLnTx/>
                <a:uFillTx/>
                <a:latin typeface="Arial" panose="020B0604020202020204"/>
                <a:ea typeface="+mn-ea"/>
                <a:cs typeface="Gotham Bold" pitchFamily="2" charset="0"/>
              </a:rPr>
              <a:t>income</a:t>
            </a:r>
          </a:p>
        </p:txBody>
      </p:sp>
      <p:sp>
        <p:nvSpPr>
          <p:cNvPr id="12" name="TextBox 12">
            <a:extLst>
              <a:ext uri="{FF2B5EF4-FFF2-40B4-BE49-F238E27FC236}">
                <a16:creationId xmlns:a16="http://schemas.microsoft.com/office/drawing/2014/main" id="{65317205-9F04-9409-2EC5-B8D073305A8F}"/>
              </a:ext>
            </a:extLst>
          </p:cNvPr>
          <p:cNvSpPr txBox="1"/>
          <p:nvPr/>
        </p:nvSpPr>
        <p:spPr>
          <a:xfrm>
            <a:off x="9030612" y="1722263"/>
            <a:ext cx="1088760" cy="83099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615F">
                    <a:lumMod val="75000"/>
                    <a:lumOff val="25000"/>
                  </a:srgbClr>
                </a:solidFill>
                <a:effectLst/>
                <a:uLnTx/>
                <a:uFillTx/>
                <a:latin typeface="Arial" panose="020B0604020202020204"/>
                <a:ea typeface="+mn-ea"/>
                <a:cs typeface="Gotham Bold" pitchFamily="2" charset="0"/>
              </a:rPr>
              <a:t>Living</a:t>
            </a:r>
            <a:br>
              <a:rPr kumimoji="0" lang="en-GB" sz="2400" b="1" i="0" u="none" strike="noStrike" kern="1200" cap="none" spc="0" normalizeH="0" baseline="0" noProof="0" dirty="0">
                <a:ln>
                  <a:noFill/>
                </a:ln>
                <a:solidFill>
                  <a:srgbClr val="00615F">
                    <a:lumMod val="75000"/>
                    <a:lumOff val="25000"/>
                  </a:srgbClr>
                </a:solidFill>
                <a:effectLst/>
                <a:uLnTx/>
                <a:uFillTx/>
                <a:latin typeface="Arial" panose="020B0604020202020204"/>
                <a:ea typeface="+mn-ea"/>
                <a:cs typeface="Gotham Bold" pitchFamily="2" charset="0"/>
              </a:rPr>
            </a:br>
            <a:r>
              <a:rPr kumimoji="0" lang="en-GB" sz="2400" b="1" i="0" u="none" strike="noStrike" kern="1200" cap="none" spc="0" normalizeH="0" baseline="0" noProof="0" dirty="0">
                <a:ln>
                  <a:noFill/>
                </a:ln>
                <a:solidFill>
                  <a:srgbClr val="00615F">
                    <a:lumMod val="75000"/>
                    <a:lumOff val="25000"/>
                  </a:srgbClr>
                </a:solidFill>
                <a:effectLst/>
                <a:uLnTx/>
                <a:uFillTx/>
                <a:latin typeface="Arial" panose="020B0604020202020204"/>
                <a:ea typeface="+mn-ea"/>
                <a:cs typeface="Gotham Bold" pitchFamily="2" charset="0"/>
              </a:rPr>
              <a:t>wage</a:t>
            </a:r>
          </a:p>
        </p:txBody>
      </p:sp>
      <p:sp>
        <p:nvSpPr>
          <p:cNvPr id="13" name="TextBox 13">
            <a:extLst>
              <a:ext uri="{FF2B5EF4-FFF2-40B4-BE49-F238E27FC236}">
                <a16:creationId xmlns:a16="http://schemas.microsoft.com/office/drawing/2014/main" id="{C42AB98D-7D6E-0025-E22B-C0D2E092F04D}"/>
              </a:ext>
            </a:extLst>
          </p:cNvPr>
          <p:cNvSpPr txBox="1"/>
          <p:nvPr/>
        </p:nvSpPr>
        <p:spPr>
          <a:xfrm>
            <a:off x="4968554" y="3304007"/>
            <a:ext cx="226594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615F"/>
                </a:solidFill>
                <a:effectLst/>
                <a:uLnTx/>
                <a:uFillTx/>
                <a:latin typeface="Arial" panose="020B0604020202020204"/>
                <a:ea typeface="+mn-ea"/>
                <a:cs typeface="Gotham Bold" pitchFamily="2" charset="0"/>
              </a:rPr>
              <a:t>Achieving a decent standard of living</a:t>
            </a:r>
            <a:endParaRPr kumimoji="0" lang="en-GB" sz="2000" b="1" i="0" u="none" strike="noStrike" kern="1200" cap="none" spc="0" normalizeH="0" baseline="0" noProof="0" dirty="0">
              <a:ln>
                <a:noFill/>
              </a:ln>
              <a:solidFill>
                <a:srgbClr val="00615F"/>
              </a:solidFill>
              <a:effectLst/>
              <a:uLnTx/>
              <a:uFillTx/>
              <a:latin typeface="Arial" panose="020B0604020202020204"/>
              <a:ea typeface="+mn-ea"/>
              <a:cs typeface="Gotham Bold" pitchFamily="2" charset="0"/>
            </a:endParaRPr>
          </a:p>
        </p:txBody>
      </p:sp>
      <p:sp>
        <p:nvSpPr>
          <p:cNvPr id="15" name="TextBox 15">
            <a:extLst>
              <a:ext uri="{FF2B5EF4-FFF2-40B4-BE49-F238E27FC236}">
                <a16:creationId xmlns:a16="http://schemas.microsoft.com/office/drawing/2014/main" id="{B1CD3970-539D-E813-FE24-E4727E403E47}"/>
              </a:ext>
            </a:extLst>
          </p:cNvPr>
          <p:cNvSpPr txBox="1"/>
          <p:nvPr/>
        </p:nvSpPr>
        <p:spPr>
          <a:xfrm>
            <a:off x="3545629" y="2833553"/>
            <a:ext cx="120738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t>Self-employed </a:t>
            </a:r>
            <a:b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b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t>farmers</a:t>
            </a:r>
          </a:p>
        </p:txBody>
      </p:sp>
      <p:sp>
        <p:nvSpPr>
          <p:cNvPr id="16" name="TextBox 16">
            <a:extLst>
              <a:ext uri="{FF2B5EF4-FFF2-40B4-BE49-F238E27FC236}">
                <a16:creationId xmlns:a16="http://schemas.microsoft.com/office/drawing/2014/main" id="{ACD1B76E-00DC-DAE8-36B8-78A317AA9CF4}"/>
              </a:ext>
            </a:extLst>
          </p:cNvPr>
          <p:cNvSpPr txBox="1"/>
          <p:nvPr/>
        </p:nvSpPr>
        <p:spPr>
          <a:xfrm>
            <a:off x="3257088" y="4334626"/>
            <a:ext cx="1784464"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t>All sources of </a:t>
            </a:r>
            <a:b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b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t>income from adults </a:t>
            </a:r>
            <a:b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b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t>in a household (annual)</a:t>
            </a:r>
          </a:p>
        </p:txBody>
      </p:sp>
      <p:sp>
        <p:nvSpPr>
          <p:cNvPr id="22" name="TextBox 22">
            <a:extLst>
              <a:ext uri="{FF2B5EF4-FFF2-40B4-BE49-F238E27FC236}">
                <a16:creationId xmlns:a16="http://schemas.microsoft.com/office/drawing/2014/main" id="{E19F8E32-93C1-1EEC-C8ED-290CD5900685}"/>
              </a:ext>
            </a:extLst>
          </p:cNvPr>
          <p:cNvSpPr txBox="1"/>
          <p:nvPr/>
        </p:nvSpPr>
        <p:spPr>
          <a:xfrm>
            <a:off x="7530357" y="2833553"/>
            <a:ext cx="105349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t>Hired worker</a:t>
            </a:r>
          </a:p>
        </p:txBody>
      </p:sp>
      <p:sp>
        <p:nvSpPr>
          <p:cNvPr id="24" name="TextBox 24">
            <a:extLst>
              <a:ext uri="{FF2B5EF4-FFF2-40B4-BE49-F238E27FC236}">
                <a16:creationId xmlns:a16="http://schemas.microsoft.com/office/drawing/2014/main" id="{9E8F905E-EAC9-CA4D-DFBE-E83FF3286C44}"/>
              </a:ext>
            </a:extLst>
          </p:cNvPr>
          <p:cNvSpPr txBox="1"/>
          <p:nvPr/>
        </p:nvSpPr>
        <p:spPr>
          <a:xfrm>
            <a:off x="7206553" y="4334626"/>
            <a:ext cx="1701108"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t>Wages from </a:t>
            </a:r>
            <a:b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b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t>adult earners in </a:t>
            </a:r>
            <a:b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b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Gotham Book" pitchFamily="2" charset="0"/>
              </a:rPr>
              <a:t>a household (monthly)</a:t>
            </a:r>
          </a:p>
        </p:txBody>
      </p:sp>
      <p:sp>
        <p:nvSpPr>
          <p:cNvPr id="26" name="Oval 26">
            <a:extLst>
              <a:ext uri="{FF2B5EF4-FFF2-40B4-BE49-F238E27FC236}">
                <a16:creationId xmlns:a16="http://schemas.microsoft.com/office/drawing/2014/main" id="{1FCAD0EF-296E-5E9F-4B86-BD4EE22E35F3}"/>
              </a:ext>
            </a:extLst>
          </p:cNvPr>
          <p:cNvSpPr/>
          <p:nvPr/>
        </p:nvSpPr>
        <p:spPr>
          <a:xfrm>
            <a:off x="2862131" y="1411994"/>
            <a:ext cx="4368800" cy="4368800"/>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Oval 27">
            <a:extLst>
              <a:ext uri="{FF2B5EF4-FFF2-40B4-BE49-F238E27FC236}">
                <a16:creationId xmlns:a16="http://schemas.microsoft.com/office/drawing/2014/main" id="{D47BDC28-E284-5367-5A05-B4E3315FA2DF}"/>
              </a:ext>
            </a:extLst>
          </p:cNvPr>
          <p:cNvSpPr/>
          <p:nvPr/>
        </p:nvSpPr>
        <p:spPr>
          <a:xfrm>
            <a:off x="4966293" y="1411994"/>
            <a:ext cx="4368800" cy="4368800"/>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34" name="Graphic 33">
            <a:extLst>
              <a:ext uri="{FF2B5EF4-FFF2-40B4-BE49-F238E27FC236}">
                <a16:creationId xmlns:a16="http://schemas.microsoft.com/office/drawing/2014/main" id="{5EB46265-E385-207F-4BDF-F55FBD92A7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81676" y="2285141"/>
            <a:ext cx="535289" cy="535289"/>
          </a:xfrm>
          <a:prstGeom prst="rect">
            <a:avLst/>
          </a:prstGeom>
        </p:spPr>
      </p:pic>
      <p:pic>
        <p:nvPicPr>
          <p:cNvPr id="35" name="Graphic 34">
            <a:extLst>
              <a:ext uri="{FF2B5EF4-FFF2-40B4-BE49-F238E27FC236}">
                <a16:creationId xmlns:a16="http://schemas.microsoft.com/office/drawing/2014/main" id="{F17EF04B-5784-9BCF-FDAB-4324B50B40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86783" y="2334124"/>
            <a:ext cx="540643" cy="540643"/>
          </a:xfrm>
          <a:prstGeom prst="rect">
            <a:avLst/>
          </a:prstGeom>
        </p:spPr>
      </p:pic>
      <p:pic>
        <p:nvPicPr>
          <p:cNvPr id="40" name="Graphic 39">
            <a:extLst>
              <a:ext uri="{FF2B5EF4-FFF2-40B4-BE49-F238E27FC236}">
                <a16:creationId xmlns:a16="http://schemas.microsoft.com/office/drawing/2014/main" id="{33681D37-274A-2A52-6D37-B0BF0AF3F8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00000">
            <a:off x="3881676" y="3862505"/>
            <a:ext cx="535289" cy="535289"/>
          </a:xfrm>
          <a:prstGeom prst="rect">
            <a:avLst/>
          </a:prstGeom>
        </p:spPr>
      </p:pic>
      <p:pic>
        <p:nvPicPr>
          <p:cNvPr id="41" name="Graphic 40">
            <a:extLst>
              <a:ext uri="{FF2B5EF4-FFF2-40B4-BE49-F238E27FC236}">
                <a16:creationId xmlns:a16="http://schemas.microsoft.com/office/drawing/2014/main" id="{6BA9767C-D63D-BBE6-0CA5-560E0C0FFC2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53764" y="2055970"/>
            <a:ext cx="486626" cy="486626"/>
          </a:xfrm>
          <a:prstGeom prst="rect">
            <a:avLst/>
          </a:prstGeom>
        </p:spPr>
      </p:pic>
      <p:pic>
        <p:nvPicPr>
          <p:cNvPr id="42" name="Graphic 41">
            <a:extLst>
              <a:ext uri="{FF2B5EF4-FFF2-40B4-BE49-F238E27FC236}">
                <a16:creationId xmlns:a16="http://schemas.microsoft.com/office/drawing/2014/main" id="{B4C5DB00-8146-02A0-E62A-D9E9530F3B7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853764" y="4753102"/>
            <a:ext cx="486626" cy="486626"/>
          </a:xfrm>
          <a:prstGeom prst="rect">
            <a:avLst/>
          </a:prstGeom>
        </p:spPr>
      </p:pic>
      <p:pic>
        <p:nvPicPr>
          <p:cNvPr id="43" name="Graphic 42">
            <a:extLst>
              <a:ext uri="{FF2B5EF4-FFF2-40B4-BE49-F238E27FC236}">
                <a16:creationId xmlns:a16="http://schemas.microsoft.com/office/drawing/2014/main" id="{82650F2C-3228-DB5D-72C8-6F1122CF093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77829" y="4165130"/>
            <a:ext cx="486626" cy="486626"/>
          </a:xfrm>
          <a:prstGeom prst="rect">
            <a:avLst/>
          </a:prstGeom>
        </p:spPr>
      </p:pic>
      <p:pic>
        <p:nvPicPr>
          <p:cNvPr id="44" name="Graphic 43">
            <a:extLst>
              <a:ext uri="{FF2B5EF4-FFF2-40B4-BE49-F238E27FC236}">
                <a16:creationId xmlns:a16="http://schemas.microsoft.com/office/drawing/2014/main" id="{92A57692-61A3-9487-02BE-03E62D673ED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349248" y="4173558"/>
            <a:ext cx="486626" cy="486626"/>
          </a:xfrm>
          <a:prstGeom prst="rect">
            <a:avLst/>
          </a:prstGeom>
        </p:spPr>
      </p:pic>
      <p:pic>
        <p:nvPicPr>
          <p:cNvPr id="45" name="Graphic 44">
            <a:extLst>
              <a:ext uri="{FF2B5EF4-FFF2-40B4-BE49-F238E27FC236}">
                <a16:creationId xmlns:a16="http://schemas.microsoft.com/office/drawing/2014/main" id="{09D4B53E-B39D-6E09-3C00-6AF308C3156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389273" y="2548298"/>
            <a:ext cx="463419" cy="463419"/>
          </a:xfrm>
          <a:prstGeom prst="rect">
            <a:avLst/>
          </a:prstGeom>
        </p:spPr>
      </p:pic>
      <p:pic>
        <p:nvPicPr>
          <p:cNvPr id="46" name="Graphic 45">
            <a:extLst>
              <a:ext uri="{FF2B5EF4-FFF2-40B4-BE49-F238E27FC236}">
                <a16:creationId xmlns:a16="http://schemas.microsoft.com/office/drawing/2014/main" id="{A8AA8CDC-E98B-D931-A8B8-51273737142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380349" y="2552039"/>
            <a:ext cx="465155" cy="465155"/>
          </a:xfrm>
          <a:prstGeom prst="rect">
            <a:avLst/>
          </a:prstGeom>
        </p:spPr>
      </p:pic>
      <p:grpSp>
        <p:nvGrpSpPr>
          <p:cNvPr id="6" name="Groep 5">
            <a:extLst>
              <a:ext uri="{FF2B5EF4-FFF2-40B4-BE49-F238E27FC236}">
                <a16:creationId xmlns:a16="http://schemas.microsoft.com/office/drawing/2014/main" id="{653EC055-50F6-BE46-162E-930E6C766209}"/>
              </a:ext>
            </a:extLst>
          </p:cNvPr>
          <p:cNvGrpSpPr/>
          <p:nvPr/>
        </p:nvGrpSpPr>
        <p:grpSpPr>
          <a:xfrm>
            <a:off x="7609653" y="3799693"/>
            <a:ext cx="874913" cy="535289"/>
            <a:chOff x="8825735" y="2728049"/>
            <a:chExt cx="1058644" cy="647700"/>
          </a:xfrm>
        </p:grpSpPr>
        <p:pic>
          <p:nvPicPr>
            <p:cNvPr id="4" name="Graphic 3">
              <a:extLst>
                <a:ext uri="{FF2B5EF4-FFF2-40B4-BE49-F238E27FC236}">
                  <a16:creationId xmlns:a16="http://schemas.microsoft.com/office/drawing/2014/main" id="{FE1335E1-4443-4411-0FED-EC3E5DDCFB6E}"/>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236679" y="2728049"/>
              <a:ext cx="647700" cy="647700"/>
            </a:xfrm>
            <a:prstGeom prst="rect">
              <a:avLst/>
            </a:prstGeom>
          </p:spPr>
        </p:pic>
        <p:sp>
          <p:nvSpPr>
            <p:cNvPr id="5" name="Ovaal 4">
              <a:extLst>
                <a:ext uri="{FF2B5EF4-FFF2-40B4-BE49-F238E27FC236}">
                  <a16:creationId xmlns:a16="http://schemas.microsoft.com/office/drawing/2014/main" id="{F8536CCE-5985-385D-CFD8-A267CFF65335}"/>
                </a:ext>
              </a:extLst>
            </p:cNvPr>
            <p:cNvSpPr/>
            <p:nvPr/>
          </p:nvSpPr>
          <p:spPr>
            <a:xfrm>
              <a:off x="9239251" y="3117056"/>
              <a:ext cx="190500" cy="190500"/>
            </a:xfrm>
            <a:prstGeom prst="ellipse">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Graphic 1">
              <a:extLst>
                <a:ext uri="{FF2B5EF4-FFF2-40B4-BE49-F238E27FC236}">
                  <a16:creationId xmlns:a16="http://schemas.microsoft.com/office/drawing/2014/main" id="{6E5DE504-8732-A33C-507D-1ECB13827A91}"/>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8825735" y="2728049"/>
              <a:ext cx="647700" cy="647700"/>
            </a:xfrm>
            <a:prstGeom prst="rect">
              <a:avLst/>
            </a:prstGeom>
          </p:spPr>
        </p:pic>
      </p:grpSp>
    </p:spTree>
    <p:extLst>
      <p:ext uri="{BB962C8B-B14F-4D97-AF65-F5344CB8AC3E}">
        <p14:creationId xmlns:p14="http://schemas.microsoft.com/office/powerpoint/2010/main" val="417984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DA1B526-EF39-A927-BF8B-A7816E8FD2E1}"/>
              </a:ext>
            </a:extLst>
          </p:cNvPr>
          <p:cNvSpPr>
            <a:spLocks noGrp="1"/>
          </p:cNvSpPr>
          <p:nvPr>
            <p:ph type="title"/>
          </p:nvPr>
        </p:nvSpPr>
        <p:spPr/>
        <p:txBody>
          <a:bodyPr>
            <a:normAutofit/>
          </a:bodyPr>
          <a:lstStyle/>
          <a:p>
            <a:r>
              <a:rPr lang="en-GB" sz="4800" dirty="0"/>
              <a:t>Why Farmers’ Income Matters</a:t>
            </a:r>
          </a:p>
        </p:txBody>
      </p:sp>
      <p:sp>
        <p:nvSpPr>
          <p:cNvPr id="5" name="Tijdelijke aanduiding voor tekst 4">
            <a:extLst>
              <a:ext uri="{FF2B5EF4-FFF2-40B4-BE49-F238E27FC236}">
                <a16:creationId xmlns:a16="http://schemas.microsoft.com/office/drawing/2014/main" id="{8AE22AB7-40C2-57CA-70E8-965BAAAC2FC9}"/>
              </a:ext>
            </a:extLst>
          </p:cNvPr>
          <p:cNvSpPr>
            <a:spLocks noGrp="1"/>
          </p:cNvSpPr>
          <p:nvPr>
            <p:ph type="body" sz="quarter" idx="10"/>
          </p:nvPr>
        </p:nvSpPr>
        <p:spPr/>
        <p:txBody>
          <a:bodyPr/>
          <a:lstStyle/>
          <a:p>
            <a:r>
              <a:rPr lang="en-US" dirty="0"/>
              <a:t>2</a:t>
            </a:r>
            <a:endParaRPr lang="en-GB" dirty="0"/>
          </a:p>
        </p:txBody>
      </p:sp>
    </p:spTree>
    <p:extLst>
      <p:ext uri="{BB962C8B-B14F-4D97-AF65-F5344CB8AC3E}">
        <p14:creationId xmlns:p14="http://schemas.microsoft.com/office/powerpoint/2010/main" val="1978397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Afbeelding 60">
            <a:extLst>
              <a:ext uri="{FF2B5EF4-FFF2-40B4-BE49-F238E27FC236}">
                <a16:creationId xmlns:a16="http://schemas.microsoft.com/office/drawing/2014/main" id="{D07EA9F5-852B-E1AC-02C5-A2FE618B2B18}"/>
              </a:ext>
            </a:extLst>
          </p:cNvPr>
          <p:cNvPicPr>
            <a:picLocks noChangeAspect="1"/>
          </p:cNvPicPr>
          <p:nvPr/>
        </p:nvPicPr>
        <p:blipFill rotWithShape="1">
          <a:blip r:embed="rId4"/>
          <a:srcRect t="40986"/>
          <a:stretch/>
        </p:blipFill>
        <p:spPr>
          <a:xfrm>
            <a:off x="2" y="2443867"/>
            <a:ext cx="12191999" cy="4488291"/>
          </a:xfrm>
          <a:custGeom>
            <a:avLst/>
            <a:gdLst>
              <a:gd name="connsiteX0" fmla="*/ 6095999 w 12191999"/>
              <a:gd name="connsiteY0" fmla="*/ 0 h 4218201"/>
              <a:gd name="connsiteX1" fmla="*/ 11341569 w 12191999"/>
              <a:gd name="connsiteY1" fmla="*/ 102692 h 4218201"/>
              <a:gd name="connsiteX2" fmla="*/ 12191999 w 12191999"/>
              <a:gd name="connsiteY2" fmla="*/ 140809 h 4218201"/>
              <a:gd name="connsiteX3" fmla="*/ 12191999 w 12191999"/>
              <a:gd name="connsiteY3" fmla="*/ 4218201 h 4218201"/>
              <a:gd name="connsiteX4" fmla="*/ 0 w 12191999"/>
              <a:gd name="connsiteY4" fmla="*/ 4218201 h 4218201"/>
              <a:gd name="connsiteX5" fmla="*/ 0 w 12191999"/>
              <a:gd name="connsiteY5" fmla="*/ 140809 h 4218201"/>
              <a:gd name="connsiteX6" fmla="*/ 850428 w 12191999"/>
              <a:gd name="connsiteY6" fmla="*/ 102692 h 4218201"/>
              <a:gd name="connsiteX7" fmla="*/ 6095999 w 12191999"/>
              <a:gd name="connsiteY7" fmla="*/ 0 h 4218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9" h="4218201">
                <a:moveTo>
                  <a:pt x="6095999" y="0"/>
                </a:moveTo>
                <a:cubicBezTo>
                  <a:pt x="7892865" y="0"/>
                  <a:pt x="9647203" y="35360"/>
                  <a:pt x="11341569" y="102692"/>
                </a:cubicBezTo>
                <a:lnTo>
                  <a:pt x="12191999" y="140809"/>
                </a:lnTo>
                <a:lnTo>
                  <a:pt x="12191999" y="4218201"/>
                </a:lnTo>
                <a:lnTo>
                  <a:pt x="0" y="4218201"/>
                </a:lnTo>
                <a:lnTo>
                  <a:pt x="0" y="140809"/>
                </a:lnTo>
                <a:lnTo>
                  <a:pt x="850428" y="102692"/>
                </a:lnTo>
                <a:cubicBezTo>
                  <a:pt x="2544795" y="35360"/>
                  <a:pt x="4299134" y="0"/>
                  <a:pt x="6095999" y="0"/>
                </a:cubicBezTo>
                <a:close/>
              </a:path>
            </a:pathLst>
          </a:custGeom>
        </p:spPr>
      </p:pic>
      <p:sp>
        <p:nvSpPr>
          <p:cNvPr id="2" name="Tijdelijke aanduiding voor dianummer 1">
            <a:extLst>
              <a:ext uri="{FF2B5EF4-FFF2-40B4-BE49-F238E27FC236}">
                <a16:creationId xmlns:a16="http://schemas.microsoft.com/office/drawing/2014/main" id="{622823BF-87F0-6648-B52D-B75176F26FC7}"/>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4303E-A424-9540-91A8-53B791C91E8F}" type="slidenum">
              <a:rPr kumimoji="0" lang="en-GB" sz="1000" b="0" i="0" u="none" strike="noStrike" kern="1200" cap="none" spc="0" normalizeH="0" baseline="0" noProof="0" smtClean="0">
                <a:ln>
                  <a:noFill/>
                </a:ln>
                <a:solidFill>
                  <a:srgbClr val="00615F"/>
                </a:solidFill>
                <a:effectLst/>
                <a:uLnTx/>
                <a:uFillTx/>
                <a:latin typeface="Tablet Gothic"/>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000" b="0" i="0" u="none" strike="noStrike" kern="1200" cap="none" spc="0" normalizeH="0" baseline="0" noProof="0" dirty="0">
              <a:ln>
                <a:noFill/>
              </a:ln>
              <a:solidFill>
                <a:srgbClr val="00615F"/>
              </a:solidFill>
              <a:effectLst/>
              <a:uLnTx/>
              <a:uFillTx/>
              <a:latin typeface="Tablet Gothic"/>
              <a:ea typeface="+mn-ea"/>
              <a:cs typeface="+mn-cs"/>
            </a:endParaRPr>
          </a:p>
        </p:txBody>
      </p:sp>
      <p:sp>
        <p:nvSpPr>
          <p:cNvPr id="5" name="Titel 4">
            <a:extLst>
              <a:ext uri="{FF2B5EF4-FFF2-40B4-BE49-F238E27FC236}">
                <a16:creationId xmlns:a16="http://schemas.microsoft.com/office/drawing/2014/main" id="{7E692293-AAB0-499B-9E4C-9328E0159D66}"/>
              </a:ext>
            </a:extLst>
          </p:cNvPr>
          <p:cNvSpPr>
            <a:spLocks noGrp="1"/>
          </p:cNvSpPr>
          <p:nvPr>
            <p:ph type="title"/>
          </p:nvPr>
        </p:nvSpPr>
        <p:spPr>
          <a:xfrm>
            <a:off x="386102" y="312521"/>
            <a:ext cx="10874374" cy="428920"/>
          </a:xfrm>
        </p:spPr>
        <p:txBody>
          <a:bodyPr>
            <a:noAutofit/>
          </a:bodyPr>
          <a:lstStyle/>
          <a:p>
            <a:pPr algn="ctr"/>
            <a:r>
              <a:rPr lang="en-GB" sz="4400" dirty="0"/>
              <a:t>Global </a:t>
            </a:r>
            <a:r>
              <a:rPr lang="en-GB" sz="4400" dirty="0">
                <a:solidFill>
                  <a:schemeClr val="accent2"/>
                </a:solidFill>
              </a:rPr>
              <a:t>urgency for SHF and workers</a:t>
            </a:r>
          </a:p>
        </p:txBody>
      </p:sp>
      <p:sp>
        <p:nvSpPr>
          <p:cNvPr id="4" name="Tekstvak 3">
            <a:extLst>
              <a:ext uri="{FF2B5EF4-FFF2-40B4-BE49-F238E27FC236}">
                <a16:creationId xmlns:a16="http://schemas.microsoft.com/office/drawing/2014/main" id="{459B6F10-2C81-395B-ABF3-71C1761138E2}"/>
              </a:ext>
            </a:extLst>
          </p:cNvPr>
          <p:cNvSpPr txBox="1"/>
          <p:nvPr/>
        </p:nvSpPr>
        <p:spPr>
          <a:xfrm>
            <a:off x="1953817" y="1243237"/>
            <a:ext cx="929066" cy="1070217"/>
          </a:xfrm>
          <a:prstGeom prst="rect">
            <a:avLst/>
          </a:prstGeom>
          <a:noFill/>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615F"/>
                </a:solidFill>
                <a:effectLst/>
                <a:uLnTx/>
                <a:uFillTx/>
                <a:latin typeface="Roc Grotesk"/>
                <a:ea typeface="+mn-ea"/>
                <a:cs typeface="Arial" panose="020B0604020202020204" pitchFamily="34" charset="0"/>
              </a:rPr>
              <a:t>Cost </a:t>
            </a:r>
            <a:br>
              <a:rPr kumimoji="0" lang="en-GB" sz="1800" b="1" i="0" u="none" strike="noStrike" kern="1200" cap="none" spc="0" normalizeH="0" baseline="0" noProof="0" dirty="0">
                <a:ln>
                  <a:noFill/>
                </a:ln>
                <a:solidFill>
                  <a:srgbClr val="00615F"/>
                </a:solidFill>
                <a:effectLst/>
                <a:uLnTx/>
                <a:uFillTx/>
                <a:latin typeface="Roc Grotesk"/>
                <a:ea typeface="+mn-ea"/>
                <a:cs typeface="Arial" panose="020B0604020202020204" pitchFamily="34" charset="0"/>
              </a:rPr>
            </a:br>
            <a:r>
              <a:rPr kumimoji="0" lang="en-GB" sz="1800" b="1" i="0" u="none" strike="noStrike" kern="1200" cap="none" spc="0" normalizeH="0" baseline="0" noProof="0" dirty="0">
                <a:ln>
                  <a:noFill/>
                </a:ln>
                <a:solidFill>
                  <a:srgbClr val="00615F"/>
                </a:solidFill>
                <a:effectLst/>
                <a:uLnTx/>
                <a:uFillTx/>
                <a:latin typeface="Roc Grotesk"/>
                <a:ea typeface="+mn-ea"/>
                <a:cs typeface="Arial" panose="020B0604020202020204" pitchFamily="34" charset="0"/>
              </a:rPr>
              <a:t>of living</a:t>
            </a:r>
          </a:p>
        </p:txBody>
      </p:sp>
      <p:sp>
        <p:nvSpPr>
          <p:cNvPr id="7" name="Tekstvak 6">
            <a:extLst>
              <a:ext uri="{FF2B5EF4-FFF2-40B4-BE49-F238E27FC236}">
                <a16:creationId xmlns:a16="http://schemas.microsoft.com/office/drawing/2014/main" id="{0A60F589-E565-D1EB-2B0B-ABAFEB9E77E1}"/>
              </a:ext>
            </a:extLst>
          </p:cNvPr>
          <p:cNvSpPr txBox="1"/>
          <p:nvPr/>
        </p:nvSpPr>
        <p:spPr>
          <a:xfrm>
            <a:off x="4837251" y="1243237"/>
            <a:ext cx="929066" cy="1070217"/>
          </a:xfrm>
          <a:prstGeom prst="rect">
            <a:avLst/>
          </a:prstGeom>
          <a:noFill/>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615F"/>
                </a:solidFill>
                <a:effectLst/>
                <a:uLnTx/>
                <a:uFillTx/>
                <a:latin typeface="Roc Grotesk"/>
                <a:ea typeface="+mn-ea"/>
                <a:cs typeface="Arial" panose="020B0604020202020204" pitchFamily="34" charset="0"/>
              </a:rPr>
              <a:t>Climate</a:t>
            </a:r>
            <a:br>
              <a:rPr kumimoji="0" lang="en-GB" sz="1800" b="1" i="0" u="none" strike="noStrike" kern="1200" cap="none" spc="0" normalizeH="0" baseline="0" noProof="0" dirty="0">
                <a:ln>
                  <a:noFill/>
                </a:ln>
                <a:solidFill>
                  <a:srgbClr val="00615F"/>
                </a:solidFill>
                <a:effectLst/>
                <a:uLnTx/>
                <a:uFillTx/>
                <a:latin typeface="Roc Grotesk"/>
                <a:ea typeface="+mn-ea"/>
                <a:cs typeface="Arial" panose="020B0604020202020204" pitchFamily="34" charset="0"/>
              </a:rPr>
            </a:br>
            <a:r>
              <a:rPr kumimoji="0" lang="en-GB" sz="1800" b="1" i="0" u="none" strike="noStrike" kern="1200" cap="none" spc="0" normalizeH="0" baseline="0" noProof="0" dirty="0">
                <a:ln>
                  <a:noFill/>
                </a:ln>
                <a:solidFill>
                  <a:srgbClr val="00615F"/>
                </a:solidFill>
                <a:effectLst/>
                <a:uLnTx/>
                <a:uFillTx/>
                <a:latin typeface="Roc Grotesk"/>
                <a:ea typeface="+mn-ea"/>
                <a:cs typeface="Arial" panose="020B0604020202020204" pitchFamily="34" charset="0"/>
              </a:rPr>
              <a:t>change</a:t>
            </a:r>
          </a:p>
        </p:txBody>
      </p:sp>
      <p:sp>
        <p:nvSpPr>
          <p:cNvPr id="9" name="Tekstvak 8">
            <a:extLst>
              <a:ext uri="{FF2B5EF4-FFF2-40B4-BE49-F238E27FC236}">
                <a16:creationId xmlns:a16="http://schemas.microsoft.com/office/drawing/2014/main" id="{949F1B2C-DB1C-0E41-DC07-4DF0EFCFED9C}"/>
              </a:ext>
            </a:extLst>
          </p:cNvPr>
          <p:cNvSpPr txBox="1"/>
          <p:nvPr/>
        </p:nvSpPr>
        <p:spPr>
          <a:xfrm>
            <a:off x="7720685" y="1243237"/>
            <a:ext cx="929066" cy="1070217"/>
          </a:xfrm>
          <a:prstGeom prst="rect">
            <a:avLst/>
          </a:prstGeom>
          <a:noFill/>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615F"/>
                </a:solidFill>
                <a:effectLst/>
                <a:uLnTx/>
                <a:uFillTx/>
                <a:latin typeface="Roc Grotesk"/>
                <a:ea typeface="+mn-ea"/>
                <a:cs typeface="Arial" panose="020B0604020202020204" pitchFamily="34" charset="0"/>
              </a:rPr>
              <a:t>Inequality</a:t>
            </a:r>
          </a:p>
        </p:txBody>
      </p:sp>
      <p:sp>
        <p:nvSpPr>
          <p:cNvPr id="11" name="Tekstvak 10">
            <a:extLst>
              <a:ext uri="{FF2B5EF4-FFF2-40B4-BE49-F238E27FC236}">
                <a16:creationId xmlns:a16="http://schemas.microsoft.com/office/drawing/2014/main" id="{B40704B8-E9F1-844D-3804-5BFA1C2F12D0}"/>
              </a:ext>
            </a:extLst>
          </p:cNvPr>
          <p:cNvSpPr txBox="1"/>
          <p:nvPr/>
        </p:nvSpPr>
        <p:spPr>
          <a:xfrm>
            <a:off x="10604120" y="1243237"/>
            <a:ext cx="656356" cy="1070217"/>
          </a:xfrm>
          <a:prstGeom prst="rect">
            <a:avLst/>
          </a:prstGeom>
          <a:noFill/>
        </p:spPr>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615F"/>
                </a:solidFill>
                <a:effectLst/>
                <a:uLnTx/>
                <a:uFillTx/>
                <a:latin typeface="Roc Grotesk"/>
                <a:ea typeface="+mn-ea"/>
                <a:cs typeface="Arial" panose="020B0604020202020204" pitchFamily="34" charset="0"/>
              </a:rPr>
              <a:t>Security</a:t>
            </a:r>
            <a:r>
              <a:rPr kumimoji="0" lang="en-GB" sz="1800" b="1" i="0" u="none" strike="noStrike" kern="1200" cap="none" spc="0" normalizeH="0" noProof="0" dirty="0">
                <a:ln>
                  <a:noFill/>
                </a:ln>
                <a:solidFill>
                  <a:srgbClr val="00615F"/>
                </a:solidFill>
                <a:effectLst/>
                <a:uLnTx/>
                <a:uFillTx/>
                <a:latin typeface="Roc Grotesk"/>
                <a:ea typeface="+mn-ea"/>
                <a:cs typeface="Arial" panose="020B0604020202020204" pitchFamily="34" charset="0"/>
              </a:rPr>
              <a:t> of </a:t>
            </a:r>
            <a:br>
              <a:rPr kumimoji="0" lang="en-GB" sz="1800" b="1" i="0" u="none" strike="noStrike" kern="1200" cap="none" spc="0" normalizeH="0" noProof="0" dirty="0">
                <a:ln>
                  <a:noFill/>
                </a:ln>
                <a:solidFill>
                  <a:srgbClr val="00615F"/>
                </a:solidFill>
                <a:effectLst/>
                <a:uLnTx/>
                <a:uFillTx/>
                <a:latin typeface="Roc Grotesk"/>
                <a:ea typeface="+mn-ea"/>
                <a:cs typeface="Arial" panose="020B0604020202020204" pitchFamily="34" charset="0"/>
              </a:rPr>
            </a:br>
            <a:r>
              <a:rPr kumimoji="0" lang="en-GB" sz="1800" b="1" i="0" u="none" strike="noStrike" kern="1200" cap="none" spc="0" normalizeH="0" noProof="0" dirty="0">
                <a:ln>
                  <a:noFill/>
                </a:ln>
                <a:solidFill>
                  <a:srgbClr val="00615F"/>
                </a:solidFill>
                <a:effectLst/>
                <a:uLnTx/>
                <a:uFillTx/>
                <a:latin typeface="Roc Grotesk"/>
                <a:ea typeface="+mn-ea"/>
                <a:cs typeface="Arial" panose="020B0604020202020204" pitchFamily="34" charset="0"/>
              </a:rPr>
              <a:t>Supply</a:t>
            </a:r>
            <a:endParaRPr kumimoji="0" lang="en-GB" sz="1800" b="1" i="0" u="none" strike="noStrike" kern="1200" cap="none" spc="0" normalizeH="0" baseline="0" noProof="0" dirty="0">
              <a:ln>
                <a:noFill/>
              </a:ln>
              <a:solidFill>
                <a:srgbClr val="00615F"/>
              </a:solidFill>
              <a:effectLst/>
              <a:uLnTx/>
              <a:uFillTx/>
              <a:latin typeface="Roc Grotesk"/>
              <a:ea typeface="+mn-ea"/>
              <a:cs typeface="Arial" panose="020B0604020202020204" pitchFamily="34" charset="0"/>
            </a:endParaRPr>
          </a:p>
        </p:txBody>
      </p:sp>
      <p:grpSp>
        <p:nvGrpSpPr>
          <p:cNvPr id="46" name="Groep 45">
            <a:extLst>
              <a:ext uri="{FF2B5EF4-FFF2-40B4-BE49-F238E27FC236}">
                <a16:creationId xmlns:a16="http://schemas.microsoft.com/office/drawing/2014/main" id="{898923A9-E1DA-603D-FB24-B35FB4DEDB7C}"/>
              </a:ext>
            </a:extLst>
          </p:cNvPr>
          <p:cNvGrpSpPr/>
          <p:nvPr/>
        </p:nvGrpSpPr>
        <p:grpSpPr>
          <a:xfrm>
            <a:off x="658810" y="1243238"/>
            <a:ext cx="1148636" cy="1070217"/>
            <a:chOff x="658810" y="1439170"/>
            <a:chExt cx="1148636" cy="1070217"/>
          </a:xfrm>
        </p:grpSpPr>
        <p:sp>
          <p:nvSpPr>
            <p:cNvPr id="3" name="Graphic 48">
              <a:extLst>
                <a:ext uri="{FF2B5EF4-FFF2-40B4-BE49-F238E27FC236}">
                  <a16:creationId xmlns:a16="http://schemas.microsoft.com/office/drawing/2014/main" id="{14DEBE15-6F3C-F27E-4FA7-2E577B419789}"/>
                </a:ext>
              </a:extLst>
            </p:cNvPr>
            <p:cNvSpPr/>
            <p:nvPr/>
          </p:nvSpPr>
          <p:spPr>
            <a:xfrm>
              <a:off x="658810" y="1439170"/>
              <a:ext cx="1148636" cy="1070217"/>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2"/>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pic>
          <p:nvPicPr>
            <p:cNvPr id="21" name="Graphic 20">
              <a:extLst>
                <a:ext uri="{FF2B5EF4-FFF2-40B4-BE49-F238E27FC236}">
                  <a16:creationId xmlns:a16="http://schemas.microsoft.com/office/drawing/2014/main" id="{CF429581-5FB7-3E46-961B-AA424868DD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9618" y="1629057"/>
              <a:ext cx="647700" cy="647700"/>
            </a:xfrm>
            <a:prstGeom prst="rect">
              <a:avLst/>
            </a:prstGeom>
          </p:spPr>
        </p:pic>
      </p:grpSp>
      <p:grpSp>
        <p:nvGrpSpPr>
          <p:cNvPr id="47" name="Groep 46">
            <a:extLst>
              <a:ext uri="{FF2B5EF4-FFF2-40B4-BE49-F238E27FC236}">
                <a16:creationId xmlns:a16="http://schemas.microsoft.com/office/drawing/2014/main" id="{CEC29FA1-2951-E378-0C08-5EC0C92693F0}"/>
              </a:ext>
            </a:extLst>
          </p:cNvPr>
          <p:cNvGrpSpPr/>
          <p:nvPr/>
        </p:nvGrpSpPr>
        <p:grpSpPr>
          <a:xfrm>
            <a:off x="3542244" y="1243238"/>
            <a:ext cx="1148636" cy="1070217"/>
            <a:chOff x="3542244" y="1439170"/>
            <a:chExt cx="1148636" cy="1070217"/>
          </a:xfrm>
        </p:grpSpPr>
        <p:sp>
          <p:nvSpPr>
            <p:cNvPr id="6" name="Graphic 48">
              <a:extLst>
                <a:ext uri="{FF2B5EF4-FFF2-40B4-BE49-F238E27FC236}">
                  <a16:creationId xmlns:a16="http://schemas.microsoft.com/office/drawing/2014/main" id="{90672425-CDF5-62B4-F3DC-CF2A1909E880}"/>
                </a:ext>
              </a:extLst>
            </p:cNvPr>
            <p:cNvSpPr/>
            <p:nvPr/>
          </p:nvSpPr>
          <p:spPr>
            <a:xfrm flipH="1">
              <a:off x="3542244" y="1439170"/>
              <a:ext cx="1148636" cy="1070217"/>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2"/>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pic>
          <p:nvPicPr>
            <p:cNvPr id="22" name="Graphic 21">
              <a:extLst>
                <a:ext uri="{FF2B5EF4-FFF2-40B4-BE49-F238E27FC236}">
                  <a16:creationId xmlns:a16="http://schemas.microsoft.com/office/drawing/2014/main" id="{7DDB301E-56A6-AD59-E59F-FA822532EF6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38117" y="1629057"/>
              <a:ext cx="647700" cy="647700"/>
            </a:xfrm>
            <a:prstGeom prst="rect">
              <a:avLst/>
            </a:prstGeom>
          </p:spPr>
        </p:pic>
      </p:grpSp>
      <p:grpSp>
        <p:nvGrpSpPr>
          <p:cNvPr id="49" name="Groep 48">
            <a:extLst>
              <a:ext uri="{FF2B5EF4-FFF2-40B4-BE49-F238E27FC236}">
                <a16:creationId xmlns:a16="http://schemas.microsoft.com/office/drawing/2014/main" id="{97690DD1-C7AA-40EE-45A6-67F6C9B2DC0E}"/>
              </a:ext>
            </a:extLst>
          </p:cNvPr>
          <p:cNvGrpSpPr/>
          <p:nvPr/>
        </p:nvGrpSpPr>
        <p:grpSpPr>
          <a:xfrm>
            <a:off x="9348322" y="1124277"/>
            <a:ext cx="1070217" cy="1148636"/>
            <a:chOff x="9348322" y="1320209"/>
            <a:chExt cx="1070217" cy="1148636"/>
          </a:xfrm>
        </p:grpSpPr>
        <p:sp>
          <p:nvSpPr>
            <p:cNvPr id="10" name="Graphic 48">
              <a:extLst>
                <a:ext uri="{FF2B5EF4-FFF2-40B4-BE49-F238E27FC236}">
                  <a16:creationId xmlns:a16="http://schemas.microsoft.com/office/drawing/2014/main" id="{A25A3CF4-8718-7138-151D-864CC31853A9}"/>
                </a:ext>
              </a:extLst>
            </p:cNvPr>
            <p:cNvSpPr/>
            <p:nvPr/>
          </p:nvSpPr>
          <p:spPr>
            <a:xfrm rot="15300000">
              <a:off x="9309113" y="1359418"/>
              <a:ext cx="1148636" cy="1070217"/>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2"/>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pic>
          <p:nvPicPr>
            <p:cNvPr id="23" name="Graphic 22">
              <a:extLst>
                <a:ext uri="{FF2B5EF4-FFF2-40B4-BE49-F238E27FC236}">
                  <a16:creationId xmlns:a16="http://schemas.microsoft.com/office/drawing/2014/main" id="{DD053796-26D5-A5FA-3991-890F15407B22}"/>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9590483" y="1570676"/>
              <a:ext cx="647700" cy="647700"/>
            </a:xfrm>
            <a:prstGeom prst="rect">
              <a:avLst/>
            </a:prstGeom>
          </p:spPr>
        </p:pic>
      </p:grpSp>
      <p:grpSp>
        <p:nvGrpSpPr>
          <p:cNvPr id="48" name="Groep 47">
            <a:extLst>
              <a:ext uri="{FF2B5EF4-FFF2-40B4-BE49-F238E27FC236}">
                <a16:creationId xmlns:a16="http://schemas.microsoft.com/office/drawing/2014/main" id="{BE316754-CFF3-748A-61B6-18BA21972647}"/>
              </a:ext>
            </a:extLst>
          </p:cNvPr>
          <p:cNvGrpSpPr/>
          <p:nvPr/>
        </p:nvGrpSpPr>
        <p:grpSpPr>
          <a:xfrm>
            <a:off x="6425678" y="1243238"/>
            <a:ext cx="1148636" cy="1070217"/>
            <a:chOff x="6425678" y="1439170"/>
            <a:chExt cx="1148636" cy="1070217"/>
          </a:xfrm>
        </p:grpSpPr>
        <p:sp>
          <p:nvSpPr>
            <p:cNvPr id="8" name="Graphic 48">
              <a:extLst>
                <a:ext uri="{FF2B5EF4-FFF2-40B4-BE49-F238E27FC236}">
                  <a16:creationId xmlns:a16="http://schemas.microsoft.com/office/drawing/2014/main" id="{D1142606-2C1C-CEA7-1664-2542B7905469}"/>
                </a:ext>
              </a:extLst>
            </p:cNvPr>
            <p:cNvSpPr/>
            <p:nvPr/>
          </p:nvSpPr>
          <p:spPr>
            <a:xfrm rot="9900000">
              <a:off x="6425678" y="1439170"/>
              <a:ext cx="1148636" cy="1070217"/>
            </a:xfrm>
            <a:custGeom>
              <a:avLst/>
              <a:gdLst>
                <a:gd name="connsiteX0" fmla="*/ 1070344 w 1189060"/>
                <a:gd name="connsiteY0" fmla="*/ 868013 h 1107882"/>
                <a:gd name="connsiteX1" fmla="*/ 469749 w 1189060"/>
                <a:gd name="connsiteY1" fmla="*/ 1107567 h 1107882"/>
                <a:gd name="connsiteX2" fmla="*/ 46424 w 1189060"/>
                <a:gd name="connsiteY2" fmla="*/ 845915 h 1107882"/>
                <a:gd name="connsiteX3" fmla="*/ 119284 w 1189060"/>
                <a:gd name="connsiteY3" fmla="*/ 190976 h 1107882"/>
                <a:gd name="connsiteX4" fmla="*/ 511437 w 1189060"/>
                <a:gd name="connsiteY4" fmla="*/ 0 h 1107882"/>
                <a:gd name="connsiteX5" fmla="*/ 665779 w 1189060"/>
                <a:gd name="connsiteY5" fmla="*/ 19050 h 1107882"/>
                <a:gd name="connsiteX6" fmla="*/ 1186029 w 1189060"/>
                <a:gd name="connsiteY6" fmla="*/ 521303 h 1107882"/>
                <a:gd name="connsiteX7" fmla="*/ 1070344 w 1189060"/>
                <a:gd name="connsiteY7" fmla="*/ 868013 h 110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060" h="1107882">
                  <a:moveTo>
                    <a:pt x="1070344" y="868013"/>
                  </a:moveTo>
                  <a:cubicBezTo>
                    <a:pt x="934668" y="1017556"/>
                    <a:pt x="692781" y="1114139"/>
                    <a:pt x="469749" y="1107567"/>
                  </a:cubicBezTo>
                  <a:cubicBezTo>
                    <a:pt x="272109" y="1104329"/>
                    <a:pt x="105924" y="1001649"/>
                    <a:pt x="46424" y="845915"/>
                  </a:cubicBezTo>
                  <a:cubicBezTo>
                    <a:pt x="-36289" y="631412"/>
                    <a:pt x="-6350" y="362045"/>
                    <a:pt x="119284" y="190976"/>
                  </a:cubicBezTo>
                  <a:cubicBezTo>
                    <a:pt x="212419" y="66104"/>
                    <a:pt x="350748" y="0"/>
                    <a:pt x="511437" y="0"/>
                  </a:cubicBezTo>
                  <a:cubicBezTo>
                    <a:pt x="560990" y="0"/>
                    <a:pt x="612626" y="6287"/>
                    <a:pt x="665779" y="19050"/>
                  </a:cubicBezTo>
                  <a:cubicBezTo>
                    <a:pt x="931068" y="82868"/>
                    <a:pt x="1144909" y="289370"/>
                    <a:pt x="1186029" y="521303"/>
                  </a:cubicBezTo>
                  <a:cubicBezTo>
                    <a:pt x="1200904" y="648367"/>
                    <a:pt x="1160827" y="768287"/>
                    <a:pt x="1070344" y="868013"/>
                  </a:cubicBezTo>
                </a:path>
              </a:pathLst>
            </a:custGeom>
            <a:solidFill>
              <a:schemeClr val="accent2"/>
            </a:solidFill>
            <a:ln w="944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a:ln>
                  <a:noFill/>
                </a:ln>
                <a:solidFill>
                  <a:srgbClr val="00615F"/>
                </a:solidFill>
                <a:effectLst/>
                <a:uLnTx/>
                <a:uFillTx/>
                <a:latin typeface="Arial" panose="020B0604020202020204"/>
                <a:ea typeface="+mn-ea"/>
                <a:cs typeface="+mn-cs"/>
              </a:endParaRPr>
            </a:p>
          </p:txBody>
        </p:sp>
        <p:pic>
          <p:nvPicPr>
            <p:cNvPr id="25" name="Graphic 24">
              <a:extLst>
                <a:ext uri="{FF2B5EF4-FFF2-40B4-BE49-F238E27FC236}">
                  <a16:creationId xmlns:a16="http://schemas.microsoft.com/office/drawing/2014/main" id="{8FC94A5F-6B83-5768-6217-D9B9A9562B8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91853" y="1629057"/>
              <a:ext cx="616285" cy="616285"/>
            </a:xfrm>
            <a:prstGeom prst="rect">
              <a:avLst/>
            </a:prstGeom>
          </p:spPr>
        </p:pic>
      </p:grpSp>
      <p:sp>
        <p:nvSpPr>
          <p:cNvPr id="27" name="TextBox 16">
            <a:extLst>
              <a:ext uri="{FF2B5EF4-FFF2-40B4-BE49-F238E27FC236}">
                <a16:creationId xmlns:a16="http://schemas.microsoft.com/office/drawing/2014/main" id="{5A31F6B9-B352-C478-96B9-583CC5CFB373}"/>
              </a:ext>
            </a:extLst>
          </p:cNvPr>
          <p:cNvSpPr txBox="1"/>
          <p:nvPr/>
        </p:nvSpPr>
        <p:spPr>
          <a:xfrm>
            <a:off x="2074973" y="4245685"/>
            <a:ext cx="716049" cy="461665"/>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ablet Gothic"/>
                <a:ea typeface="+mn-ea"/>
                <a:cs typeface="+mn-cs"/>
              </a:rPr>
              <a:t>World’s </a:t>
            </a:r>
            <a:br>
              <a:rPr kumimoji="0" lang="en-US" sz="1200" b="0" i="0" u="none" strike="noStrike" kern="1200" cap="none" spc="0" normalizeH="0" baseline="0" noProof="0" dirty="0">
                <a:ln>
                  <a:noFill/>
                </a:ln>
                <a:solidFill>
                  <a:srgbClr val="FFFFFF"/>
                </a:solidFill>
                <a:effectLst/>
                <a:uLnTx/>
                <a:uFillTx/>
                <a:latin typeface="Tablet Gothic"/>
                <a:ea typeface="+mn-ea"/>
                <a:cs typeface="+mn-cs"/>
              </a:rPr>
            </a:br>
            <a:r>
              <a:rPr kumimoji="0" lang="en-US" sz="1200" b="0" i="0" u="none" strike="noStrike" kern="1200" cap="none" spc="0" normalizeH="0" baseline="0" noProof="0" dirty="0">
                <a:ln>
                  <a:noFill/>
                </a:ln>
                <a:solidFill>
                  <a:srgbClr val="FFFFFF"/>
                </a:solidFill>
                <a:effectLst/>
                <a:uLnTx/>
                <a:uFillTx/>
                <a:latin typeface="Tablet Gothic"/>
                <a:ea typeface="+mn-ea"/>
                <a:cs typeface="+mn-cs"/>
              </a:rPr>
              <a:t>poorest</a:t>
            </a:r>
          </a:p>
        </p:txBody>
      </p:sp>
      <p:sp>
        <p:nvSpPr>
          <p:cNvPr id="28" name="TextBox 16">
            <a:extLst>
              <a:ext uri="{FF2B5EF4-FFF2-40B4-BE49-F238E27FC236}">
                <a16:creationId xmlns:a16="http://schemas.microsoft.com/office/drawing/2014/main" id="{E3C5E6B3-EFC8-2928-FD6F-0769AB0856EB}"/>
              </a:ext>
            </a:extLst>
          </p:cNvPr>
          <p:cNvSpPr txBox="1"/>
          <p:nvPr/>
        </p:nvSpPr>
        <p:spPr>
          <a:xfrm>
            <a:off x="584099" y="5600025"/>
            <a:ext cx="1526237" cy="461665"/>
          </a:xfrm>
          <a:prstGeom prst="rect">
            <a:avLst/>
          </a:prstGeom>
          <a:noFill/>
        </p:spPr>
        <p:txBody>
          <a:bodyPr wrap="square" l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ablet Gothic"/>
                <a:ea typeface="+mn-ea"/>
                <a:cs typeface="+mn-cs"/>
              </a:rPr>
              <a:t>Share of incom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ablet Gothic"/>
                <a:ea typeface="+mn-ea"/>
                <a:cs typeface="+mn-cs"/>
              </a:rPr>
              <a:t>g</a:t>
            </a:r>
            <a:r>
              <a:rPr kumimoji="0" lang="en-US" sz="1200" b="0" i="0" u="none" strike="noStrike" kern="1200" cap="none" spc="0" normalizeH="0" baseline="0" noProof="0" dirty="0" err="1">
                <a:ln>
                  <a:noFill/>
                </a:ln>
                <a:solidFill>
                  <a:srgbClr val="FFFFFF"/>
                </a:solidFill>
                <a:effectLst/>
                <a:uLnTx/>
                <a:uFillTx/>
                <a:latin typeface="Tablet Gothic"/>
                <a:ea typeface="+mn-ea"/>
                <a:cs typeface="+mn-cs"/>
              </a:rPr>
              <a:t>ains</a:t>
            </a:r>
            <a:r>
              <a:rPr kumimoji="0" lang="en-US" sz="1200" b="0" i="0" u="none" strike="noStrike" kern="1200" cap="none" spc="0" normalizeH="0" baseline="0" noProof="0" dirty="0">
                <a:ln>
                  <a:noFill/>
                </a:ln>
                <a:solidFill>
                  <a:srgbClr val="FFFFFF"/>
                </a:solidFill>
                <a:effectLst/>
                <a:uLnTx/>
                <a:uFillTx/>
                <a:latin typeface="Tablet Gothic"/>
                <a:ea typeface="+mn-ea"/>
                <a:cs typeface="+mn-cs"/>
              </a:rPr>
              <a:t> since 1980</a:t>
            </a:r>
          </a:p>
        </p:txBody>
      </p:sp>
      <p:sp>
        <p:nvSpPr>
          <p:cNvPr id="29" name="Tekstvak 28">
            <a:extLst>
              <a:ext uri="{FF2B5EF4-FFF2-40B4-BE49-F238E27FC236}">
                <a16:creationId xmlns:a16="http://schemas.microsoft.com/office/drawing/2014/main" id="{C8DFD099-C3B0-1DF5-C0B1-3053BF2B3D80}"/>
              </a:ext>
            </a:extLst>
          </p:cNvPr>
          <p:cNvSpPr txBox="1"/>
          <p:nvPr/>
        </p:nvSpPr>
        <p:spPr>
          <a:xfrm>
            <a:off x="701089" y="2872106"/>
            <a:ext cx="1447800" cy="575629"/>
          </a:xfrm>
          <a:prstGeom prst="rect">
            <a:avLst/>
          </a:prstGeom>
        </p:spPr>
        <p:txBody>
          <a:bodyPr vert="horz" wrap="none" lIns="0" tIns="0" rIns="0" bIns="0" rtlCol="0" anchor="t">
            <a:noAutofit/>
          </a:bodyPr>
          <a:lstStyle/>
          <a:p>
            <a:pPr marL="0" marR="0" lvl="0" indent="0" algn="l" defTabSz="914400" rtl="0" eaLnBrk="1" fontAlgn="auto" latinLnBrk="0" hangingPunct="1">
              <a:lnSpc>
                <a:spcPct val="80000"/>
              </a:lnSpc>
              <a:spcBef>
                <a:spcPts val="0"/>
              </a:spcBef>
              <a:spcAft>
                <a:spcPts val="600"/>
              </a:spcAft>
              <a:buClr>
                <a:srgbClr val="47D985"/>
              </a:buClr>
              <a:buSzTx/>
              <a:buFontTx/>
              <a:buNone/>
              <a:tabLst/>
              <a:defRPr/>
            </a:pPr>
            <a:r>
              <a:rPr kumimoji="0" lang="en-GB" sz="2400" b="1" i="0" u="none" strike="noStrike" kern="1200" cap="none" spc="0" normalizeH="0" baseline="0" noProof="0" dirty="0">
                <a:ln>
                  <a:noFill/>
                </a:ln>
                <a:solidFill>
                  <a:srgbClr val="47D985"/>
                </a:solidFill>
                <a:effectLst/>
                <a:uLnTx/>
                <a:uFillTx/>
                <a:latin typeface="Roc Grotesk"/>
                <a:ea typeface="+mn-ea"/>
                <a:cs typeface="Arial" panose="020B0604020202020204" pitchFamily="34" charset="0"/>
              </a:rPr>
              <a:t>Income </a:t>
            </a:r>
            <a:br>
              <a:rPr kumimoji="0" lang="en-GB" sz="2400" b="1" i="0" u="none" strike="noStrike" kern="1200" cap="none" spc="0" normalizeH="0" baseline="0" noProof="0" dirty="0">
                <a:ln>
                  <a:noFill/>
                </a:ln>
                <a:solidFill>
                  <a:srgbClr val="47D985"/>
                </a:solidFill>
                <a:effectLst/>
                <a:uLnTx/>
                <a:uFillTx/>
                <a:latin typeface="Roc Grotesk"/>
                <a:ea typeface="+mn-ea"/>
                <a:cs typeface="Arial" panose="020B0604020202020204" pitchFamily="34" charset="0"/>
              </a:rPr>
            </a:br>
            <a:r>
              <a:rPr kumimoji="0" lang="en-GB" sz="2400" b="1" i="0" u="none" strike="noStrike" kern="1200" cap="none" spc="0" normalizeH="0" baseline="0" noProof="0" dirty="0">
                <a:ln>
                  <a:noFill/>
                </a:ln>
                <a:solidFill>
                  <a:srgbClr val="47D985"/>
                </a:solidFill>
                <a:effectLst/>
                <a:uLnTx/>
                <a:uFillTx/>
                <a:latin typeface="Roc Grotesk"/>
                <a:ea typeface="+mn-ea"/>
                <a:cs typeface="Arial" panose="020B0604020202020204" pitchFamily="34" charset="0"/>
              </a:rPr>
              <a:t>gains</a:t>
            </a:r>
          </a:p>
        </p:txBody>
      </p:sp>
      <p:sp>
        <p:nvSpPr>
          <p:cNvPr id="31" name="Tekstvak 30">
            <a:extLst>
              <a:ext uri="{FF2B5EF4-FFF2-40B4-BE49-F238E27FC236}">
                <a16:creationId xmlns:a16="http://schemas.microsoft.com/office/drawing/2014/main" id="{33A08A56-7B8C-890F-23F0-95B4166EFCFC}"/>
              </a:ext>
            </a:extLst>
          </p:cNvPr>
          <p:cNvSpPr txBox="1"/>
          <p:nvPr/>
        </p:nvSpPr>
        <p:spPr>
          <a:xfrm>
            <a:off x="6130942" y="2872106"/>
            <a:ext cx="1447800" cy="406754"/>
          </a:xfrm>
          <a:prstGeom prst="rect">
            <a:avLst/>
          </a:prstGeom>
        </p:spPr>
        <p:txBody>
          <a:bodyPr vert="horz" wrap="none" lIns="0" tIns="0" rIns="0" bIns="0" rtlCol="0" anchor="t">
            <a:noAutofit/>
          </a:bodyPr>
          <a:lstStyle/>
          <a:p>
            <a:pPr marL="0" marR="0" lvl="0" indent="0" algn="l" defTabSz="914400" rtl="0" eaLnBrk="1" fontAlgn="auto" latinLnBrk="0" hangingPunct="1">
              <a:lnSpc>
                <a:spcPct val="80000"/>
              </a:lnSpc>
              <a:spcBef>
                <a:spcPts val="0"/>
              </a:spcBef>
              <a:spcAft>
                <a:spcPts val="600"/>
              </a:spcAft>
              <a:buClr>
                <a:srgbClr val="47D985"/>
              </a:buClr>
              <a:buSzTx/>
              <a:buFontTx/>
              <a:buNone/>
              <a:tabLst/>
              <a:defRPr/>
            </a:pPr>
            <a:r>
              <a:rPr kumimoji="0" lang="en-GB" sz="2400" b="1" i="0" u="none" strike="noStrike" kern="1200" cap="none" spc="0" normalizeH="0" baseline="0" noProof="0" dirty="0">
                <a:ln>
                  <a:noFill/>
                </a:ln>
                <a:solidFill>
                  <a:srgbClr val="47D985"/>
                </a:solidFill>
                <a:effectLst/>
                <a:uLnTx/>
                <a:uFillTx/>
                <a:latin typeface="Roc Grotesk"/>
                <a:ea typeface="+mn-ea"/>
                <a:cs typeface="Arial" panose="020B0604020202020204" pitchFamily="34" charset="0"/>
              </a:rPr>
              <a:t>Wealth </a:t>
            </a:r>
            <a:br>
              <a:rPr kumimoji="0" lang="en-GB" sz="2400" b="1" i="0" u="none" strike="noStrike" kern="1200" cap="none" spc="0" normalizeH="0" baseline="0" noProof="0" dirty="0">
                <a:ln>
                  <a:noFill/>
                </a:ln>
                <a:solidFill>
                  <a:srgbClr val="47D985"/>
                </a:solidFill>
                <a:effectLst/>
                <a:uLnTx/>
                <a:uFillTx/>
                <a:latin typeface="Roc Grotesk"/>
                <a:ea typeface="+mn-ea"/>
                <a:cs typeface="Arial" panose="020B0604020202020204" pitchFamily="34" charset="0"/>
              </a:rPr>
            </a:br>
            <a:r>
              <a:rPr kumimoji="0" lang="en-GB" sz="2400" b="1" i="0" u="none" strike="noStrike" kern="1200" cap="none" spc="0" normalizeH="0" baseline="0" noProof="0" dirty="0">
                <a:ln>
                  <a:noFill/>
                </a:ln>
                <a:solidFill>
                  <a:srgbClr val="47D985"/>
                </a:solidFill>
                <a:effectLst/>
                <a:uLnTx/>
                <a:uFillTx/>
                <a:latin typeface="Roc Grotesk"/>
                <a:ea typeface="+mn-ea"/>
                <a:cs typeface="Arial" panose="020B0604020202020204" pitchFamily="34" charset="0"/>
              </a:rPr>
              <a:t>distribution</a:t>
            </a:r>
          </a:p>
        </p:txBody>
      </p:sp>
      <p:sp>
        <p:nvSpPr>
          <p:cNvPr id="32" name="TextBox 16">
            <a:extLst>
              <a:ext uri="{FF2B5EF4-FFF2-40B4-BE49-F238E27FC236}">
                <a16:creationId xmlns:a16="http://schemas.microsoft.com/office/drawing/2014/main" id="{D4B66BF0-FF7D-BB82-6719-3D62C7309F3C}"/>
              </a:ext>
            </a:extLst>
          </p:cNvPr>
          <p:cNvSpPr txBox="1"/>
          <p:nvPr/>
        </p:nvSpPr>
        <p:spPr>
          <a:xfrm>
            <a:off x="6141873" y="5527205"/>
            <a:ext cx="1772962" cy="461665"/>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ablet Gothic"/>
                <a:ea typeface="+mn-ea"/>
                <a:cs typeface="+mn-cs"/>
              </a:rPr>
              <a:t>Wealth accumulation </a:t>
            </a:r>
            <a:br>
              <a:rPr kumimoji="0" lang="en-US" sz="1200" b="0" i="0" u="none" strike="noStrike" kern="1200" cap="none" spc="0" normalizeH="0" baseline="0" noProof="0" dirty="0">
                <a:ln>
                  <a:noFill/>
                </a:ln>
                <a:solidFill>
                  <a:srgbClr val="FFFFFF"/>
                </a:solidFill>
                <a:effectLst/>
                <a:uLnTx/>
                <a:uFillTx/>
                <a:latin typeface="Tablet Gothic"/>
                <a:ea typeface="+mn-ea"/>
                <a:cs typeface="+mn-cs"/>
              </a:rPr>
            </a:br>
            <a:r>
              <a:rPr kumimoji="0" lang="en-US" sz="1200" b="0" i="0" u="none" strike="noStrike" kern="1200" cap="none" spc="0" normalizeH="0" baseline="0" noProof="0" dirty="0">
                <a:ln>
                  <a:noFill/>
                </a:ln>
                <a:solidFill>
                  <a:srgbClr val="FFFFFF"/>
                </a:solidFill>
                <a:effectLst/>
                <a:uLnTx/>
                <a:uFillTx/>
                <a:latin typeface="Tablet Gothic"/>
                <a:ea typeface="+mn-ea"/>
                <a:cs typeface="+mn-cs"/>
              </a:rPr>
              <a:t>by the richest </a:t>
            </a:r>
            <a:r>
              <a:rPr kumimoji="0" lang="en-US" sz="1200" b="0" i="0" u="none" strike="noStrike" kern="1200" cap="none" spc="0" normalizeH="0" baseline="0" noProof="0" dirty="0">
                <a:ln>
                  <a:noFill/>
                </a:ln>
                <a:solidFill>
                  <a:srgbClr val="47D985"/>
                </a:solidFill>
                <a:effectLst/>
                <a:uLnTx/>
                <a:uFillTx/>
                <a:latin typeface="Tablet Gothic"/>
                <a:ea typeface="+mn-ea"/>
                <a:cs typeface="+mn-cs"/>
              </a:rPr>
              <a:t>1% </a:t>
            </a:r>
            <a:r>
              <a:rPr kumimoji="0" lang="en-US" sz="1200" b="0" i="0" u="none" strike="noStrike" kern="1200" cap="none" spc="0" normalizeH="0" baseline="0" noProof="0" dirty="0">
                <a:ln>
                  <a:noFill/>
                </a:ln>
                <a:solidFill>
                  <a:srgbClr val="FFFFFF"/>
                </a:solidFill>
                <a:effectLst/>
                <a:uLnTx/>
                <a:uFillTx/>
                <a:latin typeface="Tablet Gothic"/>
                <a:ea typeface="+mn-ea"/>
                <a:cs typeface="+mn-cs"/>
              </a:rPr>
              <a:t>in 2021</a:t>
            </a:r>
          </a:p>
        </p:txBody>
      </p:sp>
      <p:graphicFrame>
        <p:nvGraphicFramePr>
          <p:cNvPr id="34" name="Chart 15">
            <a:extLst>
              <a:ext uri="{FF2B5EF4-FFF2-40B4-BE49-F238E27FC236}">
                <a16:creationId xmlns:a16="http://schemas.microsoft.com/office/drawing/2014/main" id="{1A47669D-EEBF-1E99-7A84-6D59BE847843}"/>
              </a:ext>
            </a:extLst>
          </p:cNvPr>
          <p:cNvGraphicFramePr/>
          <p:nvPr/>
        </p:nvGraphicFramePr>
        <p:xfrm>
          <a:off x="8783734" y="3575519"/>
          <a:ext cx="1455187" cy="1527004"/>
        </p:xfrm>
        <a:graphic>
          <a:graphicData uri="http://schemas.openxmlformats.org/drawingml/2006/chart">
            <c:chart xmlns:c="http://schemas.openxmlformats.org/drawingml/2006/chart" xmlns:r="http://schemas.openxmlformats.org/officeDocument/2006/relationships" r:id="rId13"/>
          </a:graphicData>
        </a:graphic>
      </p:graphicFrame>
      <p:sp>
        <p:nvSpPr>
          <p:cNvPr id="35" name="Tekstvak 34">
            <a:extLst>
              <a:ext uri="{FF2B5EF4-FFF2-40B4-BE49-F238E27FC236}">
                <a16:creationId xmlns:a16="http://schemas.microsoft.com/office/drawing/2014/main" id="{CBC053FA-838A-46C2-C5BC-E35973796D13}"/>
              </a:ext>
            </a:extLst>
          </p:cNvPr>
          <p:cNvSpPr txBox="1"/>
          <p:nvPr/>
        </p:nvSpPr>
        <p:spPr>
          <a:xfrm>
            <a:off x="8783734" y="4019401"/>
            <a:ext cx="1447800" cy="730249"/>
          </a:xfrm>
          <a:prstGeom prst="rect">
            <a:avLst/>
          </a:prstGeom>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
                <a:srgbClr val="47D985"/>
              </a:buClr>
              <a:buSzTx/>
              <a:buFontTx/>
              <a:buNone/>
              <a:tabLst/>
              <a:defRPr/>
            </a:pPr>
            <a:r>
              <a:rPr kumimoji="0" lang="en-GB" sz="3200" b="1" i="0" u="none" strike="noStrike" kern="1200" cap="none" spc="0" normalizeH="0" baseline="0" noProof="0" dirty="0">
                <a:ln>
                  <a:noFill/>
                </a:ln>
                <a:solidFill>
                  <a:srgbClr val="FFFFFF"/>
                </a:solidFill>
                <a:effectLst/>
                <a:uLnTx/>
                <a:uFillTx/>
                <a:latin typeface="Roc Grotesk"/>
                <a:ea typeface="+mn-ea"/>
                <a:cs typeface="Arial" panose="020B0604020202020204" pitchFamily="34" charset="0"/>
              </a:rPr>
              <a:t>30%</a:t>
            </a:r>
          </a:p>
        </p:txBody>
      </p:sp>
      <p:sp>
        <p:nvSpPr>
          <p:cNvPr id="36" name="TextBox 16">
            <a:extLst>
              <a:ext uri="{FF2B5EF4-FFF2-40B4-BE49-F238E27FC236}">
                <a16:creationId xmlns:a16="http://schemas.microsoft.com/office/drawing/2014/main" id="{739616B9-07E1-C3D9-499B-294FBEC3BC44}"/>
              </a:ext>
            </a:extLst>
          </p:cNvPr>
          <p:cNvSpPr txBox="1"/>
          <p:nvPr/>
        </p:nvSpPr>
        <p:spPr>
          <a:xfrm>
            <a:off x="10330097" y="4015719"/>
            <a:ext cx="1377541" cy="461665"/>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Tablet Gothic"/>
                <a:ea typeface="+mn-ea"/>
                <a:cs typeface="+mn-cs"/>
              </a:rPr>
              <a:t>of world’s food </a:t>
            </a:r>
            <a:br>
              <a:rPr kumimoji="0" lang="en-GB" sz="1200" b="0" i="0" u="none" strike="noStrike" kern="1200" cap="none" spc="0" normalizeH="0" baseline="0" noProof="0" dirty="0">
                <a:ln>
                  <a:noFill/>
                </a:ln>
                <a:solidFill>
                  <a:srgbClr val="FFFFFF"/>
                </a:solidFill>
                <a:effectLst/>
                <a:uLnTx/>
                <a:uFillTx/>
                <a:latin typeface="Tablet Gothic"/>
                <a:ea typeface="+mn-ea"/>
                <a:cs typeface="+mn-cs"/>
              </a:rPr>
            </a:br>
            <a:r>
              <a:rPr kumimoji="0" lang="en-GB" sz="1200" b="0" i="0" u="none" strike="noStrike" kern="1200" cap="none" spc="0" normalizeH="0" baseline="0" noProof="0" dirty="0">
                <a:ln>
                  <a:noFill/>
                </a:ln>
                <a:solidFill>
                  <a:srgbClr val="FFFFFF"/>
                </a:solidFill>
                <a:effectLst/>
                <a:uLnTx/>
                <a:uFillTx/>
                <a:latin typeface="Tablet Gothic"/>
                <a:ea typeface="+mn-ea"/>
                <a:cs typeface="+mn-cs"/>
              </a:rPr>
              <a:t>production by SHF</a:t>
            </a:r>
            <a:endParaRPr kumimoji="0" lang="en-GB" sz="1600" b="0" i="0" u="none" strike="noStrike" kern="1200" cap="none" spc="0" normalizeH="0" baseline="0" noProof="0" dirty="0">
              <a:ln>
                <a:noFill/>
              </a:ln>
              <a:solidFill>
                <a:srgbClr val="FFFFFF"/>
              </a:solidFill>
              <a:effectLst/>
              <a:uLnTx/>
              <a:uFillTx/>
              <a:latin typeface="Tablet Gothic"/>
              <a:ea typeface="+mn-ea"/>
              <a:cs typeface="+mn-cs"/>
            </a:endParaRPr>
          </a:p>
        </p:txBody>
      </p:sp>
      <p:sp>
        <p:nvSpPr>
          <p:cNvPr id="44" name="Tekstvak 43">
            <a:extLst>
              <a:ext uri="{FF2B5EF4-FFF2-40B4-BE49-F238E27FC236}">
                <a16:creationId xmlns:a16="http://schemas.microsoft.com/office/drawing/2014/main" id="{B829545D-F808-F9BB-17E2-A9C216081E8A}"/>
              </a:ext>
            </a:extLst>
          </p:cNvPr>
          <p:cNvSpPr txBox="1"/>
          <p:nvPr/>
        </p:nvSpPr>
        <p:spPr>
          <a:xfrm>
            <a:off x="8740371" y="2820841"/>
            <a:ext cx="3559797" cy="575629"/>
          </a:xfrm>
          <a:prstGeom prst="rect">
            <a:avLst/>
          </a:prstGeom>
        </p:spPr>
        <p:txBody>
          <a:bodyPr vert="horz" wrap="none" lIns="0" tIns="0" rIns="0" bIns="0" rtlCol="0" anchor="t">
            <a:noAutofit/>
          </a:bodyPr>
          <a:lstStyle/>
          <a:p>
            <a:pPr marL="0" marR="0" lvl="0" indent="0" algn="l" defTabSz="914400" rtl="0" eaLnBrk="1" fontAlgn="auto" latinLnBrk="0" hangingPunct="1">
              <a:lnSpc>
                <a:spcPct val="80000"/>
              </a:lnSpc>
              <a:spcBef>
                <a:spcPts val="0"/>
              </a:spcBef>
              <a:spcAft>
                <a:spcPts val="600"/>
              </a:spcAft>
              <a:buClr>
                <a:srgbClr val="47D985"/>
              </a:buClr>
              <a:buSzTx/>
              <a:buFontTx/>
              <a:buNone/>
              <a:tabLst/>
              <a:defRPr/>
            </a:pPr>
            <a:r>
              <a:rPr kumimoji="0" lang="en-GB" sz="2400" b="1" i="0" u="none" strike="noStrike" kern="1200" cap="none" spc="0" normalizeH="0" baseline="0" noProof="0" dirty="0">
                <a:ln>
                  <a:noFill/>
                </a:ln>
                <a:solidFill>
                  <a:srgbClr val="47D985"/>
                </a:solidFill>
                <a:effectLst/>
                <a:uLnTx/>
                <a:uFillTx/>
                <a:latin typeface="Tablet Gothic"/>
                <a:ea typeface="+mn-ea"/>
                <a:cs typeface="Arial" panose="020B0604020202020204" pitchFamily="34" charset="0"/>
              </a:rPr>
              <a:t>Small-holder </a:t>
            </a:r>
            <a:br>
              <a:rPr kumimoji="0" lang="en-GB" sz="2400" b="1" i="0" u="none" strike="noStrike" kern="1200" cap="none" spc="0" normalizeH="0" baseline="0" noProof="0" dirty="0">
                <a:ln>
                  <a:noFill/>
                </a:ln>
                <a:solidFill>
                  <a:srgbClr val="47D985"/>
                </a:solidFill>
                <a:effectLst/>
                <a:uLnTx/>
                <a:uFillTx/>
                <a:latin typeface="Tablet Gothic"/>
                <a:ea typeface="+mn-ea"/>
                <a:cs typeface="Arial" panose="020B0604020202020204" pitchFamily="34" charset="0"/>
              </a:rPr>
            </a:br>
            <a:r>
              <a:rPr kumimoji="0" lang="en-GB" sz="2400" b="1" i="0" u="none" strike="noStrike" kern="1200" cap="none" spc="0" normalizeH="0" baseline="0" noProof="0" dirty="0">
                <a:ln>
                  <a:noFill/>
                </a:ln>
                <a:solidFill>
                  <a:srgbClr val="47D985"/>
                </a:solidFill>
                <a:effectLst/>
                <a:uLnTx/>
                <a:uFillTx/>
                <a:latin typeface="Tablet Gothic"/>
                <a:ea typeface="+mn-ea"/>
                <a:cs typeface="Arial" panose="020B0604020202020204" pitchFamily="34" charset="0"/>
              </a:rPr>
              <a:t>farmers contribution </a:t>
            </a:r>
          </a:p>
        </p:txBody>
      </p:sp>
      <p:sp>
        <p:nvSpPr>
          <p:cNvPr id="54" name="Ovaal 53">
            <a:extLst>
              <a:ext uri="{FF2B5EF4-FFF2-40B4-BE49-F238E27FC236}">
                <a16:creationId xmlns:a16="http://schemas.microsoft.com/office/drawing/2014/main" id="{B5508248-D710-41CE-8883-6606ED17428C}"/>
              </a:ext>
            </a:extLst>
          </p:cNvPr>
          <p:cNvSpPr/>
          <p:nvPr/>
        </p:nvSpPr>
        <p:spPr>
          <a:xfrm>
            <a:off x="1046617" y="4136247"/>
            <a:ext cx="867914" cy="867914"/>
          </a:xfrm>
          <a:prstGeom prst="ellipse">
            <a:avLst/>
          </a:prstGeom>
          <a:solidFill>
            <a:srgbClr val="FE4C00"/>
          </a:solidFill>
          <a:ln>
            <a:noFill/>
          </a:ln>
          <a:effectLst>
            <a:outerShdw blurRad="254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Roc Grotesk"/>
                <a:ea typeface="+mn-ea"/>
                <a:cs typeface="+mn-cs"/>
              </a:rPr>
              <a:t>60%</a:t>
            </a:r>
          </a:p>
        </p:txBody>
      </p:sp>
      <p:sp>
        <p:nvSpPr>
          <p:cNvPr id="55" name="Ovaal 54">
            <a:extLst>
              <a:ext uri="{FF2B5EF4-FFF2-40B4-BE49-F238E27FC236}">
                <a16:creationId xmlns:a16="http://schemas.microsoft.com/office/drawing/2014/main" id="{3C20C76F-63C1-4EE7-46DE-A5EBD2DD7EFF}"/>
              </a:ext>
            </a:extLst>
          </p:cNvPr>
          <p:cNvSpPr/>
          <p:nvPr/>
        </p:nvSpPr>
        <p:spPr>
          <a:xfrm>
            <a:off x="1581370" y="4727124"/>
            <a:ext cx="554336" cy="554336"/>
          </a:xfrm>
          <a:prstGeom prst="ellipse">
            <a:avLst/>
          </a:prstGeom>
          <a:solidFill>
            <a:schemeClr val="accent5"/>
          </a:solidFill>
          <a:ln>
            <a:noFill/>
          </a:ln>
          <a:effectLst>
            <a:outerShdw blurRad="254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Roc Grotesk"/>
                <a:ea typeface="+mn-ea"/>
                <a:cs typeface="+mn-cs"/>
              </a:rPr>
              <a:t>5%</a:t>
            </a:r>
          </a:p>
        </p:txBody>
      </p:sp>
      <p:sp>
        <p:nvSpPr>
          <p:cNvPr id="56" name="TextBox 16">
            <a:extLst>
              <a:ext uri="{FF2B5EF4-FFF2-40B4-BE49-F238E27FC236}">
                <a16:creationId xmlns:a16="http://schemas.microsoft.com/office/drawing/2014/main" id="{9E4866BB-B06A-0549-0F62-72F068790C0C}"/>
              </a:ext>
            </a:extLst>
          </p:cNvPr>
          <p:cNvSpPr txBox="1"/>
          <p:nvPr/>
        </p:nvSpPr>
        <p:spPr>
          <a:xfrm>
            <a:off x="3428390" y="4430367"/>
            <a:ext cx="1770373" cy="677108"/>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Tablet Gothic"/>
                <a:ea typeface="+mn-ea"/>
                <a:cs typeface="+mn-cs"/>
              </a:rPr>
              <a:t>million people</a:t>
            </a:r>
            <a:r>
              <a:rPr kumimoji="0" lang="en-US" sz="1100" b="0" i="0" u="none" strike="noStrike" kern="1200" cap="none" spc="0" normalizeH="0" baseline="0" noProof="0" dirty="0">
                <a:ln>
                  <a:noFill/>
                </a:ln>
                <a:solidFill>
                  <a:srgbClr val="FFFFFF"/>
                </a:solidFill>
                <a:effectLst/>
                <a:uLnTx/>
                <a:uFillTx/>
                <a:latin typeface="Tablet Gothic"/>
                <a:ea typeface="+mn-ea"/>
                <a:cs typeface="+mn-cs"/>
              </a:rPr>
              <a:t> earning less than</a:t>
            </a:r>
            <a:endParaRPr kumimoji="0" lang="en-US" sz="900" b="0" i="0" u="none" strike="noStrike" kern="1200" cap="none" spc="0" normalizeH="0" baseline="0" noProof="0" dirty="0">
              <a:ln>
                <a:noFill/>
              </a:ln>
              <a:solidFill>
                <a:srgbClr val="FFFFFF"/>
              </a:solidFill>
              <a:effectLst/>
              <a:uLnTx/>
              <a:uFillTx/>
              <a:latin typeface="Tablet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Tablet Gothic"/>
              <a:ea typeface="+mn-ea"/>
              <a:cs typeface="+mn-cs"/>
            </a:endParaRPr>
          </a:p>
        </p:txBody>
      </p:sp>
      <p:grpSp>
        <p:nvGrpSpPr>
          <p:cNvPr id="96" name="Groep 95">
            <a:extLst>
              <a:ext uri="{FF2B5EF4-FFF2-40B4-BE49-F238E27FC236}">
                <a16:creationId xmlns:a16="http://schemas.microsoft.com/office/drawing/2014/main" id="{02F22114-EC85-A33D-5AA5-4E63F967A7B1}"/>
              </a:ext>
            </a:extLst>
          </p:cNvPr>
          <p:cNvGrpSpPr/>
          <p:nvPr/>
        </p:nvGrpSpPr>
        <p:grpSpPr>
          <a:xfrm>
            <a:off x="6192050" y="3760087"/>
            <a:ext cx="1577521" cy="1492504"/>
            <a:chOff x="6746501" y="3609304"/>
            <a:chExt cx="1463889" cy="1384996"/>
          </a:xfrm>
        </p:grpSpPr>
        <p:pic>
          <p:nvPicPr>
            <p:cNvPr id="33" name="Picture 9">
              <a:extLst>
                <a:ext uri="{FF2B5EF4-FFF2-40B4-BE49-F238E27FC236}">
                  <a16:creationId xmlns:a16="http://schemas.microsoft.com/office/drawing/2014/main" id="{AB07742C-21E7-74EB-F13F-79C99F057DAD}"/>
                </a:ext>
              </a:extLst>
            </p:cNvPr>
            <p:cNvPicPr>
              <a:picLocks noChangeAspect="1"/>
            </p:cNvPicPr>
            <p:nvPr/>
          </p:nvPicPr>
          <p:blipFill>
            <a:blip r:embed="rId14"/>
            <a:stretch>
              <a:fillRect/>
            </a:stretch>
          </p:blipFill>
          <p:spPr>
            <a:xfrm>
              <a:off x="6746501" y="3609304"/>
              <a:ext cx="1463889" cy="1384996"/>
            </a:xfrm>
            <a:prstGeom prst="rect">
              <a:avLst/>
            </a:prstGeom>
          </p:spPr>
        </p:pic>
        <p:sp>
          <p:nvSpPr>
            <p:cNvPr id="67" name="Rechthoek 66">
              <a:extLst>
                <a:ext uri="{FF2B5EF4-FFF2-40B4-BE49-F238E27FC236}">
                  <a16:creationId xmlns:a16="http://schemas.microsoft.com/office/drawing/2014/main" id="{EAB4F8EF-EC55-3FD8-638A-69C2BDE850DC}"/>
                </a:ext>
              </a:extLst>
            </p:cNvPr>
            <p:cNvSpPr/>
            <p:nvPr/>
          </p:nvSpPr>
          <p:spPr>
            <a:xfrm>
              <a:off x="7038685" y="3859495"/>
              <a:ext cx="864566" cy="462184"/>
            </a:xfrm>
            <a:prstGeom prst="rect">
              <a:avLst/>
            </a:prstGeom>
            <a:solidFill>
              <a:srgbClr val="FE4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Roc Grotesk"/>
                  <a:ea typeface="+mn-ea"/>
                  <a:cs typeface="+mn-cs"/>
                </a:rPr>
                <a:t>45.6%</a:t>
              </a:r>
            </a:p>
          </p:txBody>
        </p:sp>
      </p:grpSp>
      <p:sp>
        <p:nvSpPr>
          <p:cNvPr id="68" name="Vrije vorm: vorm 67">
            <a:extLst>
              <a:ext uri="{FF2B5EF4-FFF2-40B4-BE49-F238E27FC236}">
                <a16:creationId xmlns:a16="http://schemas.microsoft.com/office/drawing/2014/main" id="{C1495179-3295-3F7C-B77D-BBAF0E485B47}"/>
              </a:ext>
            </a:extLst>
          </p:cNvPr>
          <p:cNvSpPr/>
          <p:nvPr/>
        </p:nvSpPr>
        <p:spPr>
          <a:xfrm rot="6814930">
            <a:off x="948403" y="3457211"/>
            <a:ext cx="729276" cy="1344379"/>
          </a:xfrm>
          <a:custGeom>
            <a:avLst/>
            <a:gdLst>
              <a:gd name="connsiteX0" fmla="*/ 318272 w 729276"/>
              <a:gd name="connsiteY0" fmla="*/ 1224628 h 1344379"/>
              <a:gd name="connsiteX1" fmla="*/ 356885 w 729276"/>
              <a:gd name="connsiteY1" fmla="*/ 1263241 h 1344379"/>
              <a:gd name="connsiteX2" fmla="*/ 318272 w 729276"/>
              <a:gd name="connsiteY2" fmla="*/ 1301851 h 1344379"/>
              <a:gd name="connsiteX3" fmla="*/ 279662 w 729276"/>
              <a:gd name="connsiteY3" fmla="*/ 1263241 h 1344379"/>
              <a:gd name="connsiteX4" fmla="*/ 318272 w 729276"/>
              <a:gd name="connsiteY4" fmla="*/ 1224628 h 1344379"/>
              <a:gd name="connsiteX5" fmla="*/ 318272 w 729276"/>
              <a:gd name="connsiteY5" fmla="*/ 1196807 h 1344379"/>
              <a:gd name="connsiteX6" fmla="*/ 251845 w 729276"/>
              <a:gd name="connsiteY6" fmla="*/ 1263238 h 1344379"/>
              <a:gd name="connsiteX7" fmla="*/ 318272 w 729276"/>
              <a:gd name="connsiteY7" fmla="*/ 1329665 h 1344379"/>
              <a:gd name="connsiteX8" fmla="*/ 384703 w 729276"/>
              <a:gd name="connsiteY8" fmla="*/ 1263238 h 1344379"/>
              <a:gd name="connsiteX9" fmla="*/ 318272 w 729276"/>
              <a:gd name="connsiteY9" fmla="*/ 1196807 h 1344379"/>
              <a:gd name="connsiteX10" fmla="*/ 699967 w 729276"/>
              <a:gd name="connsiteY10" fmla="*/ 1182104 h 1344379"/>
              <a:gd name="connsiteX11" fmla="*/ 729270 w 729276"/>
              <a:gd name="connsiteY11" fmla="*/ 1211403 h 1344379"/>
              <a:gd name="connsiteX12" fmla="*/ 729276 w 729276"/>
              <a:gd name="connsiteY12" fmla="*/ 1315073 h 1344379"/>
              <a:gd name="connsiteX13" fmla="*/ 720660 w 729276"/>
              <a:gd name="connsiteY13" fmla="*/ 1335759 h 1344379"/>
              <a:gd name="connsiteX14" fmla="*/ 699984 w 729276"/>
              <a:gd name="connsiteY14" fmla="*/ 1344379 h 1344379"/>
              <a:gd name="connsiteX15" fmla="*/ 251696 w 729276"/>
              <a:gd name="connsiteY15" fmla="*/ 1344369 h 1344379"/>
              <a:gd name="connsiteX16" fmla="*/ 222390 w 729276"/>
              <a:gd name="connsiteY16" fmla="*/ 1315073 h 1344379"/>
              <a:gd name="connsiteX17" fmla="*/ 222390 w 729276"/>
              <a:gd name="connsiteY17" fmla="*/ 1211420 h 1344379"/>
              <a:gd name="connsiteX18" fmla="*/ 231004 w 729276"/>
              <a:gd name="connsiteY18" fmla="*/ 1190737 h 1344379"/>
              <a:gd name="connsiteX19" fmla="*/ 251683 w 729276"/>
              <a:gd name="connsiteY19" fmla="*/ 1182117 h 1344379"/>
              <a:gd name="connsiteX20" fmla="*/ 260566 w 729276"/>
              <a:gd name="connsiteY20" fmla="*/ 175190 h 1344379"/>
              <a:gd name="connsiteX21" fmla="*/ 262206 w 729276"/>
              <a:gd name="connsiteY21" fmla="*/ 175318 h 1344379"/>
              <a:gd name="connsiteX22" fmla="*/ 309588 w 729276"/>
              <a:gd name="connsiteY22" fmla="*/ 249793 h 1344379"/>
              <a:gd name="connsiteX23" fmla="*/ 275855 w 729276"/>
              <a:gd name="connsiteY23" fmla="*/ 482423 h 1344379"/>
              <a:gd name="connsiteX24" fmla="*/ 228063 w 729276"/>
              <a:gd name="connsiteY24" fmla="*/ 500775 h 1344379"/>
              <a:gd name="connsiteX25" fmla="*/ 218793 w 729276"/>
              <a:gd name="connsiteY25" fmla="*/ 463310 h 1344379"/>
              <a:gd name="connsiteX26" fmla="*/ 187182 w 729276"/>
              <a:gd name="connsiteY26" fmla="*/ 86362 h 1344379"/>
              <a:gd name="connsiteX27" fmla="*/ 234686 w 729276"/>
              <a:gd name="connsiteY27" fmla="*/ 159550 h 1344379"/>
              <a:gd name="connsiteX28" fmla="*/ 234675 w 729276"/>
              <a:gd name="connsiteY28" fmla="*/ 160288 h 1344379"/>
              <a:gd name="connsiteX29" fmla="*/ 234537 w 729276"/>
              <a:gd name="connsiteY29" fmla="*/ 160837 h 1344379"/>
              <a:gd name="connsiteX30" fmla="*/ 190871 w 729276"/>
              <a:gd name="connsiteY30" fmla="*/ 462010 h 1344379"/>
              <a:gd name="connsiteX31" fmla="*/ 191134 w 729276"/>
              <a:gd name="connsiteY31" fmla="*/ 467349 h 1344379"/>
              <a:gd name="connsiteX32" fmla="*/ 203264 w 729276"/>
              <a:gd name="connsiteY32" fmla="*/ 516358 h 1344379"/>
              <a:gd name="connsiteX33" fmla="*/ 143035 w 729276"/>
              <a:gd name="connsiteY33" fmla="*/ 368496 h 1344379"/>
              <a:gd name="connsiteX34" fmla="*/ 142964 w 729276"/>
              <a:gd name="connsiteY34" fmla="*/ 101187 h 1344379"/>
              <a:gd name="connsiteX35" fmla="*/ 187182 w 729276"/>
              <a:gd name="connsiteY35" fmla="*/ 86362 h 1344379"/>
              <a:gd name="connsiteX36" fmla="*/ 57575 w 729276"/>
              <a:gd name="connsiteY36" fmla="*/ 0 h 1344379"/>
              <a:gd name="connsiteX37" fmla="*/ 115160 w 729276"/>
              <a:gd name="connsiteY37" fmla="*/ 66892 h 1344379"/>
              <a:gd name="connsiteX38" fmla="*/ 115167 w 729276"/>
              <a:gd name="connsiteY38" fmla="*/ 95104 h 1344379"/>
              <a:gd name="connsiteX39" fmla="*/ 115146 w 729276"/>
              <a:gd name="connsiteY39" fmla="*/ 95306 h 1344379"/>
              <a:gd name="connsiteX40" fmla="*/ 115217 w 729276"/>
              <a:gd name="connsiteY40" fmla="*/ 371225 h 1344379"/>
              <a:gd name="connsiteX41" fmla="*/ 116245 w 729276"/>
              <a:gd name="connsiteY41" fmla="*/ 376470 h 1344379"/>
              <a:gd name="connsiteX42" fmla="*/ 204696 w 729276"/>
              <a:gd name="connsiteY42" fmla="*/ 593612 h 1344379"/>
              <a:gd name="connsiteX43" fmla="*/ 205120 w 729276"/>
              <a:gd name="connsiteY43" fmla="*/ 594464 h 1344379"/>
              <a:gd name="connsiteX44" fmla="*/ 250585 w 729276"/>
              <a:gd name="connsiteY44" fmla="*/ 644642 h 1344379"/>
              <a:gd name="connsiteX45" fmla="*/ 423424 w 729276"/>
              <a:gd name="connsiteY45" fmla="*/ 766579 h 1344379"/>
              <a:gd name="connsiteX46" fmla="*/ 431428 w 729276"/>
              <a:gd name="connsiteY46" fmla="*/ 769122 h 1344379"/>
              <a:gd name="connsiteX47" fmla="*/ 442803 w 729276"/>
              <a:gd name="connsiteY47" fmla="*/ 763230 h 1344379"/>
              <a:gd name="connsiteX48" fmla="*/ 439455 w 729276"/>
              <a:gd name="connsiteY48" fmla="*/ 743848 h 1344379"/>
              <a:gd name="connsiteX49" fmla="*/ 265925 w 729276"/>
              <a:gd name="connsiteY49" fmla="*/ 621426 h 1344379"/>
              <a:gd name="connsiteX50" fmla="*/ 264416 w 729276"/>
              <a:gd name="connsiteY50" fmla="*/ 620499 h 1344379"/>
              <a:gd name="connsiteX51" fmla="*/ 230576 w 729276"/>
              <a:gd name="connsiteY51" fmla="*/ 583314 h 1344379"/>
              <a:gd name="connsiteX52" fmla="*/ 230495 w 729276"/>
              <a:gd name="connsiteY52" fmla="*/ 583152 h 1344379"/>
              <a:gd name="connsiteX53" fmla="*/ 232213 w 729276"/>
              <a:gd name="connsiteY53" fmla="*/ 538318 h 1344379"/>
              <a:gd name="connsiteX54" fmla="*/ 286965 w 729276"/>
              <a:gd name="connsiteY54" fmla="*/ 510045 h 1344379"/>
              <a:gd name="connsiteX55" fmla="*/ 287211 w 729276"/>
              <a:gd name="connsiteY55" fmla="*/ 510086 h 1344379"/>
              <a:gd name="connsiteX56" fmla="*/ 318360 w 729276"/>
              <a:gd name="connsiteY56" fmla="*/ 518746 h 1344379"/>
              <a:gd name="connsiteX57" fmla="*/ 593818 w 729276"/>
              <a:gd name="connsiteY57" fmla="*/ 694193 h 1344379"/>
              <a:gd name="connsiteX58" fmla="*/ 692081 w 729276"/>
              <a:gd name="connsiteY58" fmla="*/ 888981 h 1344379"/>
              <a:gd name="connsiteX59" fmla="*/ 660663 w 729276"/>
              <a:gd name="connsiteY59" fmla="*/ 1154290 h 1344379"/>
              <a:gd name="connsiteX60" fmla="*/ 315682 w 729276"/>
              <a:gd name="connsiteY60" fmla="*/ 1154303 h 1344379"/>
              <a:gd name="connsiteX61" fmla="*/ 311454 w 729276"/>
              <a:gd name="connsiteY61" fmla="*/ 1103294 h 1344379"/>
              <a:gd name="connsiteX62" fmla="*/ 309315 w 729276"/>
              <a:gd name="connsiteY62" fmla="*/ 1096957 h 1344379"/>
              <a:gd name="connsiteX63" fmla="*/ 87316 w 729276"/>
              <a:gd name="connsiteY63" fmla="*/ 749305 h 1344379"/>
              <a:gd name="connsiteX64" fmla="*/ 68 w 729276"/>
              <a:gd name="connsiteY64" fmla="*/ 467838 h 1344379"/>
              <a:gd name="connsiteX65" fmla="*/ 0 w 729276"/>
              <a:gd name="connsiteY65" fmla="*/ 66926 h 1344379"/>
              <a:gd name="connsiteX66" fmla="*/ 57575 w 729276"/>
              <a:gd name="connsiteY66" fmla="*/ 0 h 134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29276" h="1344379">
                <a:moveTo>
                  <a:pt x="318272" y="1224628"/>
                </a:moveTo>
                <a:cubicBezTo>
                  <a:pt x="339568" y="1224628"/>
                  <a:pt x="356889" y="1241949"/>
                  <a:pt x="356885" y="1263241"/>
                </a:cubicBezTo>
                <a:cubicBezTo>
                  <a:pt x="356885" y="1284527"/>
                  <a:pt x="339565" y="1301851"/>
                  <a:pt x="318272" y="1301851"/>
                </a:cubicBezTo>
                <a:cubicBezTo>
                  <a:pt x="296986" y="1301851"/>
                  <a:pt x="279662" y="1284527"/>
                  <a:pt x="279662" y="1263241"/>
                </a:cubicBezTo>
                <a:cubicBezTo>
                  <a:pt x="279662" y="1241952"/>
                  <a:pt x="296983" y="1224628"/>
                  <a:pt x="318272" y="1224628"/>
                </a:cubicBezTo>
                <a:close/>
                <a:moveTo>
                  <a:pt x="318272" y="1196807"/>
                </a:moveTo>
                <a:cubicBezTo>
                  <a:pt x="281643" y="1196807"/>
                  <a:pt x="251845" y="1226609"/>
                  <a:pt x="251845" y="1263238"/>
                </a:cubicBezTo>
                <a:cubicBezTo>
                  <a:pt x="251845" y="1299867"/>
                  <a:pt x="281643" y="1329665"/>
                  <a:pt x="318272" y="1329665"/>
                </a:cubicBezTo>
                <a:cubicBezTo>
                  <a:pt x="354905" y="1329665"/>
                  <a:pt x="384703" y="1299867"/>
                  <a:pt x="384703" y="1263238"/>
                </a:cubicBezTo>
                <a:cubicBezTo>
                  <a:pt x="384703" y="1226609"/>
                  <a:pt x="354901" y="1196807"/>
                  <a:pt x="318272" y="1196807"/>
                </a:cubicBezTo>
                <a:close/>
                <a:moveTo>
                  <a:pt x="699967" y="1182104"/>
                </a:moveTo>
                <a:cubicBezTo>
                  <a:pt x="716122" y="1182104"/>
                  <a:pt x="729266" y="1195248"/>
                  <a:pt x="729270" y="1211403"/>
                </a:cubicBezTo>
                <a:lnTo>
                  <a:pt x="729276" y="1315073"/>
                </a:lnTo>
                <a:cubicBezTo>
                  <a:pt x="729276" y="1322854"/>
                  <a:pt x="726218" y="1330198"/>
                  <a:pt x="720660" y="1335759"/>
                </a:cubicBezTo>
                <a:cubicBezTo>
                  <a:pt x="715105" y="1341317"/>
                  <a:pt x="707762" y="1344379"/>
                  <a:pt x="699984" y="1344379"/>
                </a:cubicBezTo>
                <a:lnTo>
                  <a:pt x="251696" y="1344369"/>
                </a:lnTo>
                <a:cubicBezTo>
                  <a:pt x="235541" y="1344369"/>
                  <a:pt x="222394" y="1331228"/>
                  <a:pt x="222390" y="1315073"/>
                </a:cubicBezTo>
                <a:lnTo>
                  <a:pt x="222390" y="1211420"/>
                </a:lnTo>
                <a:cubicBezTo>
                  <a:pt x="222387" y="1203639"/>
                  <a:pt x="225446" y="1196295"/>
                  <a:pt x="231004" y="1190737"/>
                </a:cubicBezTo>
                <a:cubicBezTo>
                  <a:pt x="236562" y="1185179"/>
                  <a:pt x="243905" y="1182117"/>
                  <a:pt x="251683" y="1182117"/>
                </a:cubicBezTo>
                <a:close/>
                <a:moveTo>
                  <a:pt x="260566" y="175190"/>
                </a:moveTo>
                <a:cubicBezTo>
                  <a:pt x="261105" y="175248"/>
                  <a:pt x="261671" y="175241"/>
                  <a:pt x="262206" y="175318"/>
                </a:cubicBezTo>
                <a:cubicBezTo>
                  <a:pt x="293628" y="179872"/>
                  <a:pt x="314883" y="213285"/>
                  <a:pt x="309588" y="249793"/>
                </a:cubicBezTo>
                <a:lnTo>
                  <a:pt x="275855" y="482423"/>
                </a:lnTo>
                <a:cubicBezTo>
                  <a:pt x="257733" y="483832"/>
                  <a:pt x="241200" y="490306"/>
                  <a:pt x="228063" y="500775"/>
                </a:cubicBezTo>
                <a:lnTo>
                  <a:pt x="218793" y="463310"/>
                </a:lnTo>
                <a:close/>
                <a:moveTo>
                  <a:pt x="187182" y="86362"/>
                </a:moveTo>
                <a:cubicBezTo>
                  <a:pt x="217967" y="90822"/>
                  <a:pt x="239273" y="123655"/>
                  <a:pt x="234686" y="159550"/>
                </a:cubicBezTo>
                <a:cubicBezTo>
                  <a:pt x="234652" y="159796"/>
                  <a:pt x="234692" y="160042"/>
                  <a:pt x="234675" y="160288"/>
                </a:cubicBezTo>
                <a:cubicBezTo>
                  <a:pt x="234638" y="160476"/>
                  <a:pt x="234564" y="160645"/>
                  <a:pt x="234537" y="160837"/>
                </a:cubicBezTo>
                <a:lnTo>
                  <a:pt x="190871" y="462010"/>
                </a:lnTo>
                <a:cubicBezTo>
                  <a:pt x="190615" y="463789"/>
                  <a:pt x="190703" y="465604"/>
                  <a:pt x="191134" y="467349"/>
                </a:cubicBezTo>
                <a:lnTo>
                  <a:pt x="203264" y="516358"/>
                </a:lnTo>
                <a:lnTo>
                  <a:pt x="143035" y="368496"/>
                </a:lnTo>
                <a:lnTo>
                  <a:pt x="142964" y="101187"/>
                </a:lnTo>
                <a:cubicBezTo>
                  <a:pt x="155656" y="89539"/>
                  <a:pt x="171596" y="84109"/>
                  <a:pt x="187182" y="86362"/>
                </a:cubicBezTo>
                <a:close/>
                <a:moveTo>
                  <a:pt x="57575" y="0"/>
                </a:moveTo>
                <a:cubicBezTo>
                  <a:pt x="89327" y="0"/>
                  <a:pt x="115160" y="30010"/>
                  <a:pt x="115160" y="66892"/>
                </a:cubicBezTo>
                <a:lnTo>
                  <a:pt x="115167" y="95104"/>
                </a:lnTo>
                <a:cubicBezTo>
                  <a:pt x="115167" y="95174"/>
                  <a:pt x="115146" y="95235"/>
                  <a:pt x="115146" y="95306"/>
                </a:cubicBezTo>
                <a:lnTo>
                  <a:pt x="115217" y="371225"/>
                </a:lnTo>
                <a:cubicBezTo>
                  <a:pt x="115217" y="373027"/>
                  <a:pt x="115568" y="374806"/>
                  <a:pt x="116245" y="376470"/>
                </a:cubicBezTo>
                <a:lnTo>
                  <a:pt x="204696" y="593612"/>
                </a:lnTo>
                <a:cubicBezTo>
                  <a:pt x="204817" y="593905"/>
                  <a:pt x="204978" y="594178"/>
                  <a:pt x="205120" y="594464"/>
                </a:cubicBezTo>
                <a:cubicBezTo>
                  <a:pt x="213639" y="615585"/>
                  <a:pt x="229700" y="633354"/>
                  <a:pt x="250585" y="644642"/>
                </a:cubicBezTo>
                <a:lnTo>
                  <a:pt x="423424" y="766579"/>
                </a:lnTo>
                <a:cubicBezTo>
                  <a:pt x="425859" y="768297"/>
                  <a:pt x="428655" y="769122"/>
                  <a:pt x="431428" y="769122"/>
                </a:cubicBezTo>
                <a:cubicBezTo>
                  <a:pt x="435793" y="769122"/>
                  <a:pt x="440091" y="767071"/>
                  <a:pt x="442803" y="763230"/>
                </a:cubicBezTo>
                <a:cubicBezTo>
                  <a:pt x="447233" y="756955"/>
                  <a:pt x="445734" y="748274"/>
                  <a:pt x="439455" y="743848"/>
                </a:cubicBezTo>
                <a:lnTo>
                  <a:pt x="265925" y="621426"/>
                </a:lnTo>
                <a:cubicBezTo>
                  <a:pt x="265444" y="621089"/>
                  <a:pt x="264938" y="620776"/>
                  <a:pt x="264416" y="620499"/>
                </a:cubicBezTo>
                <a:cubicBezTo>
                  <a:pt x="248682" y="612169"/>
                  <a:pt x="236663" y="598964"/>
                  <a:pt x="230576" y="583314"/>
                </a:cubicBezTo>
                <a:cubicBezTo>
                  <a:pt x="230552" y="583257"/>
                  <a:pt x="230518" y="583213"/>
                  <a:pt x="230495" y="583152"/>
                </a:cubicBezTo>
                <a:cubicBezTo>
                  <a:pt x="224509" y="567637"/>
                  <a:pt x="225112" y="551724"/>
                  <a:pt x="232213" y="538318"/>
                </a:cubicBezTo>
                <a:cubicBezTo>
                  <a:pt x="242059" y="519716"/>
                  <a:pt x="263045" y="508917"/>
                  <a:pt x="286965" y="510045"/>
                </a:cubicBezTo>
                <a:cubicBezTo>
                  <a:pt x="287049" y="510052"/>
                  <a:pt x="287127" y="510082"/>
                  <a:pt x="287211" y="510086"/>
                </a:cubicBezTo>
                <a:cubicBezTo>
                  <a:pt x="298064" y="510635"/>
                  <a:pt x="308524" y="513539"/>
                  <a:pt x="318360" y="518746"/>
                </a:cubicBezTo>
                <a:cubicBezTo>
                  <a:pt x="320576" y="519905"/>
                  <a:pt x="540558" y="635250"/>
                  <a:pt x="593818" y="694193"/>
                </a:cubicBezTo>
                <a:cubicBezTo>
                  <a:pt x="629413" y="733574"/>
                  <a:pt x="680844" y="835522"/>
                  <a:pt x="692081" y="888981"/>
                </a:cubicBezTo>
                <a:cubicBezTo>
                  <a:pt x="699445" y="923987"/>
                  <a:pt x="680227" y="1047746"/>
                  <a:pt x="660663" y="1154290"/>
                </a:cubicBezTo>
                <a:lnTo>
                  <a:pt x="315682" y="1154303"/>
                </a:lnTo>
                <a:lnTo>
                  <a:pt x="311454" y="1103294"/>
                </a:lnTo>
                <a:cubicBezTo>
                  <a:pt x="311269" y="1101040"/>
                  <a:pt x="310535" y="1098861"/>
                  <a:pt x="309315" y="1096957"/>
                </a:cubicBezTo>
                <a:lnTo>
                  <a:pt x="87316" y="749305"/>
                </a:lnTo>
                <a:lnTo>
                  <a:pt x="68" y="467838"/>
                </a:lnTo>
                <a:lnTo>
                  <a:pt x="0" y="66926"/>
                </a:lnTo>
                <a:cubicBezTo>
                  <a:pt x="4" y="30040"/>
                  <a:pt x="25827" y="20"/>
                  <a:pt x="57575" y="0"/>
                </a:cubicBezTo>
                <a:close/>
              </a:path>
            </a:pathLst>
          </a:custGeom>
          <a:solidFill>
            <a:srgbClr val="33827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615F"/>
              </a:solidFill>
              <a:effectLst/>
              <a:uLnTx/>
              <a:uFillTx/>
              <a:latin typeface="Tablet Gothic"/>
              <a:ea typeface="+mn-ea"/>
              <a:cs typeface="+mn-cs"/>
            </a:endParaRPr>
          </a:p>
        </p:txBody>
      </p:sp>
      <p:sp>
        <p:nvSpPr>
          <p:cNvPr id="69" name="Vrije vorm: vorm 68">
            <a:extLst>
              <a:ext uri="{FF2B5EF4-FFF2-40B4-BE49-F238E27FC236}">
                <a16:creationId xmlns:a16="http://schemas.microsoft.com/office/drawing/2014/main" id="{CE369980-96CC-1703-0B38-8896225B8417}"/>
              </a:ext>
            </a:extLst>
          </p:cNvPr>
          <p:cNvSpPr/>
          <p:nvPr/>
        </p:nvSpPr>
        <p:spPr>
          <a:xfrm rot="6814930" flipH="1" flipV="1">
            <a:off x="1666863" y="4778139"/>
            <a:ext cx="532661" cy="981930"/>
          </a:xfrm>
          <a:custGeom>
            <a:avLst/>
            <a:gdLst>
              <a:gd name="connsiteX0" fmla="*/ 318272 w 729276"/>
              <a:gd name="connsiteY0" fmla="*/ 1224628 h 1344379"/>
              <a:gd name="connsiteX1" fmla="*/ 356885 w 729276"/>
              <a:gd name="connsiteY1" fmla="*/ 1263241 h 1344379"/>
              <a:gd name="connsiteX2" fmla="*/ 318272 w 729276"/>
              <a:gd name="connsiteY2" fmla="*/ 1301851 h 1344379"/>
              <a:gd name="connsiteX3" fmla="*/ 279662 w 729276"/>
              <a:gd name="connsiteY3" fmla="*/ 1263241 h 1344379"/>
              <a:gd name="connsiteX4" fmla="*/ 318272 w 729276"/>
              <a:gd name="connsiteY4" fmla="*/ 1224628 h 1344379"/>
              <a:gd name="connsiteX5" fmla="*/ 318272 w 729276"/>
              <a:gd name="connsiteY5" fmla="*/ 1196807 h 1344379"/>
              <a:gd name="connsiteX6" fmla="*/ 251845 w 729276"/>
              <a:gd name="connsiteY6" fmla="*/ 1263238 h 1344379"/>
              <a:gd name="connsiteX7" fmla="*/ 318272 w 729276"/>
              <a:gd name="connsiteY7" fmla="*/ 1329665 h 1344379"/>
              <a:gd name="connsiteX8" fmla="*/ 384703 w 729276"/>
              <a:gd name="connsiteY8" fmla="*/ 1263238 h 1344379"/>
              <a:gd name="connsiteX9" fmla="*/ 318272 w 729276"/>
              <a:gd name="connsiteY9" fmla="*/ 1196807 h 1344379"/>
              <a:gd name="connsiteX10" fmla="*/ 699967 w 729276"/>
              <a:gd name="connsiteY10" fmla="*/ 1182104 h 1344379"/>
              <a:gd name="connsiteX11" fmla="*/ 729270 w 729276"/>
              <a:gd name="connsiteY11" fmla="*/ 1211403 h 1344379"/>
              <a:gd name="connsiteX12" fmla="*/ 729276 w 729276"/>
              <a:gd name="connsiteY12" fmla="*/ 1315073 h 1344379"/>
              <a:gd name="connsiteX13" fmla="*/ 720660 w 729276"/>
              <a:gd name="connsiteY13" fmla="*/ 1335759 h 1344379"/>
              <a:gd name="connsiteX14" fmla="*/ 699984 w 729276"/>
              <a:gd name="connsiteY14" fmla="*/ 1344379 h 1344379"/>
              <a:gd name="connsiteX15" fmla="*/ 251696 w 729276"/>
              <a:gd name="connsiteY15" fmla="*/ 1344369 h 1344379"/>
              <a:gd name="connsiteX16" fmla="*/ 222390 w 729276"/>
              <a:gd name="connsiteY16" fmla="*/ 1315073 h 1344379"/>
              <a:gd name="connsiteX17" fmla="*/ 222390 w 729276"/>
              <a:gd name="connsiteY17" fmla="*/ 1211420 h 1344379"/>
              <a:gd name="connsiteX18" fmla="*/ 231004 w 729276"/>
              <a:gd name="connsiteY18" fmla="*/ 1190737 h 1344379"/>
              <a:gd name="connsiteX19" fmla="*/ 251683 w 729276"/>
              <a:gd name="connsiteY19" fmla="*/ 1182117 h 1344379"/>
              <a:gd name="connsiteX20" fmla="*/ 260566 w 729276"/>
              <a:gd name="connsiteY20" fmla="*/ 175190 h 1344379"/>
              <a:gd name="connsiteX21" fmla="*/ 262206 w 729276"/>
              <a:gd name="connsiteY21" fmla="*/ 175318 h 1344379"/>
              <a:gd name="connsiteX22" fmla="*/ 309588 w 729276"/>
              <a:gd name="connsiteY22" fmla="*/ 249793 h 1344379"/>
              <a:gd name="connsiteX23" fmla="*/ 275855 w 729276"/>
              <a:gd name="connsiteY23" fmla="*/ 482423 h 1344379"/>
              <a:gd name="connsiteX24" fmla="*/ 228063 w 729276"/>
              <a:gd name="connsiteY24" fmla="*/ 500775 h 1344379"/>
              <a:gd name="connsiteX25" fmla="*/ 218793 w 729276"/>
              <a:gd name="connsiteY25" fmla="*/ 463310 h 1344379"/>
              <a:gd name="connsiteX26" fmla="*/ 187182 w 729276"/>
              <a:gd name="connsiteY26" fmla="*/ 86362 h 1344379"/>
              <a:gd name="connsiteX27" fmla="*/ 234686 w 729276"/>
              <a:gd name="connsiteY27" fmla="*/ 159550 h 1344379"/>
              <a:gd name="connsiteX28" fmla="*/ 234675 w 729276"/>
              <a:gd name="connsiteY28" fmla="*/ 160288 h 1344379"/>
              <a:gd name="connsiteX29" fmla="*/ 234537 w 729276"/>
              <a:gd name="connsiteY29" fmla="*/ 160837 h 1344379"/>
              <a:gd name="connsiteX30" fmla="*/ 190871 w 729276"/>
              <a:gd name="connsiteY30" fmla="*/ 462010 h 1344379"/>
              <a:gd name="connsiteX31" fmla="*/ 191134 w 729276"/>
              <a:gd name="connsiteY31" fmla="*/ 467349 h 1344379"/>
              <a:gd name="connsiteX32" fmla="*/ 203264 w 729276"/>
              <a:gd name="connsiteY32" fmla="*/ 516358 h 1344379"/>
              <a:gd name="connsiteX33" fmla="*/ 143035 w 729276"/>
              <a:gd name="connsiteY33" fmla="*/ 368496 h 1344379"/>
              <a:gd name="connsiteX34" fmla="*/ 142964 w 729276"/>
              <a:gd name="connsiteY34" fmla="*/ 101187 h 1344379"/>
              <a:gd name="connsiteX35" fmla="*/ 187182 w 729276"/>
              <a:gd name="connsiteY35" fmla="*/ 86362 h 1344379"/>
              <a:gd name="connsiteX36" fmla="*/ 57575 w 729276"/>
              <a:gd name="connsiteY36" fmla="*/ 0 h 1344379"/>
              <a:gd name="connsiteX37" fmla="*/ 115160 w 729276"/>
              <a:gd name="connsiteY37" fmla="*/ 66892 h 1344379"/>
              <a:gd name="connsiteX38" fmla="*/ 115167 w 729276"/>
              <a:gd name="connsiteY38" fmla="*/ 95104 h 1344379"/>
              <a:gd name="connsiteX39" fmla="*/ 115146 w 729276"/>
              <a:gd name="connsiteY39" fmla="*/ 95306 h 1344379"/>
              <a:gd name="connsiteX40" fmla="*/ 115217 w 729276"/>
              <a:gd name="connsiteY40" fmla="*/ 371225 h 1344379"/>
              <a:gd name="connsiteX41" fmla="*/ 116245 w 729276"/>
              <a:gd name="connsiteY41" fmla="*/ 376470 h 1344379"/>
              <a:gd name="connsiteX42" fmla="*/ 204696 w 729276"/>
              <a:gd name="connsiteY42" fmla="*/ 593612 h 1344379"/>
              <a:gd name="connsiteX43" fmla="*/ 205120 w 729276"/>
              <a:gd name="connsiteY43" fmla="*/ 594464 h 1344379"/>
              <a:gd name="connsiteX44" fmla="*/ 250585 w 729276"/>
              <a:gd name="connsiteY44" fmla="*/ 644642 h 1344379"/>
              <a:gd name="connsiteX45" fmla="*/ 423424 w 729276"/>
              <a:gd name="connsiteY45" fmla="*/ 766579 h 1344379"/>
              <a:gd name="connsiteX46" fmla="*/ 431428 w 729276"/>
              <a:gd name="connsiteY46" fmla="*/ 769122 h 1344379"/>
              <a:gd name="connsiteX47" fmla="*/ 442803 w 729276"/>
              <a:gd name="connsiteY47" fmla="*/ 763230 h 1344379"/>
              <a:gd name="connsiteX48" fmla="*/ 439455 w 729276"/>
              <a:gd name="connsiteY48" fmla="*/ 743848 h 1344379"/>
              <a:gd name="connsiteX49" fmla="*/ 265925 w 729276"/>
              <a:gd name="connsiteY49" fmla="*/ 621426 h 1344379"/>
              <a:gd name="connsiteX50" fmla="*/ 264416 w 729276"/>
              <a:gd name="connsiteY50" fmla="*/ 620499 h 1344379"/>
              <a:gd name="connsiteX51" fmla="*/ 230576 w 729276"/>
              <a:gd name="connsiteY51" fmla="*/ 583314 h 1344379"/>
              <a:gd name="connsiteX52" fmla="*/ 230495 w 729276"/>
              <a:gd name="connsiteY52" fmla="*/ 583152 h 1344379"/>
              <a:gd name="connsiteX53" fmla="*/ 232213 w 729276"/>
              <a:gd name="connsiteY53" fmla="*/ 538318 h 1344379"/>
              <a:gd name="connsiteX54" fmla="*/ 286965 w 729276"/>
              <a:gd name="connsiteY54" fmla="*/ 510045 h 1344379"/>
              <a:gd name="connsiteX55" fmla="*/ 287211 w 729276"/>
              <a:gd name="connsiteY55" fmla="*/ 510086 h 1344379"/>
              <a:gd name="connsiteX56" fmla="*/ 318360 w 729276"/>
              <a:gd name="connsiteY56" fmla="*/ 518746 h 1344379"/>
              <a:gd name="connsiteX57" fmla="*/ 593818 w 729276"/>
              <a:gd name="connsiteY57" fmla="*/ 694193 h 1344379"/>
              <a:gd name="connsiteX58" fmla="*/ 692081 w 729276"/>
              <a:gd name="connsiteY58" fmla="*/ 888981 h 1344379"/>
              <a:gd name="connsiteX59" fmla="*/ 660663 w 729276"/>
              <a:gd name="connsiteY59" fmla="*/ 1154290 h 1344379"/>
              <a:gd name="connsiteX60" fmla="*/ 315682 w 729276"/>
              <a:gd name="connsiteY60" fmla="*/ 1154303 h 1344379"/>
              <a:gd name="connsiteX61" fmla="*/ 311454 w 729276"/>
              <a:gd name="connsiteY61" fmla="*/ 1103294 h 1344379"/>
              <a:gd name="connsiteX62" fmla="*/ 309315 w 729276"/>
              <a:gd name="connsiteY62" fmla="*/ 1096957 h 1344379"/>
              <a:gd name="connsiteX63" fmla="*/ 87316 w 729276"/>
              <a:gd name="connsiteY63" fmla="*/ 749305 h 1344379"/>
              <a:gd name="connsiteX64" fmla="*/ 68 w 729276"/>
              <a:gd name="connsiteY64" fmla="*/ 467838 h 1344379"/>
              <a:gd name="connsiteX65" fmla="*/ 0 w 729276"/>
              <a:gd name="connsiteY65" fmla="*/ 66926 h 1344379"/>
              <a:gd name="connsiteX66" fmla="*/ 57575 w 729276"/>
              <a:gd name="connsiteY66" fmla="*/ 0 h 134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29276" h="1344379">
                <a:moveTo>
                  <a:pt x="318272" y="1224628"/>
                </a:moveTo>
                <a:cubicBezTo>
                  <a:pt x="339568" y="1224628"/>
                  <a:pt x="356889" y="1241949"/>
                  <a:pt x="356885" y="1263241"/>
                </a:cubicBezTo>
                <a:cubicBezTo>
                  <a:pt x="356885" y="1284527"/>
                  <a:pt x="339565" y="1301851"/>
                  <a:pt x="318272" y="1301851"/>
                </a:cubicBezTo>
                <a:cubicBezTo>
                  <a:pt x="296986" y="1301851"/>
                  <a:pt x="279662" y="1284527"/>
                  <a:pt x="279662" y="1263241"/>
                </a:cubicBezTo>
                <a:cubicBezTo>
                  <a:pt x="279662" y="1241952"/>
                  <a:pt x="296983" y="1224628"/>
                  <a:pt x="318272" y="1224628"/>
                </a:cubicBezTo>
                <a:close/>
                <a:moveTo>
                  <a:pt x="318272" y="1196807"/>
                </a:moveTo>
                <a:cubicBezTo>
                  <a:pt x="281643" y="1196807"/>
                  <a:pt x="251845" y="1226609"/>
                  <a:pt x="251845" y="1263238"/>
                </a:cubicBezTo>
                <a:cubicBezTo>
                  <a:pt x="251845" y="1299867"/>
                  <a:pt x="281643" y="1329665"/>
                  <a:pt x="318272" y="1329665"/>
                </a:cubicBezTo>
                <a:cubicBezTo>
                  <a:pt x="354905" y="1329665"/>
                  <a:pt x="384703" y="1299867"/>
                  <a:pt x="384703" y="1263238"/>
                </a:cubicBezTo>
                <a:cubicBezTo>
                  <a:pt x="384703" y="1226609"/>
                  <a:pt x="354901" y="1196807"/>
                  <a:pt x="318272" y="1196807"/>
                </a:cubicBezTo>
                <a:close/>
                <a:moveTo>
                  <a:pt x="699967" y="1182104"/>
                </a:moveTo>
                <a:cubicBezTo>
                  <a:pt x="716122" y="1182104"/>
                  <a:pt x="729266" y="1195248"/>
                  <a:pt x="729270" y="1211403"/>
                </a:cubicBezTo>
                <a:lnTo>
                  <a:pt x="729276" y="1315073"/>
                </a:lnTo>
                <a:cubicBezTo>
                  <a:pt x="729276" y="1322854"/>
                  <a:pt x="726218" y="1330198"/>
                  <a:pt x="720660" y="1335759"/>
                </a:cubicBezTo>
                <a:cubicBezTo>
                  <a:pt x="715105" y="1341317"/>
                  <a:pt x="707762" y="1344379"/>
                  <a:pt x="699984" y="1344379"/>
                </a:cubicBezTo>
                <a:lnTo>
                  <a:pt x="251696" y="1344369"/>
                </a:lnTo>
                <a:cubicBezTo>
                  <a:pt x="235541" y="1344369"/>
                  <a:pt x="222394" y="1331228"/>
                  <a:pt x="222390" y="1315073"/>
                </a:cubicBezTo>
                <a:lnTo>
                  <a:pt x="222390" y="1211420"/>
                </a:lnTo>
                <a:cubicBezTo>
                  <a:pt x="222387" y="1203639"/>
                  <a:pt x="225446" y="1196295"/>
                  <a:pt x="231004" y="1190737"/>
                </a:cubicBezTo>
                <a:cubicBezTo>
                  <a:pt x="236562" y="1185179"/>
                  <a:pt x="243905" y="1182117"/>
                  <a:pt x="251683" y="1182117"/>
                </a:cubicBezTo>
                <a:close/>
                <a:moveTo>
                  <a:pt x="260566" y="175190"/>
                </a:moveTo>
                <a:cubicBezTo>
                  <a:pt x="261105" y="175248"/>
                  <a:pt x="261671" y="175241"/>
                  <a:pt x="262206" y="175318"/>
                </a:cubicBezTo>
                <a:cubicBezTo>
                  <a:pt x="293628" y="179872"/>
                  <a:pt x="314883" y="213285"/>
                  <a:pt x="309588" y="249793"/>
                </a:cubicBezTo>
                <a:lnTo>
                  <a:pt x="275855" y="482423"/>
                </a:lnTo>
                <a:cubicBezTo>
                  <a:pt x="257733" y="483832"/>
                  <a:pt x="241200" y="490306"/>
                  <a:pt x="228063" y="500775"/>
                </a:cubicBezTo>
                <a:lnTo>
                  <a:pt x="218793" y="463310"/>
                </a:lnTo>
                <a:close/>
                <a:moveTo>
                  <a:pt x="187182" y="86362"/>
                </a:moveTo>
                <a:cubicBezTo>
                  <a:pt x="217967" y="90822"/>
                  <a:pt x="239273" y="123655"/>
                  <a:pt x="234686" y="159550"/>
                </a:cubicBezTo>
                <a:cubicBezTo>
                  <a:pt x="234652" y="159796"/>
                  <a:pt x="234692" y="160042"/>
                  <a:pt x="234675" y="160288"/>
                </a:cubicBezTo>
                <a:cubicBezTo>
                  <a:pt x="234638" y="160476"/>
                  <a:pt x="234564" y="160645"/>
                  <a:pt x="234537" y="160837"/>
                </a:cubicBezTo>
                <a:lnTo>
                  <a:pt x="190871" y="462010"/>
                </a:lnTo>
                <a:cubicBezTo>
                  <a:pt x="190615" y="463789"/>
                  <a:pt x="190703" y="465604"/>
                  <a:pt x="191134" y="467349"/>
                </a:cubicBezTo>
                <a:lnTo>
                  <a:pt x="203264" y="516358"/>
                </a:lnTo>
                <a:lnTo>
                  <a:pt x="143035" y="368496"/>
                </a:lnTo>
                <a:lnTo>
                  <a:pt x="142964" y="101187"/>
                </a:lnTo>
                <a:cubicBezTo>
                  <a:pt x="155656" y="89539"/>
                  <a:pt x="171596" y="84109"/>
                  <a:pt x="187182" y="86362"/>
                </a:cubicBezTo>
                <a:close/>
                <a:moveTo>
                  <a:pt x="57575" y="0"/>
                </a:moveTo>
                <a:cubicBezTo>
                  <a:pt x="89327" y="0"/>
                  <a:pt x="115160" y="30010"/>
                  <a:pt x="115160" y="66892"/>
                </a:cubicBezTo>
                <a:lnTo>
                  <a:pt x="115167" y="95104"/>
                </a:lnTo>
                <a:cubicBezTo>
                  <a:pt x="115167" y="95174"/>
                  <a:pt x="115146" y="95235"/>
                  <a:pt x="115146" y="95306"/>
                </a:cubicBezTo>
                <a:lnTo>
                  <a:pt x="115217" y="371225"/>
                </a:lnTo>
                <a:cubicBezTo>
                  <a:pt x="115217" y="373027"/>
                  <a:pt x="115568" y="374806"/>
                  <a:pt x="116245" y="376470"/>
                </a:cubicBezTo>
                <a:lnTo>
                  <a:pt x="204696" y="593612"/>
                </a:lnTo>
                <a:cubicBezTo>
                  <a:pt x="204817" y="593905"/>
                  <a:pt x="204978" y="594178"/>
                  <a:pt x="205120" y="594464"/>
                </a:cubicBezTo>
                <a:cubicBezTo>
                  <a:pt x="213639" y="615585"/>
                  <a:pt x="229700" y="633354"/>
                  <a:pt x="250585" y="644642"/>
                </a:cubicBezTo>
                <a:lnTo>
                  <a:pt x="423424" y="766579"/>
                </a:lnTo>
                <a:cubicBezTo>
                  <a:pt x="425859" y="768297"/>
                  <a:pt x="428655" y="769122"/>
                  <a:pt x="431428" y="769122"/>
                </a:cubicBezTo>
                <a:cubicBezTo>
                  <a:pt x="435793" y="769122"/>
                  <a:pt x="440091" y="767071"/>
                  <a:pt x="442803" y="763230"/>
                </a:cubicBezTo>
                <a:cubicBezTo>
                  <a:pt x="447233" y="756955"/>
                  <a:pt x="445734" y="748274"/>
                  <a:pt x="439455" y="743848"/>
                </a:cubicBezTo>
                <a:lnTo>
                  <a:pt x="265925" y="621426"/>
                </a:lnTo>
                <a:cubicBezTo>
                  <a:pt x="265444" y="621089"/>
                  <a:pt x="264938" y="620776"/>
                  <a:pt x="264416" y="620499"/>
                </a:cubicBezTo>
                <a:cubicBezTo>
                  <a:pt x="248682" y="612169"/>
                  <a:pt x="236663" y="598964"/>
                  <a:pt x="230576" y="583314"/>
                </a:cubicBezTo>
                <a:cubicBezTo>
                  <a:pt x="230552" y="583257"/>
                  <a:pt x="230518" y="583213"/>
                  <a:pt x="230495" y="583152"/>
                </a:cubicBezTo>
                <a:cubicBezTo>
                  <a:pt x="224509" y="567637"/>
                  <a:pt x="225112" y="551724"/>
                  <a:pt x="232213" y="538318"/>
                </a:cubicBezTo>
                <a:cubicBezTo>
                  <a:pt x="242059" y="519716"/>
                  <a:pt x="263045" y="508917"/>
                  <a:pt x="286965" y="510045"/>
                </a:cubicBezTo>
                <a:cubicBezTo>
                  <a:pt x="287049" y="510052"/>
                  <a:pt x="287127" y="510082"/>
                  <a:pt x="287211" y="510086"/>
                </a:cubicBezTo>
                <a:cubicBezTo>
                  <a:pt x="298064" y="510635"/>
                  <a:pt x="308524" y="513539"/>
                  <a:pt x="318360" y="518746"/>
                </a:cubicBezTo>
                <a:cubicBezTo>
                  <a:pt x="320576" y="519905"/>
                  <a:pt x="540558" y="635250"/>
                  <a:pt x="593818" y="694193"/>
                </a:cubicBezTo>
                <a:cubicBezTo>
                  <a:pt x="629413" y="733574"/>
                  <a:pt x="680844" y="835522"/>
                  <a:pt x="692081" y="888981"/>
                </a:cubicBezTo>
                <a:cubicBezTo>
                  <a:pt x="699445" y="923987"/>
                  <a:pt x="680227" y="1047746"/>
                  <a:pt x="660663" y="1154290"/>
                </a:cubicBezTo>
                <a:lnTo>
                  <a:pt x="315682" y="1154303"/>
                </a:lnTo>
                <a:lnTo>
                  <a:pt x="311454" y="1103294"/>
                </a:lnTo>
                <a:cubicBezTo>
                  <a:pt x="311269" y="1101040"/>
                  <a:pt x="310535" y="1098861"/>
                  <a:pt x="309315" y="1096957"/>
                </a:cubicBezTo>
                <a:lnTo>
                  <a:pt x="87316" y="749305"/>
                </a:lnTo>
                <a:lnTo>
                  <a:pt x="68" y="467838"/>
                </a:lnTo>
                <a:lnTo>
                  <a:pt x="0" y="66926"/>
                </a:lnTo>
                <a:cubicBezTo>
                  <a:pt x="4" y="30040"/>
                  <a:pt x="25827" y="20"/>
                  <a:pt x="57575" y="0"/>
                </a:cubicBezTo>
                <a:close/>
              </a:path>
            </a:pathLst>
          </a:custGeom>
          <a:solidFill>
            <a:srgbClr val="33827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615F"/>
              </a:solidFill>
              <a:effectLst/>
              <a:uLnTx/>
              <a:uFillTx/>
              <a:latin typeface="Tablet Gothic"/>
              <a:ea typeface="+mn-ea"/>
              <a:cs typeface="+mn-cs"/>
            </a:endParaRPr>
          </a:p>
        </p:txBody>
      </p:sp>
      <p:sp>
        <p:nvSpPr>
          <p:cNvPr id="70" name="Tekstvak 69">
            <a:extLst>
              <a:ext uri="{FF2B5EF4-FFF2-40B4-BE49-F238E27FC236}">
                <a16:creationId xmlns:a16="http://schemas.microsoft.com/office/drawing/2014/main" id="{796B9DA3-F124-8376-F937-5FD85EA78FB1}"/>
              </a:ext>
            </a:extLst>
          </p:cNvPr>
          <p:cNvSpPr txBox="1"/>
          <p:nvPr/>
        </p:nvSpPr>
        <p:spPr>
          <a:xfrm>
            <a:off x="3428390" y="4134775"/>
            <a:ext cx="838811" cy="304346"/>
          </a:xfrm>
          <a:prstGeom prst="rect">
            <a:avLst/>
          </a:prstGeom>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
                <a:srgbClr val="47D985"/>
              </a:buClr>
              <a:buSzTx/>
              <a:buFontTx/>
              <a:buNone/>
              <a:tabLst/>
              <a:defRPr/>
            </a:pPr>
            <a:r>
              <a:rPr kumimoji="0" lang="en-GB" sz="3200" b="1" i="0" u="none" strike="noStrike" kern="1200" cap="none" spc="0" normalizeH="0" baseline="0" noProof="0" dirty="0">
                <a:ln>
                  <a:noFill/>
                </a:ln>
                <a:solidFill>
                  <a:srgbClr val="FFFFFF"/>
                </a:solidFill>
                <a:effectLst/>
                <a:uLnTx/>
                <a:uFillTx/>
                <a:latin typeface="Roc Grotesk"/>
                <a:ea typeface="+mn-ea"/>
                <a:cs typeface="Arial" panose="020B0604020202020204" pitchFamily="34" charset="0"/>
              </a:rPr>
              <a:t>630</a:t>
            </a:r>
          </a:p>
        </p:txBody>
      </p:sp>
      <p:sp>
        <p:nvSpPr>
          <p:cNvPr id="72" name="Tekstvak 71">
            <a:extLst>
              <a:ext uri="{FF2B5EF4-FFF2-40B4-BE49-F238E27FC236}">
                <a16:creationId xmlns:a16="http://schemas.microsoft.com/office/drawing/2014/main" id="{9B74BD5C-EB8E-177A-D70F-F195F9BB1036}"/>
              </a:ext>
            </a:extLst>
          </p:cNvPr>
          <p:cNvSpPr txBox="1"/>
          <p:nvPr/>
        </p:nvSpPr>
        <p:spPr>
          <a:xfrm>
            <a:off x="3428390" y="2872106"/>
            <a:ext cx="1447800" cy="575629"/>
          </a:xfrm>
          <a:prstGeom prst="rect">
            <a:avLst/>
          </a:prstGeom>
        </p:spPr>
        <p:txBody>
          <a:bodyPr vert="horz" wrap="none" lIns="0" tIns="0" rIns="0" bIns="0" rtlCol="0" anchor="t">
            <a:noAutofit/>
          </a:bodyPr>
          <a:lstStyle/>
          <a:p>
            <a:pPr marL="0" marR="0" lvl="0" indent="0" algn="l" defTabSz="914400" rtl="0" eaLnBrk="1" fontAlgn="auto" latinLnBrk="0" hangingPunct="1">
              <a:lnSpc>
                <a:spcPct val="80000"/>
              </a:lnSpc>
              <a:spcBef>
                <a:spcPts val="0"/>
              </a:spcBef>
              <a:spcAft>
                <a:spcPts val="600"/>
              </a:spcAft>
              <a:buClr>
                <a:srgbClr val="47D985"/>
              </a:buClr>
              <a:buSzTx/>
              <a:buFontTx/>
              <a:buNone/>
              <a:tabLst/>
              <a:defRPr/>
            </a:pPr>
            <a:r>
              <a:rPr kumimoji="0" lang="en-GB" sz="2400" b="1" i="0" u="none" strike="noStrike" kern="1200" cap="none" spc="0" normalizeH="0" baseline="0" noProof="0" dirty="0">
                <a:ln>
                  <a:noFill/>
                </a:ln>
                <a:solidFill>
                  <a:srgbClr val="47D985"/>
                </a:solidFill>
                <a:effectLst/>
                <a:uLnTx/>
                <a:uFillTx/>
                <a:latin typeface="Roc Grotesk"/>
                <a:ea typeface="+mn-ea"/>
                <a:cs typeface="Arial" panose="020B0604020202020204" pitchFamily="34" charset="0"/>
              </a:rPr>
              <a:t>Poverty</a:t>
            </a:r>
          </a:p>
        </p:txBody>
      </p:sp>
      <p:grpSp>
        <p:nvGrpSpPr>
          <p:cNvPr id="75" name="Graphic 73">
            <a:extLst>
              <a:ext uri="{FF2B5EF4-FFF2-40B4-BE49-F238E27FC236}">
                <a16:creationId xmlns:a16="http://schemas.microsoft.com/office/drawing/2014/main" id="{EE0ECFD8-7A5D-040B-38FB-E0ADC0D5B0F7}"/>
              </a:ext>
            </a:extLst>
          </p:cNvPr>
          <p:cNvGrpSpPr/>
          <p:nvPr/>
        </p:nvGrpSpPr>
        <p:grpSpPr>
          <a:xfrm>
            <a:off x="4363737" y="3613682"/>
            <a:ext cx="651558" cy="788498"/>
            <a:chOff x="4986508" y="1296847"/>
            <a:chExt cx="2218983" cy="2685360"/>
          </a:xfrm>
          <a:solidFill>
            <a:srgbClr val="33827F"/>
          </a:solidFill>
        </p:grpSpPr>
        <p:sp>
          <p:nvSpPr>
            <p:cNvPr id="76" name="Vrije vorm: vorm 75">
              <a:extLst>
                <a:ext uri="{FF2B5EF4-FFF2-40B4-BE49-F238E27FC236}">
                  <a16:creationId xmlns:a16="http://schemas.microsoft.com/office/drawing/2014/main" id="{C2176492-1712-485E-5033-76D36EC59C51}"/>
                </a:ext>
              </a:extLst>
            </p:cNvPr>
            <p:cNvSpPr/>
            <p:nvPr/>
          </p:nvSpPr>
          <p:spPr>
            <a:xfrm>
              <a:off x="5763691" y="1296847"/>
              <a:ext cx="664616" cy="664616"/>
            </a:xfrm>
            <a:custGeom>
              <a:avLst/>
              <a:gdLst>
                <a:gd name="connsiteX0" fmla="*/ 664616 w 664616"/>
                <a:gd name="connsiteY0" fmla="*/ 332308 h 664616"/>
                <a:gd name="connsiteX1" fmla="*/ 332308 w 664616"/>
                <a:gd name="connsiteY1" fmla="*/ 664616 h 664616"/>
                <a:gd name="connsiteX2" fmla="*/ 0 w 664616"/>
                <a:gd name="connsiteY2" fmla="*/ 332308 h 664616"/>
                <a:gd name="connsiteX3" fmla="*/ 332308 w 664616"/>
                <a:gd name="connsiteY3" fmla="*/ 0 h 664616"/>
                <a:gd name="connsiteX4" fmla="*/ 664616 w 664616"/>
                <a:gd name="connsiteY4" fmla="*/ 332308 h 664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616" h="664616">
                  <a:moveTo>
                    <a:pt x="664616" y="332308"/>
                  </a:moveTo>
                  <a:cubicBezTo>
                    <a:pt x="664616" y="515837"/>
                    <a:pt x="515837" y="664616"/>
                    <a:pt x="332308" y="664616"/>
                  </a:cubicBezTo>
                  <a:cubicBezTo>
                    <a:pt x="148779" y="664616"/>
                    <a:pt x="0" y="515837"/>
                    <a:pt x="0" y="332308"/>
                  </a:cubicBezTo>
                  <a:cubicBezTo>
                    <a:pt x="0" y="148779"/>
                    <a:pt x="148779" y="0"/>
                    <a:pt x="332308" y="0"/>
                  </a:cubicBezTo>
                  <a:cubicBezTo>
                    <a:pt x="515837" y="0"/>
                    <a:pt x="664616" y="148779"/>
                    <a:pt x="664616" y="332308"/>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15F"/>
                </a:solidFill>
                <a:effectLst/>
                <a:uLnTx/>
                <a:uFillTx/>
                <a:latin typeface="Tablet Gothic"/>
                <a:ea typeface="+mn-ea"/>
                <a:cs typeface="+mn-cs"/>
              </a:endParaRPr>
            </a:p>
          </p:txBody>
        </p:sp>
        <p:sp>
          <p:nvSpPr>
            <p:cNvPr id="77" name="Vrije vorm: vorm 76">
              <a:extLst>
                <a:ext uri="{FF2B5EF4-FFF2-40B4-BE49-F238E27FC236}">
                  <a16:creationId xmlns:a16="http://schemas.microsoft.com/office/drawing/2014/main" id="{676E8ACB-E775-357B-B60C-DBC10501A4A6}"/>
                </a:ext>
              </a:extLst>
            </p:cNvPr>
            <p:cNvSpPr/>
            <p:nvPr/>
          </p:nvSpPr>
          <p:spPr>
            <a:xfrm>
              <a:off x="5600699" y="2059681"/>
              <a:ext cx="990600" cy="1922526"/>
            </a:xfrm>
            <a:custGeom>
              <a:avLst/>
              <a:gdLst>
                <a:gd name="connsiteX0" fmla="*/ 990600 w 990600"/>
                <a:gd name="connsiteY0" fmla="*/ 221742 h 1922526"/>
                <a:gd name="connsiteX1" fmla="*/ 990600 w 990600"/>
                <a:gd name="connsiteY1" fmla="*/ 808482 h 1922526"/>
                <a:gd name="connsiteX2" fmla="*/ 952500 w 990600"/>
                <a:gd name="connsiteY2" fmla="*/ 906018 h 1922526"/>
                <a:gd name="connsiteX3" fmla="*/ 870966 w 990600"/>
                <a:gd name="connsiteY3" fmla="*/ 991362 h 1922526"/>
                <a:gd name="connsiteX4" fmla="*/ 870966 w 990600"/>
                <a:gd name="connsiteY4" fmla="*/ 1777746 h 1922526"/>
                <a:gd name="connsiteX5" fmla="*/ 729996 w 990600"/>
                <a:gd name="connsiteY5" fmla="*/ 1922526 h 1922526"/>
                <a:gd name="connsiteX6" fmla="*/ 260604 w 990600"/>
                <a:gd name="connsiteY6" fmla="*/ 1922526 h 1922526"/>
                <a:gd name="connsiteX7" fmla="*/ 119634 w 990600"/>
                <a:gd name="connsiteY7" fmla="*/ 1777746 h 1922526"/>
                <a:gd name="connsiteX8" fmla="*/ 119634 w 990600"/>
                <a:gd name="connsiteY8" fmla="*/ 991362 h 1922526"/>
                <a:gd name="connsiteX9" fmla="*/ 38100 w 990600"/>
                <a:gd name="connsiteY9" fmla="*/ 906018 h 1922526"/>
                <a:gd name="connsiteX10" fmla="*/ 0 w 990600"/>
                <a:gd name="connsiteY10" fmla="*/ 808482 h 1922526"/>
                <a:gd name="connsiteX11" fmla="*/ 0 w 990600"/>
                <a:gd name="connsiteY11" fmla="*/ 221742 h 1922526"/>
                <a:gd name="connsiteX12" fmla="*/ 18288 w 990600"/>
                <a:gd name="connsiteY12" fmla="*/ 131826 h 1922526"/>
                <a:gd name="connsiteX13" fmla="*/ 213360 w 990600"/>
                <a:gd name="connsiteY13" fmla="*/ 0 h 1922526"/>
                <a:gd name="connsiteX14" fmla="*/ 777240 w 990600"/>
                <a:gd name="connsiteY14" fmla="*/ 0 h 1922526"/>
                <a:gd name="connsiteX15" fmla="*/ 972312 w 990600"/>
                <a:gd name="connsiteY15" fmla="*/ 131826 h 1922526"/>
                <a:gd name="connsiteX16" fmla="*/ 990600 w 990600"/>
                <a:gd name="connsiteY16" fmla="*/ 221742 h 19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0600" h="1922526">
                  <a:moveTo>
                    <a:pt x="990600" y="221742"/>
                  </a:moveTo>
                  <a:lnTo>
                    <a:pt x="990600" y="808482"/>
                  </a:lnTo>
                  <a:cubicBezTo>
                    <a:pt x="990609" y="844627"/>
                    <a:pt x="977006" y="879450"/>
                    <a:pt x="952500" y="906018"/>
                  </a:cubicBezTo>
                  <a:lnTo>
                    <a:pt x="870966" y="991362"/>
                  </a:lnTo>
                  <a:lnTo>
                    <a:pt x="870966" y="1777746"/>
                  </a:lnTo>
                  <a:cubicBezTo>
                    <a:pt x="871704" y="1856528"/>
                    <a:pt x="808770" y="1921163"/>
                    <a:pt x="729996" y="1922526"/>
                  </a:cubicBezTo>
                  <a:lnTo>
                    <a:pt x="260604" y="1922526"/>
                  </a:lnTo>
                  <a:cubicBezTo>
                    <a:pt x="181830" y="1921163"/>
                    <a:pt x="118896" y="1856528"/>
                    <a:pt x="119634" y="1777746"/>
                  </a:cubicBezTo>
                  <a:lnTo>
                    <a:pt x="119634" y="991362"/>
                  </a:lnTo>
                  <a:lnTo>
                    <a:pt x="38100" y="906018"/>
                  </a:lnTo>
                  <a:cubicBezTo>
                    <a:pt x="13594" y="879450"/>
                    <a:pt x="-9" y="844627"/>
                    <a:pt x="0" y="808482"/>
                  </a:cubicBezTo>
                  <a:lnTo>
                    <a:pt x="0" y="221742"/>
                  </a:lnTo>
                  <a:cubicBezTo>
                    <a:pt x="101" y="190857"/>
                    <a:pt x="6317" y="160297"/>
                    <a:pt x="18288" y="131826"/>
                  </a:cubicBezTo>
                  <a:cubicBezTo>
                    <a:pt x="51058" y="52795"/>
                    <a:pt x="127809" y="928"/>
                    <a:pt x="213360" y="0"/>
                  </a:cubicBezTo>
                  <a:lnTo>
                    <a:pt x="777240" y="0"/>
                  </a:lnTo>
                  <a:cubicBezTo>
                    <a:pt x="862791" y="928"/>
                    <a:pt x="939542" y="52795"/>
                    <a:pt x="972312" y="131826"/>
                  </a:cubicBezTo>
                  <a:cubicBezTo>
                    <a:pt x="984284" y="160297"/>
                    <a:pt x="990499" y="190857"/>
                    <a:pt x="990600" y="221742"/>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15F"/>
                </a:solidFill>
                <a:effectLst/>
                <a:uLnTx/>
                <a:uFillTx/>
                <a:latin typeface="Tablet Gothic"/>
                <a:ea typeface="+mn-ea"/>
                <a:cs typeface="+mn-cs"/>
              </a:endParaRPr>
            </a:p>
          </p:txBody>
        </p:sp>
        <p:sp>
          <p:nvSpPr>
            <p:cNvPr id="78" name="Vrije vorm: vorm 77">
              <a:extLst>
                <a:ext uri="{FF2B5EF4-FFF2-40B4-BE49-F238E27FC236}">
                  <a16:creationId xmlns:a16="http://schemas.microsoft.com/office/drawing/2014/main" id="{EC35DE11-20AE-4D82-194B-8FD9EC1B6792}"/>
                </a:ext>
              </a:extLst>
            </p:cNvPr>
            <p:cNvSpPr/>
            <p:nvPr/>
          </p:nvSpPr>
          <p:spPr>
            <a:xfrm>
              <a:off x="6493459" y="1531315"/>
              <a:ext cx="576681" cy="576681"/>
            </a:xfrm>
            <a:custGeom>
              <a:avLst/>
              <a:gdLst>
                <a:gd name="connsiteX0" fmla="*/ 576682 w 576681"/>
                <a:gd name="connsiteY0" fmla="*/ 288341 h 576681"/>
                <a:gd name="connsiteX1" fmla="*/ 288341 w 576681"/>
                <a:gd name="connsiteY1" fmla="*/ 576682 h 576681"/>
                <a:gd name="connsiteX2" fmla="*/ 0 w 576681"/>
                <a:gd name="connsiteY2" fmla="*/ 288341 h 576681"/>
                <a:gd name="connsiteX3" fmla="*/ 288341 w 576681"/>
                <a:gd name="connsiteY3" fmla="*/ 0 h 576681"/>
                <a:gd name="connsiteX4" fmla="*/ 576682 w 576681"/>
                <a:gd name="connsiteY4" fmla="*/ 288341 h 576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1" h="576681">
                  <a:moveTo>
                    <a:pt x="576682" y="288341"/>
                  </a:moveTo>
                  <a:cubicBezTo>
                    <a:pt x="576682" y="447587"/>
                    <a:pt x="447587" y="576682"/>
                    <a:pt x="288341" y="576682"/>
                  </a:cubicBezTo>
                  <a:cubicBezTo>
                    <a:pt x="129095" y="576682"/>
                    <a:pt x="0" y="447587"/>
                    <a:pt x="0" y="288341"/>
                  </a:cubicBezTo>
                  <a:cubicBezTo>
                    <a:pt x="0" y="129095"/>
                    <a:pt x="129094" y="0"/>
                    <a:pt x="288341" y="0"/>
                  </a:cubicBezTo>
                  <a:cubicBezTo>
                    <a:pt x="447587" y="0"/>
                    <a:pt x="576682" y="129095"/>
                    <a:pt x="576682" y="288341"/>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15F"/>
                </a:solidFill>
                <a:effectLst/>
                <a:uLnTx/>
                <a:uFillTx/>
                <a:latin typeface="Tablet Gothic"/>
                <a:ea typeface="+mn-ea"/>
                <a:cs typeface="+mn-cs"/>
              </a:endParaRPr>
            </a:p>
          </p:txBody>
        </p:sp>
        <p:sp>
          <p:nvSpPr>
            <p:cNvPr id="79" name="Vrije vorm: vorm 78">
              <a:extLst>
                <a:ext uri="{FF2B5EF4-FFF2-40B4-BE49-F238E27FC236}">
                  <a16:creationId xmlns:a16="http://schemas.microsoft.com/office/drawing/2014/main" id="{82458FD2-5571-BD89-63DB-5E8FC25E726E}"/>
                </a:ext>
              </a:extLst>
            </p:cNvPr>
            <p:cNvSpPr/>
            <p:nvPr/>
          </p:nvSpPr>
          <p:spPr>
            <a:xfrm>
              <a:off x="5121859" y="1531315"/>
              <a:ext cx="576681" cy="576681"/>
            </a:xfrm>
            <a:custGeom>
              <a:avLst/>
              <a:gdLst>
                <a:gd name="connsiteX0" fmla="*/ 576682 w 576681"/>
                <a:gd name="connsiteY0" fmla="*/ 288341 h 576681"/>
                <a:gd name="connsiteX1" fmla="*/ 288341 w 576681"/>
                <a:gd name="connsiteY1" fmla="*/ 576682 h 576681"/>
                <a:gd name="connsiteX2" fmla="*/ 0 w 576681"/>
                <a:gd name="connsiteY2" fmla="*/ 288341 h 576681"/>
                <a:gd name="connsiteX3" fmla="*/ 288341 w 576681"/>
                <a:gd name="connsiteY3" fmla="*/ 0 h 576681"/>
                <a:gd name="connsiteX4" fmla="*/ 576682 w 576681"/>
                <a:gd name="connsiteY4" fmla="*/ 288341 h 576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1" h="576681">
                  <a:moveTo>
                    <a:pt x="576682" y="288341"/>
                  </a:moveTo>
                  <a:cubicBezTo>
                    <a:pt x="576682" y="447587"/>
                    <a:pt x="447587" y="576682"/>
                    <a:pt x="288341" y="576682"/>
                  </a:cubicBezTo>
                  <a:cubicBezTo>
                    <a:pt x="129095" y="576682"/>
                    <a:pt x="0" y="447587"/>
                    <a:pt x="0" y="288341"/>
                  </a:cubicBezTo>
                  <a:cubicBezTo>
                    <a:pt x="0" y="129095"/>
                    <a:pt x="129095" y="0"/>
                    <a:pt x="288341" y="0"/>
                  </a:cubicBezTo>
                  <a:cubicBezTo>
                    <a:pt x="447587" y="0"/>
                    <a:pt x="576682" y="129095"/>
                    <a:pt x="576682" y="288341"/>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15F"/>
                </a:solidFill>
                <a:effectLst/>
                <a:uLnTx/>
                <a:uFillTx/>
                <a:latin typeface="Tablet Gothic"/>
                <a:ea typeface="+mn-ea"/>
                <a:cs typeface="+mn-cs"/>
              </a:endParaRPr>
            </a:p>
          </p:txBody>
        </p:sp>
        <p:sp>
          <p:nvSpPr>
            <p:cNvPr id="80" name="Vrije vorm: vorm 79">
              <a:extLst>
                <a:ext uri="{FF2B5EF4-FFF2-40B4-BE49-F238E27FC236}">
                  <a16:creationId xmlns:a16="http://schemas.microsoft.com/office/drawing/2014/main" id="{E408A3BB-2445-854D-7E3E-490DBA8DF54D}"/>
                </a:ext>
              </a:extLst>
            </p:cNvPr>
            <p:cNvSpPr/>
            <p:nvPr/>
          </p:nvSpPr>
          <p:spPr>
            <a:xfrm>
              <a:off x="6624066" y="2191505"/>
              <a:ext cx="581425" cy="1618487"/>
            </a:xfrm>
            <a:custGeom>
              <a:avLst/>
              <a:gdLst>
                <a:gd name="connsiteX0" fmla="*/ 581406 w 581425"/>
                <a:gd name="connsiteY0" fmla="*/ 196596 h 1618487"/>
                <a:gd name="connsiteX1" fmla="*/ 581406 w 581425"/>
                <a:gd name="connsiteY1" fmla="*/ 682752 h 1618487"/>
                <a:gd name="connsiteX2" fmla="*/ 545592 w 581425"/>
                <a:gd name="connsiteY2" fmla="*/ 771906 h 1618487"/>
                <a:gd name="connsiteX3" fmla="*/ 481584 w 581425"/>
                <a:gd name="connsiteY3" fmla="*/ 839724 h 1618487"/>
                <a:gd name="connsiteX4" fmla="*/ 481584 w 581425"/>
                <a:gd name="connsiteY4" fmla="*/ 1485138 h 1618487"/>
                <a:gd name="connsiteX5" fmla="*/ 352433 w 581425"/>
                <a:gd name="connsiteY5" fmla="*/ 1618482 h 1618487"/>
                <a:gd name="connsiteX6" fmla="*/ 352044 w 581425"/>
                <a:gd name="connsiteY6" fmla="*/ 1618488 h 1618487"/>
                <a:gd name="connsiteX7" fmla="*/ 0 w 581425"/>
                <a:gd name="connsiteY7" fmla="*/ 1618488 h 1618487"/>
                <a:gd name="connsiteX8" fmla="*/ 0 w 581425"/>
                <a:gd name="connsiteY8" fmla="*/ 920496 h 1618487"/>
                <a:gd name="connsiteX9" fmla="*/ 39624 w 581425"/>
                <a:gd name="connsiteY9" fmla="*/ 878586 h 1618487"/>
                <a:gd name="connsiteX10" fmla="*/ 119634 w 581425"/>
                <a:gd name="connsiteY10" fmla="*/ 676656 h 1618487"/>
                <a:gd name="connsiteX11" fmla="*/ 119634 w 581425"/>
                <a:gd name="connsiteY11" fmla="*/ 89916 h 1618487"/>
                <a:gd name="connsiteX12" fmla="*/ 108204 w 581425"/>
                <a:gd name="connsiteY12" fmla="*/ 0 h 1618487"/>
                <a:gd name="connsiteX13" fmla="*/ 390906 w 581425"/>
                <a:gd name="connsiteY13" fmla="*/ 0 h 1618487"/>
                <a:gd name="connsiteX14" fmla="*/ 581406 w 581425"/>
                <a:gd name="connsiteY14" fmla="*/ 196596 h 1618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1425" h="1618487">
                  <a:moveTo>
                    <a:pt x="581406" y="196596"/>
                  </a:moveTo>
                  <a:lnTo>
                    <a:pt x="581406" y="682752"/>
                  </a:lnTo>
                  <a:cubicBezTo>
                    <a:pt x="581474" y="715988"/>
                    <a:pt x="568633" y="747953"/>
                    <a:pt x="545592" y="771906"/>
                  </a:cubicBezTo>
                  <a:lnTo>
                    <a:pt x="481584" y="839724"/>
                  </a:lnTo>
                  <a:lnTo>
                    <a:pt x="481584" y="1485138"/>
                  </a:lnTo>
                  <a:cubicBezTo>
                    <a:pt x="482742" y="1557624"/>
                    <a:pt x="424919" y="1617324"/>
                    <a:pt x="352433" y="1618482"/>
                  </a:cubicBezTo>
                  <a:cubicBezTo>
                    <a:pt x="352304" y="1618484"/>
                    <a:pt x="352174" y="1618487"/>
                    <a:pt x="352044" y="1618488"/>
                  </a:cubicBezTo>
                  <a:lnTo>
                    <a:pt x="0" y="1618488"/>
                  </a:lnTo>
                  <a:lnTo>
                    <a:pt x="0" y="920496"/>
                  </a:lnTo>
                  <a:lnTo>
                    <a:pt x="39624" y="878586"/>
                  </a:lnTo>
                  <a:cubicBezTo>
                    <a:pt x="91463" y="824194"/>
                    <a:pt x="120150" y="751793"/>
                    <a:pt x="119634" y="676656"/>
                  </a:cubicBezTo>
                  <a:lnTo>
                    <a:pt x="119634" y="89916"/>
                  </a:lnTo>
                  <a:cubicBezTo>
                    <a:pt x="119734" y="59576"/>
                    <a:pt x="115892" y="29351"/>
                    <a:pt x="108204" y="0"/>
                  </a:cubicBezTo>
                  <a:lnTo>
                    <a:pt x="390906" y="0"/>
                  </a:lnTo>
                  <a:cubicBezTo>
                    <a:pt x="497724" y="1858"/>
                    <a:pt x="582913" y="89772"/>
                    <a:pt x="581406" y="196596"/>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15F"/>
                </a:solidFill>
                <a:effectLst/>
                <a:uLnTx/>
                <a:uFillTx/>
                <a:latin typeface="Tablet Gothic"/>
                <a:ea typeface="+mn-ea"/>
                <a:cs typeface="+mn-cs"/>
              </a:endParaRPr>
            </a:p>
          </p:txBody>
        </p:sp>
        <p:sp>
          <p:nvSpPr>
            <p:cNvPr id="81" name="Vrije vorm: vorm 80">
              <a:extLst>
                <a:ext uri="{FF2B5EF4-FFF2-40B4-BE49-F238E27FC236}">
                  <a16:creationId xmlns:a16="http://schemas.microsoft.com/office/drawing/2014/main" id="{C29B93BB-0134-C810-AE65-7D9FF1288229}"/>
                </a:ext>
              </a:extLst>
            </p:cNvPr>
            <p:cNvSpPr/>
            <p:nvPr/>
          </p:nvSpPr>
          <p:spPr>
            <a:xfrm>
              <a:off x="4986508" y="2191505"/>
              <a:ext cx="581425" cy="1618487"/>
            </a:xfrm>
            <a:custGeom>
              <a:avLst/>
              <a:gdLst>
                <a:gd name="connsiteX0" fmla="*/ 541802 w 581425"/>
                <a:gd name="connsiteY0" fmla="*/ 878586 h 1618487"/>
                <a:gd name="connsiteX1" fmla="*/ 581426 w 581425"/>
                <a:gd name="connsiteY1" fmla="*/ 920496 h 1618487"/>
                <a:gd name="connsiteX2" fmla="*/ 581426 w 581425"/>
                <a:gd name="connsiteY2" fmla="*/ 1618488 h 1618487"/>
                <a:gd name="connsiteX3" fmla="*/ 229382 w 581425"/>
                <a:gd name="connsiteY3" fmla="*/ 1618488 h 1618487"/>
                <a:gd name="connsiteX4" fmla="*/ 99836 w 581425"/>
                <a:gd name="connsiteY4" fmla="*/ 1485527 h 1618487"/>
                <a:gd name="connsiteX5" fmla="*/ 99842 w 581425"/>
                <a:gd name="connsiteY5" fmla="*/ 1485138 h 1618487"/>
                <a:gd name="connsiteX6" fmla="*/ 99842 w 581425"/>
                <a:gd name="connsiteY6" fmla="*/ 839724 h 1618487"/>
                <a:gd name="connsiteX7" fmla="*/ 35834 w 581425"/>
                <a:gd name="connsiteY7" fmla="*/ 771906 h 1618487"/>
                <a:gd name="connsiteX8" fmla="*/ 20 w 581425"/>
                <a:gd name="connsiteY8" fmla="*/ 682752 h 1618487"/>
                <a:gd name="connsiteX9" fmla="*/ 20 w 581425"/>
                <a:gd name="connsiteY9" fmla="*/ 196596 h 1618487"/>
                <a:gd name="connsiteX10" fmla="*/ 190520 w 581425"/>
                <a:gd name="connsiteY10" fmla="*/ 0 h 1618487"/>
                <a:gd name="connsiteX11" fmla="*/ 473222 w 581425"/>
                <a:gd name="connsiteY11" fmla="*/ 0 h 1618487"/>
                <a:gd name="connsiteX12" fmla="*/ 461792 w 581425"/>
                <a:gd name="connsiteY12" fmla="*/ 89916 h 1618487"/>
                <a:gd name="connsiteX13" fmla="*/ 461792 w 581425"/>
                <a:gd name="connsiteY13" fmla="*/ 676656 h 1618487"/>
                <a:gd name="connsiteX14" fmla="*/ 541802 w 581425"/>
                <a:gd name="connsiteY14" fmla="*/ 878586 h 1618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1425" h="1618487">
                  <a:moveTo>
                    <a:pt x="541802" y="878586"/>
                  </a:moveTo>
                  <a:lnTo>
                    <a:pt x="581426" y="920496"/>
                  </a:lnTo>
                  <a:lnTo>
                    <a:pt x="581426" y="1618488"/>
                  </a:lnTo>
                  <a:lnTo>
                    <a:pt x="229382" y="1618488"/>
                  </a:lnTo>
                  <a:cubicBezTo>
                    <a:pt x="156893" y="1617545"/>
                    <a:pt x="98893" y="1558016"/>
                    <a:pt x="99836" y="1485527"/>
                  </a:cubicBezTo>
                  <a:cubicBezTo>
                    <a:pt x="99838" y="1485397"/>
                    <a:pt x="99840" y="1485268"/>
                    <a:pt x="99842" y="1485138"/>
                  </a:cubicBezTo>
                  <a:lnTo>
                    <a:pt x="99842" y="839724"/>
                  </a:lnTo>
                  <a:lnTo>
                    <a:pt x="35834" y="771906"/>
                  </a:lnTo>
                  <a:cubicBezTo>
                    <a:pt x="12792" y="747952"/>
                    <a:pt x="-48" y="715988"/>
                    <a:pt x="20" y="682752"/>
                  </a:cubicBezTo>
                  <a:lnTo>
                    <a:pt x="20" y="196596"/>
                  </a:lnTo>
                  <a:cubicBezTo>
                    <a:pt x="-1487" y="89772"/>
                    <a:pt x="83702" y="1858"/>
                    <a:pt x="190520" y="0"/>
                  </a:cubicBezTo>
                  <a:lnTo>
                    <a:pt x="473222" y="0"/>
                  </a:lnTo>
                  <a:cubicBezTo>
                    <a:pt x="465534" y="29351"/>
                    <a:pt x="461691" y="59575"/>
                    <a:pt x="461792" y="89916"/>
                  </a:cubicBezTo>
                  <a:lnTo>
                    <a:pt x="461792" y="676656"/>
                  </a:lnTo>
                  <a:cubicBezTo>
                    <a:pt x="461417" y="751766"/>
                    <a:pt x="490083" y="824116"/>
                    <a:pt x="541802" y="878586"/>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15F"/>
                </a:solidFill>
                <a:effectLst/>
                <a:uLnTx/>
                <a:uFillTx/>
                <a:latin typeface="Tablet Gothic"/>
                <a:ea typeface="+mn-ea"/>
                <a:cs typeface="+mn-cs"/>
              </a:endParaRPr>
            </a:p>
          </p:txBody>
        </p:sp>
      </p:grpSp>
      <p:pic>
        <p:nvPicPr>
          <p:cNvPr id="89" name="Graphic 88">
            <a:extLst>
              <a:ext uri="{FF2B5EF4-FFF2-40B4-BE49-F238E27FC236}">
                <a16:creationId xmlns:a16="http://schemas.microsoft.com/office/drawing/2014/main" id="{BCE7CE06-815C-23E5-56E6-8F174AE7A82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429408" y="5011785"/>
            <a:ext cx="1090142" cy="1090142"/>
          </a:xfrm>
          <a:prstGeom prst="rect">
            <a:avLst/>
          </a:prstGeom>
        </p:spPr>
      </p:pic>
      <p:sp>
        <p:nvSpPr>
          <p:cNvPr id="86" name="Ovaal 85">
            <a:extLst>
              <a:ext uri="{FF2B5EF4-FFF2-40B4-BE49-F238E27FC236}">
                <a16:creationId xmlns:a16="http://schemas.microsoft.com/office/drawing/2014/main" id="{F6ADF5AC-EB0C-3423-A6BE-4F7F4CF8183A}"/>
              </a:ext>
            </a:extLst>
          </p:cNvPr>
          <p:cNvSpPr/>
          <p:nvPr/>
        </p:nvSpPr>
        <p:spPr>
          <a:xfrm>
            <a:off x="3878596" y="5341204"/>
            <a:ext cx="770620" cy="770620"/>
          </a:xfrm>
          <a:prstGeom prst="ellipse">
            <a:avLst/>
          </a:prstGeom>
          <a:solidFill>
            <a:srgbClr val="FE4C00"/>
          </a:solidFill>
          <a:ln>
            <a:noFill/>
          </a:ln>
          <a:effectLst>
            <a:outerShdw blurRad="254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Roc Grotesk"/>
                <a:ea typeface="+mn-ea"/>
                <a:cs typeface="+mn-cs"/>
              </a:rPr>
              <a:t>USD</a:t>
            </a:r>
            <a:br>
              <a:rPr kumimoji="0" lang="en-GB" sz="1400" b="1" i="0" u="none" strike="noStrike" kern="1200" cap="none" spc="0" normalizeH="0" baseline="0" noProof="0" dirty="0">
                <a:ln>
                  <a:noFill/>
                </a:ln>
                <a:solidFill>
                  <a:srgbClr val="FFFFFF"/>
                </a:solidFill>
                <a:effectLst/>
                <a:uLnTx/>
                <a:uFillTx/>
                <a:latin typeface="Roc Grotesk"/>
                <a:ea typeface="+mn-ea"/>
                <a:cs typeface="+mn-cs"/>
              </a:rPr>
            </a:br>
            <a:r>
              <a:rPr kumimoji="0" lang="en-GB" sz="1400" b="1" i="0" u="none" strike="noStrike" kern="1200" cap="none" spc="0" normalizeH="0" baseline="0" noProof="0" dirty="0">
                <a:ln>
                  <a:noFill/>
                </a:ln>
                <a:solidFill>
                  <a:srgbClr val="FFFFFF"/>
                </a:solidFill>
                <a:effectLst/>
                <a:uLnTx/>
                <a:uFillTx/>
                <a:latin typeface="Roc Grotesk"/>
                <a:ea typeface="+mn-ea"/>
                <a:cs typeface="+mn-cs"/>
              </a:rPr>
              <a:t>$3.20</a:t>
            </a:r>
          </a:p>
        </p:txBody>
      </p:sp>
      <p:sp>
        <p:nvSpPr>
          <p:cNvPr id="90" name="TextBox 16">
            <a:extLst>
              <a:ext uri="{FF2B5EF4-FFF2-40B4-BE49-F238E27FC236}">
                <a16:creationId xmlns:a16="http://schemas.microsoft.com/office/drawing/2014/main" id="{B08BDD56-81AD-CBEC-E21A-344708C9E415}"/>
              </a:ext>
            </a:extLst>
          </p:cNvPr>
          <p:cNvSpPr txBox="1"/>
          <p:nvPr/>
        </p:nvSpPr>
        <p:spPr>
          <a:xfrm>
            <a:off x="3992488" y="6211772"/>
            <a:ext cx="700320"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ablet Gothic"/>
                <a:ea typeface="+mn-ea"/>
                <a:cs typeface="+mn-cs"/>
              </a:rPr>
              <a:t>per day</a:t>
            </a:r>
            <a:endParaRPr kumimoji="0" lang="en-US" sz="1000" b="0" i="0" u="none" strike="noStrike" kern="1200" cap="none" spc="0" normalizeH="0" baseline="0" noProof="0" dirty="0">
              <a:ln>
                <a:noFill/>
              </a:ln>
              <a:solidFill>
                <a:srgbClr val="FFFFFF"/>
              </a:solidFill>
              <a:effectLst/>
              <a:uLnTx/>
              <a:uFillTx/>
              <a:latin typeface="Tablet Gothic"/>
              <a:ea typeface="+mn-ea"/>
              <a:cs typeface="+mn-cs"/>
            </a:endParaRPr>
          </a:p>
        </p:txBody>
      </p:sp>
      <p:sp>
        <p:nvSpPr>
          <p:cNvPr id="91" name="TextBox 16">
            <a:extLst>
              <a:ext uri="{FF2B5EF4-FFF2-40B4-BE49-F238E27FC236}">
                <a16:creationId xmlns:a16="http://schemas.microsoft.com/office/drawing/2014/main" id="{67238631-0D03-289F-E904-A954529A42D8}"/>
              </a:ext>
            </a:extLst>
          </p:cNvPr>
          <p:cNvSpPr txBox="1"/>
          <p:nvPr/>
        </p:nvSpPr>
        <p:spPr>
          <a:xfrm>
            <a:off x="9242411" y="5283873"/>
            <a:ext cx="1790040" cy="430887"/>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Tablet Gothic"/>
                <a:ea typeface="+mn-ea"/>
                <a:cs typeface="+mn-cs"/>
              </a:rPr>
              <a:t>570</a:t>
            </a:r>
            <a:r>
              <a:rPr kumimoji="0" lang="en-US" sz="1600" b="1" i="0" u="none" strike="noStrike" kern="1200" cap="none" spc="0" normalizeH="0" baseline="0" noProof="0" dirty="0">
                <a:ln>
                  <a:noFill/>
                </a:ln>
                <a:solidFill>
                  <a:srgbClr val="FFFFFF"/>
                </a:solidFill>
                <a:effectLst/>
                <a:uLnTx/>
                <a:uFillTx/>
                <a:latin typeface="Tablet Gothic"/>
                <a:ea typeface="+mn-ea"/>
                <a:cs typeface="+mn-cs"/>
              </a:rPr>
              <a:t> million</a:t>
            </a:r>
          </a:p>
        </p:txBody>
      </p:sp>
      <p:sp>
        <p:nvSpPr>
          <p:cNvPr id="92" name="TextBox 16">
            <a:extLst>
              <a:ext uri="{FF2B5EF4-FFF2-40B4-BE49-F238E27FC236}">
                <a16:creationId xmlns:a16="http://schemas.microsoft.com/office/drawing/2014/main" id="{EB141D41-10DA-E1A9-A921-67588F61339F}"/>
              </a:ext>
            </a:extLst>
          </p:cNvPr>
          <p:cNvSpPr txBox="1"/>
          <p:nvPr/>
        </p:nvSpPr>
        <p:spPr>
          <a:xfrm>
            <a:off x="9255730" y="5641431"/>
            <a:ext cx="1701317" cy="276999"/>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Tablet Gothic"/>
                <a:ea typeface="+mn-ea"/>
                <a:cs typeface="+mn-cs"/>
              </a:rPr>
              <a:t>Small-holder  farmers </a:t>
            </a:r>
          </a:p>
        </p:txBody>
      </p:sp>
      <p:pic>
        <p:nvPicPr>
          <p:cNvPr id="93" name="Graphic 92">
            <a:extLst>
              <a:ext uri="{FF2B5EF4-FFF2-40B4-BE49-F238E27FC236}">
                <a16:creationId xmlns:a16="http://schemas.microsoft.com/office/drawing/2014/main" id="{A42CC275-EEFD-8F3F-DA4B-92D005E126E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431944" y="5172995"/>
            <a:ext cx="703579" cy="703579"/>
          </a:xfrm>
          <a:prstGeom prst="rect">
            <a:avLst/>
          </a:prstGeom>
        </p:spPr>
      </p:pic>
      <p:sp>
        <p:nvSpPr>
          <p:cNvPr id="15" name="TextBox 16">
            <a:extLst>
              <a:ext uri="{FF2B5EF4-FFF2-40B4-BE49-F238E27FC236}">
                <a16:creationId xmlns:a16="http://schemas.microsoft.com/office/drawing/2014/main" id="{C31E9706-90A2-CFEA-D4F2-5C85DEA0BBDC}"/>
              </a:ext>
            </a:extLst>
          </p:cNvPr>
          <p:cNvSpPr txBox="1"/>
          <p:nvPr/>
        </p:nvSpPr>
        <p:spPr>
          <a:xfrm>
            <a:off x="8935564" y="5968786"/>
            <a:ext cx="1658548" cy="616772"/>
          </a:xfrm>
          <a:prstGeom prst="rect">
            <a:avLst/>
          </a:prstGeom>
          <a:noFill/>
        </p:spPr>
        <p:txBody>
          <a:bodyPr wrap="square" lIns="0" rtlCol="0">
            <a:spAutoFit/>
          </a:bodyPr>
          <a:lstStyle/>
          <a:p>
            <a:pPr marL="0" marR="0" lvl="0" indent="0" algn="l" defTabSz="914400" rtl="0" eaLnBrk="1" fontAlgn="auto" latinLnBrk="0" hangingPunct="1">
              <a:lnSpc>
                <a:spcPct val="84167"/>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Tablet Gothic"/>
                <a:ea typeface="+mn-ea"/>
                <a:cs typeface="+mn-cs"/>
              </a:rPr>
              <a:t>2</a:t>
            </a:r>
            <a:r>
              <a:rPr kumimoji="0" lang="en-US" sz="1200" b="0" i="0" u="none" strike="noStrike" kern="1200" cap="none" spc="0" normalizeH="0" baseline="0" noProof="0" dirty="0">
                <a:ln>
                  <a:noFill/>
                </a:ln>
                <a:solidFill>
                  <a:srgbClr val="FFFFFF"/>
                </a:solidFill>
                <a:effectLst/>
                <a:uLnTx/>
                <a:uFillTx/>
                <a:latin typeface="Tablet Gothic"/>
                <a:ea typeface="+mn-ea"/>
                <a:cs typeface="+mn-cs"/>
              </a:rPr>
              <a:t> </a:t>
            </a:r>
            <a:r>
              <a:rPr kumimoji="0" lang="en-US" sz="1600" b="1" i="0" u="none" strike="noStrike" kern="1200" cap="none" spc="0" normalizeH="0" baseline="0" noProof="0" dirty="0">
                <a:ln>
                  <a:noFill/>
                </a:ln>
                <a:solidFill>
                  <a:srgbClr val="FFFFFF"/>
                </a:solidFill>
                <a:effectLst/>
                <a:uLnTx/>
                <a:uFillTx/>
                <a:latin typeface="Tablet Gothic"/>
                <a:ea typeface="+mn-ea"/>
                <a:cs typeface="+mn-cs"/>
              </a:rPr>
              <a:t>billion</a:t>
            </a:r>
            <a:r>
              <a:rPr kumimoji="0" lang="en-US" sz="1200" b="0" i="0" u="none" strike="noStrike" kern="1200" cap="none" spc="0" normalizeH="0" baseline="0" noProof="0" dirty="0">
                <a:ln>
                  <a:noFill/>
                </a:ln>
                <a:solidFill>
                  <a:srgbClr val="FFFFFF"/>
                </a:solidFill>
                <a:effectLst/>
                <a:uLnTx/>
                <a:uFillTx/>
                <a:latin typeface="Tablet Gothic"/>
                <a:ea typeface="+mn-ea"/>
                <a:cs typeface="+mn-cs"/>
              </a:rPr>
              <a:t> people’s livelihoods supported</a:t>
            </a:r>
          </a:p>
        </p:txBody>
      </p:sp>
      <p:grpSp>
        <p:nvGrpSpPr>
          <p:cNvPr id="16" name="Graphic 73">
            <a:extLst>
              <a:ext uri="{FF2B5EF4-FFF2-40B4-BE49-F238E27FC236}">
                <a16:creationId xmlns:a16="http://schemas.microsoft.com/office/drawing/2014/main" id="{A78A8583-6121-5906-1432-0A9E19712E24}"/>
              </a:ext>
            </a:extLst>
          </p:cNvPr>
          <p:cNvGrpSpPr/>
          <p:nvPr/>
        </p:nvGrpSpPr>
        <p:grpSpPr>
          <a:xfrm>
            <a:off x="10537955" y="5997124"/>
            <a:ext cx="482276" cy="583637"/>
            <a:chOff x="4986508" y="1296847"/>
            <a:chExt cx="2218983" cy="2685360"/>
          </a:xfrm>
          <a:solidFill>
            <a:srgbClr val="33827F"/>
          </a:solidFill>
        </p:grpSpPr>
        <p:sp>
          <p:nvSpPr>
            <p:cNvPr id="17" name="Vrije vorm: vorm 75">
              <a:extLst>
                <a:ext uri="{FF2B5EF4-FFF2-40B4-BE49-F238E27FC236}">
                  <a16:creationId xmlns:a16="http://schemas.microsoft.com/office/drawing/2014/main" id="{7842DE0C-0588-8E80-9D43-A6530D224E92}"/>
                </a:ext>
              </a:extLst>
            </p:cNvPr>
            <p:cNvSpPr/>
            <p:nvPr/>
          </p:nvSpPr>
          <p:spPr>
            <a:xfrm>
              <a:off x="5763691" y="1296847"/>
              <a:ext cx="664616" cy="664616"/>
            </a:xfrm>
            <a:custGeom>
              <a:avLst/>
              <a:gdLst>
                <a:gd name="connsiteX0" fmla="*/ 664616 w 664616"/>
                <a:gd name="connsiteY0" fmla="*/ 332308 h 664616"/>
                <a:gd name="connsiteX1" fmla="*/ 332308 w 664616"/>
                <a:gd name="connsiteY1" fmla="*/ 664616 h 664616"/>
                <a:gd name="connsiteX2" fmla="*/ 0 w 664616"/>
                <a:gd name="connsiteY2" fmla="*/ 332308 h 664616"/>
                <a:gd name="connsiteX3" fmla="*/ 332308 w 664616"/>
                <a:gd name="connsiteY3" fmla="*/ 0 h 664616"/>
                <a:gd name="connsiteX4" fmla="*/ 664616 w 664616"/>
                <a:gd name="connsiteY4" fmla="*/ 332308 h 664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616" h="664616">
                  <a:moveTo>
                    <a:pt x="664616" y="332308"/>
                  </a:moveTo>
                  <a:cubicBezTo>
                    <a:pt x="664616" y="515837"/>
                    <a:pt x="515837" y="664616"/>
                    <a:pt x="332308" y="664616"/>
                  </a:cubicBezTo>
                  <a:cubicBezTo>
                    <a:pt x="148779" y="664616"/>
                    <a:pt x="0" y="515837"/>
                    <a:pt x="0" y="332308"/>
                  </a:cubicBezTo>
                  <a:cubicBezTo>
                    <a:pt x="0" y="148779"/>
                    <a:pt x="148779" y="0"/>
                    <a:pt x="332308" y="0"/>
                  </a:cubicBezTo>
                  <a:cubicBezTo>
                    <a:pt x="515837" y="0"/>
                    <a:pt x="664616" y="148779"/>
                    <a:pt x="664616" y="332308"/>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15F"/>
                </a:solidFill>
                <a:effectLst/>
                <a:uLnTx/>
                <a:uFillTx/>
                <a:latin typeface="Tablet Gothic"/>
                <a:ea typeface="+mn-ea"/>
                <a:cs typeface="+mn-cs"/>
              </a:endParaRPr>
            </a:p>
          </p:txBody>
        </p:sp>
        <p:sp>
          <p:nvSpPr>
            <p:cNvPr id="18" name="Vrije vorm: vorm 76">
              <a:extLst>
                <a:ext uri="{FF2B5EF4-FFF2-40B4-BE49-F238E27FC236}">
                  <a16:creationId xmlns:a16="http://schemas.microsoft.com/office/drawing/2014/main" id="{31F9FD35-AF0B-B504-8406-A2789A94FB2A}"/>
                </a:ext>
              </a:extLst>
            </p:cNvPr>
            <p:cNvSpPr/>
            <p:nvPr/>
          </p:nvSpPr>
          <p:spPr>
            <a:xfrm>
              <a:off x="5600699" y="2059681"/>
              <a:ext cx="990600" cy="1922526"/>
            </a:xfrm>
            <a:custGeom>
              <a:avLst/>
              <a:gdLst>
                <a:gd name="connsiteX0" fmla="*/ 990600 w 990600"/>
                <a:gd name="connsiteY0" fmla="*/ 221742 h 1922526"/>
                <a:gd name="connsiteX1" fmla="*/ 990600 w 990600"/>
                <a:gd name="connsiteY1" fmla="*/ 808482 h 1922526"/>
                <a:gd name="connsiteX2" fmla="*/ 952500 w 990600"/>
                <a:gd name="connsiteY2" fmla="*/ 906018 h 1922526"/>
                <a:gd name="connsiteX3" fmla="*/ 870966 w 990600"/>
                <a:gd name="connsiteY3" fmla="*/ 991362 h 1922526"/>
                <a:gd name="connsiteX4" fmla="*/ 870966 w 990600"/>
                <a:gd name="connsiteY4" fmla="*/ 1777746 h 1922526"/>
                <a:gd name="connsiteX5" fmla="*/ 729996 w 990600"/>
                <a:gd name="connsiteY5" fmla="*/ 1922526 h 1922526"/>
                <a:gd name="connsiteX6" fmla="*/ 260604 w 990600"/>
                <a:gd name="connsiteY6" fmla="*/ 1922526 h 1922526"/>
                <a:gd name="connsiteX7" fmla="*/ 119634 w 990600"/>
                <a:gd name="connsiteY7" fmla="*/ 1777746 h 1922526"/>
                <a:gd name="connsiteX8" fmla="*/ 119634 w 990600"/>
                <a:gd name="connsiteY8" fmla="*/ 991362 h 1922526"/>
                <a:gd name="connsiteX9" fmla="*/ 38100 w 990600"/>
                <a:gd name="connsiteY9" fmla="*/ 906018 h 1922526"/>
                <a:gd name="connsiteX10" fmla="*/ 0 w 990600"/>
                <a:gd name="connsiteY10" fmla="*/ 808482 h 1922526"/>
                <a:gd name="connsiteX11" fmla="*/ 0 w 990600"/>
                <a:gd name="connsiteY11" fmla="*/ 221742 h 1922526"/>
                <a:gd name="connsiteX12" fmla="*/ 18288 w 990600"/>
                <a:gd name="connsiteY12" fmla="*/ 131826 h 1922526"/>
                <a:gd name="connsiteX13" fmla="*/ 213360 w 990600"/>
                <a:gd name="connsiteY13" fmla="*/ 0 h 1922526"/>
                <a:gd name="connsiteX14" fmla="*/ 777240 w 990600"/>
                <a:gd name="connsiteY14" fmla="*/ 0 h 1922526"/>
                <a:gd name="connsiteX15" fmla="*/ 972312 w 990600"/>
                <a:gd name="connsiteY15" fmla="*/ 131826 h 1922526"/>
                <a:gd name="connsiteX16" fmla="*/ 990600 w 990600"/>
                <a:gd name="connsiteY16" fmla="*/ 221742 h 19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0600" h="1922526">
                  <a:moveTo>
                    <a:pt x="990600" y="221742"/>
                  </a:moveTo>
                  <a:lnTo>
                    <a:pt x="990600" y="808482"/>
                  </a:lnTo>
                  <a:cubicBezTo>
                    <a:pt x="990609" y="844627"/>
                    <a:pt x="977006" y="879450"/>
                    <a:pt x="952500" y="906018"/>
                  </a:cubicBezTo>
                  <a:lnTo>
                    <a:pt x="870966" y="991362"/>
                  </a:lnTo>
                  <a:lnTo>
                    <a:pt x="870966" y="1777746"/>
                  </a:lnTo>
                  <a:cubicBezTo>
                    <a:pt x="871704" y="1856528"/>
                    <a:pt x="808770" y="1921163"/>
                    <a:pt x="729996" y="1922526"/>
                  </a:cubicBezTo>
                  <a:lnTo>
                    <a:pt x="260604" y="1922526"/>
                  </a:lnTo>
                  <a:cubicBezTo>
                    <a:pt x="181830" y="1921163"/>
                    <a:pt x="118896" y="1856528"/>
                    <a:pt x="119634" y="1777746"/>
                  </a:cubicBezTo>
                  <a:lnTo>
                    <a:pt x="119634" y="991362"/>
                  </a:lnTo>
                  <a:lnTo>
                    <a:pt x="38100" y="906018"/>
                  </a:lnTo>
                  <a:cubicBezTo>
                    <a:pt x="13594" y="879450"/>
                    <a:pt x="-9" y="844627"/>
                    <a:pt x="0" y="808482"/>
                  </a:cubicBezTo>
                  <a:lnTo>
                    <a:pt x="0" y="221742"/>
                  </a:lnTo>
                  <a:cubicBezTo>
                    <a:pt x="101" y="190857"/>
                    <a:pt x="6317" y="160297"/>
                    <a:pt x="18288" y="131826"/>
                  </a:cubicBezTo>
                  <a:cubicBezTo>
                    <a:pt x="51058" y="52795"/>
                    <a:pt x="127809" y="928"/>
                    <a:pt x="213360" y="0"/>
                  </a:cubicBezTo>
                  <a:lnTo>
                    <a:pt x="777240" y="0"/>
                  </a:lnTo>
                  <a:cubicBezTo>
                    <a:pt x="862791" y="928"/>
                    <a:pt x="939542" y="52795"/>
                    <a:pt x="972312" y="131826"/>
                  </a:cubicBezTo>
                  <a:cubicBezTo>
                    <a:pt x="984284" y="160297"/>
                    <a:pt x="990499" y="190857"/>
                    <a:pt x="990600" y="221742"/>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15F"/>
                </a:solidFill>
                <a:effectLst/>
                <a:uLnTx/>
                <a:uFillTx/>
                <a:latin typeface="Tablet Gothic"/>
                <a:ea typeface="+mn-ea"/>
                <a:cs typeface="+mn-cs"/>
              </a:endParaRPr>
            </a:p>
          </p:txBody>
        </p:sp>
        <p:sp>
          <p:nvSpPr>
            <p:cNvPr id="19" name="Vrije vorm: vorm 77">
              <a:extLst>
                <a:ext uri="{FF2B5EF4-FFF2-40B4-BE49-F238E27FC236}">
                  <a16:creationId xmlns:a16="http://schemas.microsoft.com/office/drawing/2014/main" id="{65B01596-8DF3-11C0-AEBA-DEB056159BC3}"/>
                </a:ext>
              </a:extLst>
            </p:cNvPr>
            <p:cNvSpPr/>
            <p:nvPr/>
          </p:nvSpPr>
          <p:spPr>
            <a:xfrm>
              <a:off x="6493459" y="1531315"/>
              <a:ext cx="576681" cy="576681"/>
            </a:xfrm>
            <a:custGeom>
              <a:avLst/>
              <a:gdLst>
                <a:gd name="connsiteX0" fmla="*/ 576682 w 576681"/>
                <a:gd name="connsiteY0" fmla="*/ 288341 h 576681"/>
                <a:gd name="connsiteX1" fmla="*/ 288341 w 576681"/>
                <a:gd name="connsiteY1" fmla="*/ 576682 h 576681"/>
                <a:gd name="connsiteX2" fmla="*/ 0 w 576681"/>
                <a:gd name="connsiteY2" fmla="*/ 288341 h 576681"/>
                <a:gd name="connsiteX3" fmla="*/ 288341 w 576681"/>
                <a:gd name="connsiteY3" fmla="*/ 0 h 576681"/>
                <a:gd name="connsiteX4" fmla="*/ 576682 w 576681"/>
                <a:gd name="connsiteY4" fmla="*/ 288341 h 576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1" h="576681">
                  <a:moveTo>
                    <a:pt x="576682" y="288341"/>
                  </a:moveTo>
                  <a:cubicBezTo>
                    <a:pt x="576682" y="447587"/>
                    <a:pt x="447587" y="576682"/>
                    <a:pt x="288341" y="576682"/>
                  </a:cubicBezTo>
                  <a:cubicBezTo>
                    <a:pt x="129095" y="576682"/>
                    <a:pt x="0" y="447587"/>
                    <a:pt x="0" y="288341"/>
                  </a:cubicBezTo>
                  <a:cubicBezTo>
                    <a:pt x="0" y="129095"/>
                    <a:pt x="129094" y="0"/>
                    <a:pt x="288341" y="0"/>
                  </a:cubicBezTo>
                  <a:cubicBezTo>
                    <a:pt x="447587" y="0"/>
                    <a:pt x="576682" y="129095"/>
                    <a:pt x="576682" y="288341"/>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15F"/>
                </a:solidFill>
                <a:effectLst/>
                <a:uLnTx/>
                <a:uFillTx/>
                <a:latin typeface="Tablet Gothic"/>
                <a:ea typeface="+mn-ea"/>
                <a:cs typeface="+mn-cs"/>
              </a:endParaRPr>
            </a:p>
          </p:txBody>
        </p:sp>
        <p:sp>
          <p:nvSpPr>
            <p:cNvPr id="20" name="Vrije vorm: vorm 78">
              <a:extLst>
                <a:ext uri="{FF2B5EF4-FFF2-40B4-BE49-F238E27FC236}">
                  <a16:creationId xmlns:a16="http://schemas.microsoft.com/office/drawing/2014/main" id="{02E54324-E9D2-E32E-C1C8-12BE78CC73F2}"/>
                </a:ext>
              </a:extLst>
            </p:cNvPr>
            <p:cNvSpPr/>
            <p:nvPr/>
          </p:nvSpPr>
          <p:spPr>
            <a:xfrm>
              <a:off x="5121859" y="1531315"/>
              <a:ext cx="576681" cy="576681"/>
            </a:xfrm>
            <a:custGeom>
              <a:avLst/>
              <a:gdLst>
                <a:gd name="connsiteX0" fmla="*/ 576682 w 576681"/>
                <a:gd name="connsiteY0" fmla="*/ 288341 h 576681"/>
                <a:gd name="connsiteX1" fmla="*/ 288341 w 576681"/>
                <a:gd name="connsiteY1" fmla="*/ 576682 h 576681"/>
                <a:gd name="connsiteX2" fmla="*/ 0 w 576681"/>
                <a:gd name="connsiteY2" fmla="*/ 288341 h 576681"/>
                <a:gd name="connsiteX3" fmla="*/ 288341 w 576681"/>
                <a:gd name="connsiteY3" fmla="*/ 0 h 576681"/>
                <a:gd name="connsiteX4" fmla="*/ 576682 w 576681"/>
                <a:gd name="connsiteY4" fmla="*/ 288341 h 576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6681" h="576681">
                  <a:moveTo>
                    <a:pt x="576682" y="288341"/>
                  </a:moveTo>
                  <a:cubicBezTo>
                    <a:pt x="576682" y="447587"/>
                    <a:pt x="447587" y="576682"/>
                    <a:pt x="288341" y="576682"/>
                  </a:cubicBezTo>
                  <a:cubicBezTo>
                    <a:pt x="129095" y="576682"/>
                    <a:pt x="0" y="447587"/>
                    <a:pt x="0" y="288341"/>
                  </a:cubicBezTo>
                  <a:cubicBezTo>
                    <a:pt x="0" y="129095"/>
                    <a:pt x="129095" y="0"/>
                    <a:pt x="288341" y="0"/>
                  </a:cubicBezTo>
                  <a:cubicBezTo>
                    <a:pt x="447587" y="0"/>
                    <a:pt x="576682" y="129095"/>
                    <a:pt x="576682" y="288341"/>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15F"/>
                </a:solidFill>
                <a:effectLst/>
                <a:uLnTx/>
                <a:uFillTx/>
                <a:latin typeface="Tablet Gothic"/>
                <a:ea typeface="+mn-ea"/>
                <a:cs typeface="+mn-cs"/>
              </a:endParaRPr>
            </a:p>
          </p:txBody>
        </p:sp>
        <p:sp>
          <p:nvSpPr>
            <p:cNvPr id="24" name="Vrije vorm: vorm 79">
              <a:extLst>
                <a:ext uri="{FF2B5EF4-FFF2-40B4-BE49-F238E27FC236}">
                  <a16:creationId xmlns:a16="http://schemas.microsoft.com/office/drawing/2014/main" id="{5CD6F14A-85A3-0E61-B61A-E79D55C07817}"/>
                </a:ext>
              </a:extLst>
            </p:cNvPr>
            <p:cNvSpPr/>
            <p:nvPr/>
          </p:nvSpPr>
          <p:spPr>
            <a:xfrm>
              <a:off x="6624066" y="2191505"/>
              <a:ext cx="581425" cy="1618487"/>
            </a:xfrm>
            <a:custGeom>
              <a:avLst/>
              <a:gdLst>
                <a:gd name="connsiteX0" fmla="*/ 581406 w 581425"/>
                <a:gd name="connsiteY0" fmla="*/ 196596 h 1618487"/>
                <a:gd name="connsiteX1" fmla="*/ 581406 w 581425"/>
                <a:gd name="connsiteY1" fmla="*/ 682752 h 1618487"/>
                <a:gd name="connsiteX2" fmla="*/ 545592 w 581425"/>
                <a:gd name="connsiteY2" fmla="*/ 771906 h 1618487"/>
                <a:gd name="connsiteX3" fmla="*/ 481584 w 581425"/>
                <a:gd name="connsiteY3" fmla="*/ 839724 h 1618487"/>
                <a:gd name="connsiteX4" fmla="*/ 481584 w 581425"/>
                <a:gd name="connsiteY4" fmla="*/ 1485138 h 1618487"/>
                <a:gd name="connsiteX5" fmla="*/ 352433 w 581425"/>
                <a:gd name="connsiteY5" fmla="*/ 1618482 h 1618487"/>
                <a:gd name="connsiteX6" fmla="*/ 352044 w 581425"/>
                <a:gd name="connsiteY6" fmla="*/ 1618488 h 1618487"/>
                <a:gd name="connsiteX7" fmla="*/ 0 w 581425"/>
                <a:gd name="connsiteY7" fmla="*/ 1618488 h 1618487"/>
                <a:gd name="connsiteX8" fmla="*/ 0 w 581425"/>
                <a:gd name="connsiteY8" fmla="*/ 920496 h 1618487"/>
                <a:gd name="connsiteX9" fmla="*/ 39624 w 581425"/>
                <a:gd name="connsiteY9" fmla="*/ 878586 h 1618487"/>
                <a:gd name="connsiteX10" fmla="*/ 119634 w 581425"/>
                <a:gd name="connsiteY10" fmla="*/ 676656 h 1618487"/>
                <a:gd name="connsiteX11" fmla="*/ 119634 w 581425"/>
                <a:gd name="connsiteY11" fmla="*/ 89916 h 1618487"/>
                <a:gd name="connsiteX12" fmla="*/ 108204 w 581425"/>
                <a:gd name="connsiteY12" fmla="*/ 0 h 1618487"/>
                <a:gd name="connsiteX13" fmla="*/ 390906 w 581425"/>
                <a:gd name="connsiteY13" fmla="*/ 0 h 1618487"/>
                <a:gd name="connsiteX14" fmla="*/ 581406 w 581425"/>
                <a:gd name="connsiteY14" fmla="*/ 196596 h 1618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1425" h="1618487">
                  <a:moveTo>
                    <a:pt x="581406" y="196596"/>
                  </a:moveTo>
                  <a:lnTo>
                    <a:pt x="581406" y="682752"/>
                  </a:lnTo>
                  <a:cubicBezTo>
                    <a:pt x="581474" y="715988"/>
                    <a:pt x="568633" y="747953"/>
                    <a:pt x="545592" y="771906"/>
                  </a:cubicBezTo>
                  <a:lnTo>
                    <a:pt x="481584" y="839724"/>
                  </a:lnTo>
                  <a:lnTo>
                    <a:pt x="481584" y="1485138"/>
                  </a:lnTo>
                  <a:cubicBezTo>
                    <a:pt x="482742" y="1557624"/>
                    <a:pt x="424919" y="1617324"/>
                    <a:pt x="352433" y="1618482"/>
                  </a:cubicBezTo>
                  <a:cubicBezTo>
                    <a:pt x="352304" y="1618484"/>
                    <a:pt x="352174" y="1618487"/>
                    <a:pt x="352044" y="1618488"/>
                  </a:cubicBezTo>
                  <a:lnTo>
                    <a:pt x="0" y="1618488"/>
                  </a:lnTo>
                  <a:lnTo>
                    <a:pt x="0" y="920496"/>
                  </a:lnTo>
                  <a:lnTo>
                    <a:pt x="39624" y="878586"/>
                  </a:lnTo>
                  <a:cubicBezTo>
                    <a:pt x="91463" y="824194"/>
                    <a:pt x="120150" y="751793"/>
                    <a:pt x="119634" y="676656"/>
                  </a:cubicBezTo>
                  <a:lnTo>
                    <a:pt x="119634" y="89916"/>
                  </a:lnTo>
                  <a:cubicBezTo>
                    <a:pt x="119734" y="59576"/>
                    <a:pt x="115892" y="29351"/>
                    <a:pt x="108204" y="0"/>
                  </a:cubicBezTo>
                  <a:lnTo>
                    <a:pt x="390906" y="0"/>
                  </a:lnTo>
                  <a:cubicBezTo>
                    <a:pt x="497724" y="1858"/>
                    <a:pt x="582913" y="89772"/>
                    <a:pt x="581406" y="196596"/>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15F"/>
                </a:solidFill>
                <a:effectLst/>
                <a:uLnTx/>
                <a:uFillTx/>
                <a:latin typeface="Tablet Gothic"/>
                <a:ea typeface="+mn-ea"/>
                <a:cs typeface="+mn-cs"/>
              </a:endParaRPr>
            </a:p>
          </p:txBody>
        </p:sp>
        <p:sp>
          <p:nvSpPr>
            <p:cNvPr id="26" name="Vrije vorm: vorm 80">
              <a:extLst>
                <a:ext uri="{FF2B5EF4-FFF2-40B4-BE49-F238E27FC236}">
                  <a16:creationId xmlns:a16="http://schemas.microsoft.com/office/drawing/2014/main" id="{8B8B8545-057F-BEBE-64ED-D5462DDA2156}"/>
                </a:ext>
              </a:extLst>
            </p:cNvPr>
            <p:cNvSpPr/>
            <p:nvPr/>
          </p:nvSpPr>
          <p:spPr>
            <a:xfrm>
              <a:off x="4986508" y="2191505"/>
              <a:ext cx="581425" cy="1618487"/>
            </a:xfrm>
            <a:custGeom>
              <a:avLst/>
              <a:gdLst>
                <a:gd name="connsiteX0" fmla="*/ 541802 w 581425"/>
                <a:gd name="connsiteY0" fmla="*/ 878586 h 1618487"/>
                <a:gd name="connsiteX1" fmla="*/ 581426 w 581425"/>
                <a:gd name="connsiteY1" fmla="*/ 920496 h 1618487"/>
                <a:gd name="connsiteX2" fmla="*/ 581426 w 581425"/>
                <a:gd name="connsiteY2" fmla="*/ 1618488 h 1618487"/>
                <a:gd name="connsiteX3" fmla="*/ 229382 w 581425"/>
                <a:gd name="connsiteY3" fmla="*/ 1618488 h 1618487"/>
                <a:gd name="connsiteX4" fmla="*/ 99836 w 581425"/>
                <a:gd name="connsiteY4" fmla="*/ 1485527 h 1618487"/>
                <a:gd name="connsiteX5" fmla="*/ 99842 w 581425"/>
                <a:gd name="connsiteY5" fmla="*/ 1485138 h 1618487"/>
                <a:gd name="connsiteX6" fmla="*/ 99842 w 581425"/>
                <a:gd name="connsiteY6" fmla="*/ 839724 h 1618487"/>
                <a:gd name="connsiteX7" fmla="*/ 35834 w 581425"/>
                <a:gd name="connsiteY7" fmla="*/ 771906 h 1618487"/>
                <a:gd name="connsiteX8" fmla="*/ 20 w 581425"/>
                <a:gd name="connsiteY8" fmla="*/ 682752 h 1618487"/>
                <a:gd name="connsiteX9" fmla="*/ 20 w 581425"/>
                <a:gd name="connsiteY9" fmla="*/ 196596 h 1618487"/>
                <a:gd name="connsiteX10" fmla="*/ 190520 w 581425"/>
                <a:gd name="connsiteY10" fmla="*/ 0 h 1618487"/>
                <a:gd name="connsiteX11" fmla="*/ 473222 w 581425"/>
                <a:gd name="connsiteY11" fmla="*/ 0 h 1618487"/>
                <a:gd name="connsiteX12" fmla="*/ 461792 w 581425"/>
                <a:gd name="connsiteY12" fmla="*/ 89916 h 1618487"/>
                <a:gd name="connsiteX13" fmla="*/ 461792 w 581425"/>
                <a:gd name="connsiteY13" fmla="*/ 676656 h 1618487"/>
                <a:gd name="connsiteX14" fmla="*/ 541802 w 581425"/>
                <a:gd name="connsiteY14" fmla="*/ 878586 h 1618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1425" h="1618487">
                  <a:moveTo>
                    <a:pt x="541802" y="878586"/>
                  </a:moveTo>
                  <a:lnTo>
                    <a:pt x="581426" y="920496"/>
                  </a:lnTo>
                  <a:lnTo>
                    <a:pt x="581426" y="1618488"/>
                  </a:lnTo>
                  <a:lnTo>
                    <a:pt x="229382" y="1618488"/>
                  </a:lnTo>
                  <a:cubicBezTo>
                    <a:pt x="156893" y="1617545"/>
                    <a:pt x="98893" y="1558016"/>
                    <a:pt x="99836" y="1485527"/>
                  </a:cubicBezTo>
                  <a:cubicBezTo>
                    <a:pt x="99838" y="1485397"/>
                    <a:pt x="99840" y="1485268"/>
                    <a:pt x="99842" y="1485138"/>
                  </a:cubicBezTo>
                  <a:lnTo>
                    <a:pt x="99842" y="839724"/>
                  </a:lnTo>
                  <a:lnTo>
                    <a:pt x="35834" y="771906"/>
                  </a:lnTo>
                  <a:cubicBezTo>
                    <a:pt x="12792" y="747952"/>
                    <a:pt x="-48" y="715988"/>
                    <a:pt x="20" y="682752"/>
                  </a:cubicBezTo>
                  <a:lnTo>
                    <a:pt x="20" y="196596"/>
                  </a:lnTo>
                  <a:cubicBezTo>
                    <a:pt x="-1487" y="89772"/>
                    <a:pt x="83702" y="1858"/>
                    <a:pt x="190520" y="0"/>
                  </a:cubicBezTo>
                  <a:lnTo>
                    <a:pt x="473222" y="0"/>
                  </a:lnTo>
                  <a:cubicBezTo>
                    <a:pt x="465534" y="29351"/>
                    <a:pt x="461691" y="59575"/>
                    <a:pt x="461792" y="89916"/>
                  </a:cubicBezTo>
                  <a:lnTo>
                    <a:pt x="461792" y="676656"/>
                  </a:lnTo>
                  <a:cubicBezTo>
                    <a:pt x="461417" y="751766"/>
                    <a:pt x="490083" y="824116"/>
                    <a:pt x="541802" y="878586"/>
                  </a:cubicBezTo>
                  <a:close/>
                </a:path>
              </a:pathLst>
            </a:custGeom>
            <a:grpFill/>
            <a:ln w="762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615F"/>
                </a:solidFill>
                <a:effectLst/>
                <a:uLnTx/>
                <a:uFillTx/>
                <a:latin typeface="Tablet Gothic"/>
                <a:ea typeface="+mn-ea"/>
                <a:cs typeface="+mn-cs"/>
              </a:endParaRPr>
            </a:p>
          </p:txBody>
        </p:sp>
      </p:grpSp>
      <p:sp>
        <p:nvSpPr>
          <p:cNvPr id="13" name="TextBox 16">
            <a:extLst>
              <a:ext uri="{FF2B5EF4-FFF2-40B4-BE49-F238E27FC236}">
                <a16:creationId xmlns:a16="http://schemas.microsoft.com/office/drawing/2014/main" id="{C17322E8-21DA-5567-EC36-8C705D8343C1}"/>
              </a:ext>
            </a:extLst>
          </p:cNvPr>
          <p:cNvSpPr txBox="1"/>
          <p:nvPr/>
        </p:nvSpPr>
        <p:spPr>
          <a:xfrm>
            <a:off x="10815319" y="5272101"/>
            <a:ext cx="1790040" cy="430887"/>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accent4"/>
                </a:solidFill>
                <a:latin typeface="Tablet Gothic"/>
              </a:rPr>
              <a:t>3 - 7</a:t>
            </a:r>
            <a:r>
              <a:rPr kumimoji="0" lang="en-US" sz="1600" b="1" i="0" u="none" strike="noStrike" kern="1200" cap="none" spc="0" normalizeH="0" baseline="0" noProof="0" dirty="0">
                <a:ln>
                  <a:noFill/>
                </a:ln>
                <a:solidFill>
                  <a:schemeClr val="accent4"/>
                </a:solidFill>
                <a:effectLst/>
                <a:uLnTx/>
                <a:uFillTx/>
                <a:latin typeface="Tablet Gothic"/>
                <a:ea typeface="+mn-ea"/>
                <a:cs typeface="+mn-cs"/>
              </a:rPr>
              <a:t> million</a:t>
            </a:r>
          </a:p>
        </p:txBody>
      </p:sp>
      <p:sp>
        <p:nvSpPr>
          <p:cNvPr id="14" name="TextBox 16">
            <a:extLst>
              <a:ext uri="{FF2B5EF4-FFF2-40B4-BE49-F238E27FC236}">
                <a16:creationId xmlns:a16="http://schemas.microsoft.com/office/drawing/2014/main" id="{50D740D9-EE7D-A788-1A3D-DD8F8AFC68A5}"/>
              </a:ext>
            </a:extLst>
          </p:cNvPr>
          <p:cNvSpPr txBox="1"/>
          <p:nvPr/>
        </p:nvSpPr>
        <p:spPr>
          <a:xfrm>
            <a:off x="10330097" y="4509812"/>
            <a:ext cx="1630571" cy="461665"/>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4"/>
                </a:solidFill>
                <a:latin typeface="Tablet Gothic"/>
              </a:rPr>
              <a:t>Responsible for total Palm oil supply</a:t>
            </a:r>
            <a:endParaRPr kumimoji="0" lang="en-GB" sz="1600" b="0" i="0" u="none" strike="noStrike" kern="1200" cap="none" spc="0" normalizeH="0" baseline="0" noProof="0" dirty="0">
              <a:ln>
                <a:noFill/>
              </a:ln>
              <a:solidFill>
                <a:schemeClr val="accent4"/>
              </a:solidFill>
              <a:effectLst/>
              <a:uLnTx/>
              <a:uFillTx/>
              <a:latin typeface="Tablet Gothic"/>
            </a:endParaRPr>
          </a:p>
        </p:txBody>
      </p:sp>
    </p:spTree>
    <p:custDataLst>
      <p:tags r:id="rId1"/>
    </p:custDataLst>
    <p:extLst>
      <p:ext uri="{BB962C8B-B14F-4D97-AF65-F5344CB8AC3E}">
        <p14:creationId xmlns:p14="http://schemas.microsoft.com/office/powerpoint/2010/main" val="408983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p:cTn id="7" dur="250" fill="hold"/>
                                        <p:tgtEl>
                                          <p:spTgt spid="46"/>
                                        </p:tgtEl>
                                        <p:attrNameLst>
                                          <p:attrName>ppt_w</p:attrName>
                                        </p:attrNameLst>
                                      </p:cBhvr>
                                      <p:tavLst>
                                        <p:tav tm="0">
                                          <p:val>
                                            <p:fltVal val="0"/>
                                          </p:val>
                                        </p:tav>
                                        <p:tav tm="100000">
                                          <p:val>
                                            <p:strVal val="#ppt_w"/>
                                          </p:val>
                                        </p:tav>
                                      </p:tavLst>
                                    </p:anim>
                                    <p:anim calcmode="lin" valueType="num">
                                      <p:cBhvr>
                                        <p:cTn id="8" dur="250" fill="hold"/>
                                        <p:tgtEl>
                                          <p:spTgt spid="46"/>
                                        </p:tgtEl>
                                        <p:attrNameLst>
                                          <p:attrName>ppt_h</p:attrName>
                                        </p:attrNameLst>
                                      </p:cBhvr>
                                      <p:tavLst>
                                        <p:tav tm="0">
                                          <p:val>
                                            <p:fltVal val="0"/>
                                          </p:val>
                                        </p:tav>
                                        <p:tav tm="100000">
                                          <p:val>
                                            <p:strVal val="#ppt_h"/>
                                          </p:val>
                                        </p:tav>
                                      </p:tavLst>
                                    </p:anim>
                                    <p:animEffect transition="in" filter="fade">
                                      <p:cBhvr>
                                        <p:cTn id="9" dur="250"/>
                                        <p:tgtEl>
                                          <p:spTgt spid="46"/>
                                        </p:tgtEl>
                                      </p:cBhvr>
                                    </p:animEffect>
                                  </p:childTnLst>
                                </p:cTn>
                              </p:par>
                              <p:par>
                                <p:cTn id="10" presetID="6" presetClass="emph" presetSubtype="0" accel="47000" decel="47000" autoRev="1" fill="hold" nodeType="withEffect">
                                  <p:stCondLst>
                                    <p:cond delay="0"/>
                                  </p:stCondLst>
                                  <p:childTnLst>
                                    <p:animScale>
                                      <p:cBhvr>
                                        <p:cTn id="11" dur="250" fill="hold"/>
                                        <p:tgtEl>
                                          <p:spTgt spid="46"/>
                                        </p:tgtEl>
                                      </p:cBhvr>
                                      <p:by x="110000" y="110000"/>
                                    </p:animScale>
                                  </p:childTnLst>
                                </p:cTn>
                              </p:par>
                              <p:par>
                                <p:cTn id="12" presetID="10"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53" presetClass="entr" presetSubtype="16" fill="hold" nodeType="withEffect">
                                  <p:stCondLst>
                                    <p:cond delay="500"/>
                                  </p:stCondLst>
                                  <p:childTnLst>
                                    <p:set>
                                      <p:cBhvr>
                                        <p:cTn id="16" dur="1" fill="hold">
                                          <p:stCondLst>
                                            <p:cond delay="0"/>
                                          </p:stCondLst>
                                        </p:cTn>
                                        <p:tgtEl>
                                          <p:spTgt spid="47"/>
                                        </p:tgtEl>
                                        <p:attrNameLst>
                                          <p:attrName>style.visibility</p:attrName>
                                        </p:attrNameLst>
                                      </p:cBhvr>
                                      <p:to>
                                        <p:strVal val="visible"/>
                                      </p:to>
                                    </p:set>
                                    <p:anim calcmode="lin" valueType="num">
                                      <p:cBhvr>
                                        <p:cTn id="17" dur="250" fill="hold"/>
                                        <p:tgtEl>
                                          <p:spTgt spid="47"/>
                                        </p:tgtEl>
                                        <p:attrNameLst>
                                          <p:attrName>ppt_w</p:attrName>
                                        </p:attrNameLst>
                                      </p:cBhvr>
                                      <p:tavLst>
                                        <p:tav tm="0">
                                          <p:val>
                                            <p:fltVal val="0"/>
                                          </p:val>
                                        </p:tav>
                                        <p:tav tm="100000">
                                          <p:val>
                                            <p:strVal val="#ppt_w"/>
                                          </p:val>
                                        </p:tav>
                                      </p:tavLst>
                                    </p:anim>
                                    <p:anim calcmode="lin" valueType="num">
                                      <p:cBhvr>
                                        <p:cTn id="18" dur="250" fill="hold"/>
                                        <p:tgtEl>
                                          <p:spTgt spid="47"/>
                                        </p:tgtEl>
                                        <p:attrNameLst>
                                          <p:attrName>ppt_h</p:attrName>
                                        </p:attrNameLst>
                                      </p:cBhvr>
                                      <p:tavLst>
                                        <p:tav tm="0">
                                          <p:val>
                                            <p:fltVal val="0"/>
                                          </p:val>
                                        </p:tav>
                                        <p:tav tm="100000">
                                          <p:val>
                                            <p:strVal val="#ppt_h"/>
                                          </p:val>
                                        </p:tav>
                                      </p:tavLst>
                                    </p:anim>
                                    <p:animEffect transition="in" filter="fade">
                                      <p:cBhvr>
                                        <p:cTn id="19" dur="250"/>
                                        <p:tgtEl>
                                          <p:spTgt spid="47"/>
                                        </p:tgtEl>
                                      </p:cBhvr>
                                    </p:animEffect>
                                  </p:childTnLst>
                                </p:cTn>
                              </p:par>
                              <p:par>
                                <p:cTn id="20" presetID="6" presetClass="emph" presetSubtype="0" accel="47000" decel="47000" autoRev="1" fill="hold" nodeType="withEffect">
                                  <p:stCondLst>
                                    <p:cond delay="500"/>
                                  </p:stCondLst>
                                  <p:childTnLst>
                                    <p:animScale>
                                      <p:cBhvr>
                                        <p:cTn id="21" dur="250" fill="hold"/>
                                        <p:tgtEl>
                                          <p:spTgt spid="47"/>
                                        </p:tgtEl>
                                      </p:cBhvr>
                                      <p:by x="110000" y="110000"/>
                                    </p:animScale>
                                  </p:childTnLst>
                                </p:cTn>
                              </p:par>
                              <p:par>
                                <p:cTn id="22" presetID="53" presetClass="entr" presetSubtype="16" fill="hold" nodeType="withEffect">
                                  <p:stCondLst>
                                    <p:cond delay="1000"/>
                                  </p:stCondLst>
                                  <p:childTnLst>
                                    <p:set>
                                      <p:cBhvr>
                                        <p:cTn id="23" dur="1" fill="hold">
                                          <p:stCondLst>
                                            <p:cond delay="0"/>
                                          </p:stCondLst>
                                        </p:cTn>
                                        <p:tgtEl>
                                          <p:spTgt spid="48"/>
                                        </p:tgtEl>
                                        <p:attrNameLst>
                                          <p:attrName>style.visibility</p:attrName>
                                        </p:attrNameLst>
                                      </p:cBhvr>
                                      <p:to>
                                        <p:strVal val="visible"/>
                                      </p:to>
                                    </p:set>
                                    <p:anim calcmode="lin" valueType="num">
                                      <p:cBhvr>
                                        <p:cTn id="24" dur="250" fill="hold"/>
                                        <p:tgtEl>
                                          <p:spTgt spid="48"/>
                                        </p:tgtEl>
                                        <p:attrNameLst>
                                          <p:attrName>ppt_w</p:attrName>
                                        </p:attrNameLst>
                                      </p:cBhvr>
                                      <p:tavLst>
                                        <p:tav tm="0">
                                          <p:val>
                                            <p:fltVal val="0"/>
                                          </p:val>
                                        </p:tav>
                                        <p:tav tm="100000">
                                          <p:val>
                                            <p:strVal val="#ppt_w"/>
                                          </p:val>
                                        </p:tav>
                                      </p:tavLst>
                                    </p:anim>
                                    <p:anim calcmode="lin" valueType="num">
                                      <p:cBhvr>
                                        <p:cTn id="25" dur="250" fill="hold"/>
                                        <p:tgtEl>
                                          <p:spTgt spid="48"/>
                                        </p:tgtEl>
                                        <p:attrNameLst>
                                          <p:attrName>ppt_h</p:attrName>
                                        </p:attrNameLst>
                                      </p:cBhvr>
                                      <p:tavLst>
                                        <p:tav tm="0">
                                          <p:val>
                                            <p:fltVal val="0"/>
                                          </p:val>
                                        </p:tav>
                                        <p:tav tm="100000">
                                          <p:val>
                                            <p:strVal val="#ppt_h"/>
                                          </p:val>
                                        </p:tav>
                                      </p:tavLst>
                                    </p:anim>
                                    <p:animEffect transition="in" filter="fade">
                                      <p:cBhvr>
                                        <p:cTn id="26" dur="250"/>
                                        <p:tgtEl>
                                          <p:spTgt spid="48"/>
                                        </p:tgtEl>
                                      </p:cBhvr>
                                    </p:animEffect>
                                  </p:childTnLst>
                                </p:cTn>
                              </p:par>
                              <p:par>
                                <p:cTn id="27" presetID="6" presetClass="emph" presetSubtype="0" accel="47000" decel="47000" autoRev="1" fill="hold" nodeType="withEffect">
                                  <p:stCondLst>
                                    <p:cond delay="1000"/>
                                  </p:stCondLst>
                                  <p:childTnLst>
                                    <p:animScale>
                                      <p:cBhvr>
                                        <p:cTn id="28" dur="250" fill="hold"/>
                                        <p:tgtEl>
                                          <p:spTgt spid="48"/>
                                        </p:tgtEl>
                                      </p:cBhvr>
                                      <p:by x="110000" y="110000"/>
                                    </p:animScale>
                                  </p:childTnLst>
                                </p:cTn>
                              </p:par>
                              <p:par>
                                <p:cTn id="29" presetID="53" presetClass="entr" presetSubtype="16" fill="hold" nodeType="withEffect">
                                  <p:stCondLst>
                                    <p:cond delay="1500"/>
                                  </p:stCondLst>
                                  <p:childTnLst>
                                    <p:set>
                                      <p:cBhvr>
                                        <p:cTn id="30" dur="1" fill="hold">
                                          <p:stCondLst>
                                            <p:cond delay="0"/>
                                          </p:stCondLst>
                                        </p:cTn>
                                        <p:tgtEl>
                                          <p:spTgt spid="49"/>
                                        </p:tgtEl>
                                        <p:attrNameLst>
                                          <p:attrName>style.visibility</p:attrName>
                                        </p:attrNameLst>
                                      </p:cBhvr>
                                      <p:to>
                                        <p:strVal val="visible"/>
                                      </p:to>
                                    </p:set>
                                    <p:anim calcmode="lin" valueType="num">
                                      <p:cBhvr>
                                        <p:cTn id="31" dur="250" fill="hold"/>
                                        <p:tgtEl>
                                          <p:spTgt spid="49"/>
                                        </p:tgtEl>
                                        <p:attrNameLst>
                                          <p:attrName>ppt_w</p:attrName>
                                        </p:attrNameLst>
                                      </p:cBhvr>
                                      <p:tavLst>
                                        <p:tav tm="0">
                                          <p:val>
                                            <p:fltVal val="0"/>
                                          </p:val>
                                        </p:tav>
                                        <p:tav tm="100000">
                                          <p:val>
                                            <p:strVal val="#ppt_w"/>
                                          </p:val>
                                        </p:tav>
                                      </p:tavLst>
                                    </p:anim>
                                    <p:anim calcmode="lin" valueType="num">
                                      <p:cBhvr>
                                        <p:cTn id="32" dur="250" fill="hold"/>
                                        <p:tgtEl>
                                          <p:spTgt spid="49"/>
                                        </p:tgtEl>
                                        <p:attrNameLst>
                                          <p:attrName>ppt_h</p:attrName>
                                        </p:attrNameLst>
                                      </p:cBhvr>
                                      <p:tavLst>
                                        <p:tav tm="0">
                                          <p:val>
                                            <p:fltVal val="0"/>
                                          </p:val>
                                        </p:tav>
                                        <p:tav tm="100000">
                                          <p:val>
                                            <p:strVal val="#ppt_h"/>
                                          </p:val>
                                        </p:tav>
                                      </p:tavLst>
                                    </p:anim>
                                    <p:animEffect transition="in" filter="fade">
                                      <p:cBhvr>
                                        <p:cTn id="33" dur="250"/>
                                        <p:tgtEl>
                                          <p:spTgt spid="49"/>
                                        </p:tgtEl>
                                      </p:cBhvr>
                                    </p:animEffect>
                                  </p:childTnLst>
                                </p:cTn>
                              </p:par>
                              <p:par>
                                <p:cTn id="34" presetID="6" presetClass="emph" presetSubtype="0" accel="47000" decel="47000" autoRev="1" fill="hold" nodeType="withEffect">
                                  <p:stCondLst>
                                    <p:cond delay="1500"/>
                                  </p:stCondLst>
                                  <p:childTnLst>
                                    <p:animScale>
                                      <p:cBhvr>
                                        <p:cTn id="35" dur="250" fill="hold"/>
                                        <p:tgtEl>
                                          <p:spTgt spid="49"/>
                                        </p:tgtEl>
                                      </p:cBhvr>
                                      <p:by x="110000" y="110000"/>
                                    </p:animScale>
                                  </p:childTnLst>
                                </p:cTn>
                              </p:par>
                              <p:par>
                                <p:cTn id="36" presetID="10" presetClass="entr" presetSubtype="0" fill="hold" grpId="0" nodeType="withEffect">
                                  <p:stCondLst>
                                    <p:cond delay="50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par>
                                <p:cTn id="39" presetID="10" presetClass="entr" presetSubtype="0" fill="hold" grpId="0" nodeType="withEffect">
                                  <p:stCondLst>
                                    <p:cond delay="100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childTnLst>
                                </p:cTn>
                              </p:par>
                              <p:par>
                                <p:cTn id="42" presetID="10" presetClass="entr" presetSubtype="0" fill="hold" grpId="0" nodeType="withEffect">
                                  <p:stCondLst>
                                    <p:cond delay="150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par>
                                <p:cTn id="45" presetID="2" presetClass="entr" presetSubtype="4" decel="100000" fill="hold" nodeType="withEffect">
                                  <p:stCondLst>
                                    <p:cond delay="2000"/>
                                  </p:stCondLst>
                                  <p:childTnLst>
                                    <p:set>
                                      <p:cBhvr>
                                        <p:cTn id="46" dur="1" fill="hold">
                                          <p:stCondLst>
                                            <p:cond delay="0"/>
                                          </p:stCondLst>
                                        </p:cTn>
                                        <p:tgtEl>
                                          <p:spTgt spid="61"/>
                                        </p:tgtEl>
                                        <p:attrNameLst>
                                          <p:attrName>style.visibility</p:attrName>
                                        </p:attrNameLst>
                                      </p:cBhvr>
                                      <p:to>
                                        <p:strVal val="visible"/>
                                      </p:to>
                                    </p:set>
                                    <p:anim calcmode="lin" valueType="num">
                                      <p:cBhvr additive="base">
                                        <p:cTn id="47" dur="1000" fill="hold"/>
                                        <p:tgtEl>
                                          <p:spTgt spid="61"/>
                                        </p:tgtEl>
                                        <p:attrNameLst>
                                          <p:attrName>ppt_x</p:attrName>
                                        </p:attrNameLst>
                                      </p:cBhvr>
                                      <p:tavLst>
                                        <p:tav tm="0">
                                          <p:val>
                                            <p:strVal val="#ppt_x"/>
                                          </p:val>
                                        </p:tav>
                                        <p:tav tm="100000">
                                          <p:val>
                                            <p:strVal val="#ppt_x"/>
                                          </p:val>
                                        </p:tav>
                                      </p:tavLst>
                                    </p:anim>
                                    <p:anim calcmode="lin" valueType="num">
                                      <p:cBhvr additive="base">
                                        <p:cTn id="48" dur="1000" fill="hold"/>
                                        <p:tgtEl>
                                          <p:spTgt spid="61"/>
                                        </p:tgtEl>
                                        <p:attrNameLst>
                                          <p:attrName>ppt_y</p:attrName>
                                        </p:attrNameLst>
                                      </p:cBhvr>
                                      <p:tavLst>
                                        <p:tav tm="0">
                                          <p:val>
                                            <p:strVal val="1+#ppt_h/2"/>
                                          </p:val>
                                        </p:tav>
                                        <p:tav tm="100000">
                                          <p:val>
                                            <p:strVal val="#ppt_y"/>
                                          </p:val>
                                        </p:tav>
                                      </p:tavLst>
                                    </p:anim>
                                  </p:childTnLst>
                                </p:cTn>
                              </p:par>
                            </p:childTnLst>
                          </p:cTn>
                        </p:par>
                        <p:par>
                          <p:cTn id="49" fill="hold">
                            <p:stCondLst>
                              <p:cond delay="3000"/>
                            </p:stCondLst>
                            <p:childTnLst>
                              <p:par>
                                <p:cTn id="50" presetID="10" presetClass="entr" presetSubtype="0" fill="hold" nodeType="afterEffect">
                                  <p:stCondLst>
                                    <p:cond delay="0"/>
                                  </p:stCondLst>
                                  <p:childTnLst>
                                    <p:set>
                                      <p:cBhvr>
                                        <p:cTn id="51" dur="1" fill="hold">
                                          <p:stCondLst>
                                            <p:cond delay="0"/>
                                          </p:stCondLst>
                                        </p:cTn>
                                        <p:tgtEl>
                                          <p:spTgt spid="29">
                                            <p:txEl>
                                              <p:pRg st="0" end="0"/>
                                            </p:txEl>
                                          </p:spTgt>
                                        </p:tgtEl>
                                        <p:attrNameLst>
                                          <p:attrName>style.visibility</p:attrName>
                                        </p:attrNameLst>
                                      </p:cBhvr>
                                      <p:to>
                                        <p:strVal val="visible"/>
                                      </p:to>
                                    </p:set>
                                    <p:animEffect transition="in" filter="fade">
                                      <p:cBhvr>
                                        <p:cTn id="52" dur="500"/>
                                        <p:tgtEl>
                                          <p:spTgt spid="29">
                                            <p:txEl>
                                              <p:pRg st="0" end="0"/>
                                            </p:txEl>
                                          </p:spTgt>
                                        </p:tgtEl>
                                      </p:cBhvr>
                                    </p:animEffect>
                                  </p:childTnLst>
                                </p:cTn>
                              </p:par>
                              <p:par>
                                <p:cTn id="53" presetID="10" presetClass="entr" presetSubtype="0" fill="hold" grpId="0" nodeType="withEffect">
                                  <p:stCondLst>
                                    <p:cond delay="500"/>
                                  </p:stCondLst>
                                  <p:childTnLst>
                                    <p:set>
                                      <p:cBhvr>
                                        <p:cTn id="54" dur="1" fill="hold">
                                          <p:stCondLst>
                                            <p:cond delay="0"/>
                                          </p:stCondLst>
                                        </p:cTn>
                                        <p:tgtEl>
                                          <p:spTgt spid="27"/>
                                        </p:tgtEl>
                                        <p:attrNameLst>
                                          <p:attrName>style.visibility</p:attrName>
                                        </p:attrNameLst>
                                      </p:cBhvr>
                                      <p:to>
                                        <p:strVal val="visible"/>
                                      </p:to>
                                    </p:set>
                                    <p:animEffect transition="in" filter="fade">
                                      <p:cBhvr>
                                        <p:cTn id="55" dur="500"/>
                                        <p:tgtEl>
                                          <p:spTgt spid="27"/>
                                        </p:tgtEl>
                                      </p:cBhvr>
                                    </p:animEffect>
                                  </p:childTnLst>
                                </p:cTn>
                              </p:par>
                              <p:par>
                                <p:cTn id="56" presetID="6" presetClass="entr" presetSubtype="32" fill="hold" grpId="0" nodeType="withEffect">
                                  <p:stCondLst>
                                    <p:cond delay="500"/>
                                  </p:stCondLst>
                                  <p:childTnLst>
                                    <p:set>
                                      <p:cBhvr>
                                        <p:cTn id="57" dur="1" fill="hold">
                                          <p:stCondLst>
                                            <p:cond delay="0"/>
                                          </p:stCondLst>
                                        </p:cTn>
                                        <p:tgtEl>
                                          <p:spTgt spid="54"/>
                                        </p:tgtEl>
                                        <p:attrNameLst>
                                          <p:attrName>style.visibility</p:attrName>
                                        </p:attrNameLst>
                                      </p:cBhvr>
                                      <p:to>
                                        <p:strVal val="visible"/>
                                      </p:to>
                                    </p:set>
                                    <p:animEffect transition="in" filter="circle(out)">
                                      <p:cBhvr>
                                        <p:cTn id="58" dur="250"/>
                                        <p:tgtEl>
                                          <p:spTgt spid="54"/>
                                        </p:tgtEl>
                                      </p:cBhvr>
                                    </p:animEffect>
                                  </p:childTnLst>
                                </p:cTn>
                              </p:par>
                              <p:par>
                                <p:cTn id="59" presetID="6" presetClass="emph" presetSubtype="0" accel="47000" decel="47000" autoRev="1" fill="hold" grpId="1" nodeType="withEffect">
                                  <p:stCondLst>
                                    <p:cond delay="500"/>
                                  </p:stCondLst>
                                  <p:childTnLst>
                                    <p:animScale>
                                      <p:cBhvr>
                                        <p:cTn id="60" dur="250" fill="hold"/>
                                        <p:tgtEl>
                                          <p:spTgt spid="54"/>
                                        </p:tgtEl>
                                      </p:cBhvr>
                                      <p:by x="110000" y="110000"/>
                                    </p:animScale>
                                  </p:childTnLst>
                                </p:cTn>
                              </p:par>
                              <p:par>
                                <p:cTn id="61" presetID="10" presetClass="entr" presetSubtype="0" fill="hold" grpId="0" nodeType="withEffect">
                                  <p:stCondLst>
                                    <p:cond delay="500"/>
                                  </p:stCondLst>
                                  <p:childTnLst>
                                    <p:set>
                                      <p:cBhvr>
                                        <p:cTn id="62" dur="1" fill="hold">
                                          <p:stCondLst>
                                            <p:cond delay="0"/>
                                          </p:stCondLst>
                                        </p:cTn>
                                        <p:tgtEl>
                                          <p:spTgt spid="68"/>
                                        </p:tgtEl>
                                        <p:attrNameLst>
                                          <p:attrName>style.visibility</p:attrName>
                                        </p:attrNameLst>
                                      </p:cBhvr>
                                      <p:to>
                                        <p:strVal val="visible"/>
                                      </p:to>
                                    </p:set>
                                    <p:animEffect transition="in" filter="fade">
                                      <p:cBhvr>
                                        <p:cTn id="63" dur="250"/>
                                        <p:tgtEl>
                                          <p:spTgt spid="68"/>
                                        </p:tgtEl>
                                      </p:cBhvr>
                                    </p:animEffect>
                                  </p:childTnLst>
                                </p:cTn>
                              </p:par>
                              <p:par>
                                <p:cTn id="64" presetID="42" presetClass="path" presetSubtype="0" decel="100000" fill="hold" grpId="1" nodeType="withEffect">
                                  <p:stCondLst>
                                    <p:cond delay="500"/>
                                  </p:stCondLst>
                                  <p:childTnLst>
                                    <p:animMotion origin="layout" path="M -0.01719 -0.00023 L -1.25E-6 1.85185E-6 " pathEditMode="relative" rAng="0" ptsTypes="AA">
                                      <p:cBhvr>
                                        <p:cTn id="65" dur="500" fill="hold"/>
                                        <p:tgtEl>
                                          <p:spTgt spid="68"/>
                                        </p:tgtEl>
                                        <p:attrNameLst>
                                          <p:attrName>ppt_x</p:attrName>
                                          <p:attrName>ppt_y</p:attrName>
                                        </p:attrNameLst>
                                      </p:cBhvr>
                                      <p:rCtr x="859" y="0"/>
                                    </p:animMotion>
                                  </p:childTnLst>
                                </p:cTn>
                              </p:par>
                              <p:par>
                                <p:cTn id="66" presetID="10" presetClass="entr" presetSubtype="0" fill="hold" grpId="0" nodeType="withEffect">
                                  <p:stCondLst>
                                    <p:cond delay="1000"/>
                                  </p:stCondLst>
                                  <p:childTnLst>
                                    <p:set>
                                      <p:cBhvr>
                                        <p:cTn id="67" dur="1" fill="hold">
                                          <p:stCondLst>
                                            <p:cond delay="0"/>
                                          </p:stCondLst>
                                        </p:cTn>
                                        <p:tgtEl>
                                          <p:spTgt spid="69"/>
                                        </p:tgtEl>
                                        <p:attrNameLst>
                                          <p:attrName>style.visibility</p:attrName>
                                        </p:attrNameLst>
                                      </p:cBhvr>
                                      <p:to>
                                        <p:strVal val="visible"/>
                                      </p:to>
                                    </p:set>
                                    <p:animEffect transition="in" filter="fade">
                                      <p:cBhvr>
                                        <p:cTn id="68" dur="250"/>
                                        <p:tgtEl>
                                          <p:spTgt spid="69"/>
                                        </p:tgtEl>
                                      </p:cBhvr>
                                    </p:animEffect>
                                  </p:childTnLst>
                                </p:cTn>
                              </p:par>
                              <p:par>
                                <p:cTn id="69" presetID="42" presetClass="path" presetSubtype="0" decel="100000" fill="hold" grpId="1" nodeType="withEffect">
                                  <p:stCondLst>
                                    <p:cond delay="1000"/>
                                  </p:stCondLst>
                                  <p:childTnLst>
                                    <p:animMotion origin="layout" path="M 0.01666 -0.00046 L 3.75E-6 1.85185E-6 " pathEditMode="relative" rAng="0" ptsTypes="AA">
                                      <p:cBhvr>
                                        <p:cTn id="70" dur="500" fill="hold"/>
                                        <p:tgtEl>
                                          <p:spTgt spid="69"/>
                                        </p:tgtEl>
                                        <p:attrNameLst>
                                          <p:attrName>ppt_x</p:attrName>
                                          <p:attrName>ppt_y</p:attrName>
                                        </p:attrNameLst>
                                      </p:cBhvr>
                                      <p:rCtr x="-833" y="23"/>
                                    </p:animMotion>
                                  </p:childTnLst>
                                </p:cTn>
                              </p:par>
                              <p:par>
                                <p:cTn id="71" presetID="6" presetClass="entr" presetSubtype="32" fill="hold" grpId="0" nodeType="withEffect">
                                  <p:stCondLst>
                                    <p:cond delay="1000"/>
                                  </p:stCondLst>
                                  <p:childTnLst>
                                    <p:set>
                                      <p:cBhvr>
                                        <p:cTn id="72" dur="1" fill="hold">
                                          <p:stCondLst>
                                            <p:cond delay="0"/>
                                          </p:stCondLst>
                                        </p:cTn>
                                        <p:tgtEl>
                                          <p:spTgt spid="55"/>
                                        </p:tgtEl>
                                        <p:attrNameLst>
                                          <p:attrName>style.visibility</p:attrName>
                                        </p:attrNameLst>
                                      </p:cBhvr>
                                      <p:to>
                                        <p:strVal val="visible"/>
                                      </p:to>
                                    </p:set>
                                    <p:animEffect transition="in" filter="circle(out)">
                                      <p:cBhvr>
                                        <p:cTn id="73" dur="250"/>
                                        <p:tgtEl>
                                          <p:spTgt spid="55"/>
                                        </p:tgtEl>
                                      </p:cBhvr>
                                    </p:animEffect>
                                  </p:childTnLst>
                                </p:cTn>
                              </p:par>
                              <p:par>
                                <p:cTn id="74" presetID="6" presetClass="emph" presetSubtype="0" accel="47000" decel="47000" autoRev="1" fill="hold" grpId="1" nodeType="withEffect">
                                  <p:stCondLst>
                                    <p:cond delay="1000"/>
                                  </p:stCondLst>
                                  <p:childTnLst>
                                    <p:animScale>
                                      <p:cBhvr>
                                        <p:cTn id="75" dur="250" fill="hold"/>
                                        <p:tgtEl>
                                          <p:spTgt spid="55"/>
                                        </p:tgtEl>
                                      </p:cBhvr>
                                      <p:by x="110000" y="110000"/>
                                    </p:animScale>
                                  </p:childTnLst>
                                </p:cTn>
                              </p:par>
                              <p:par>
                                <p:cTn id="76" presetID="10" presetClass="entr" presetSubtype="0" fill="hold" grpId="0" nodeType="withEffect">
                                  <p:stCondLst>
                                    <p:cond delay="1000"/>
                                  </p:stCondLst>
                                  <p:childTnLst>
                                    <p:set>
                                      <p:cBhvr>
                                        <p:cTn id="77" dur="1" fill="hold">
                                          <p:stCondLst>
                                            <p:cond delay="0"/>
                                          </p:stCondLst>
                                        </p:cTn>
                                        <p:tgtEl>
                                          <p:spTgt spid="28"/>
                                        </p:tgtEl>
                                        <p:attrNameLst>
                                          <p:attrName>style.visibility</p:attrName>
                                        </p:attrNameLst>
                                      </p:cBhvr>
                                      <p:to>
                                        <p:strVal val="visible"/>
                                      </p:to>
                                    </p:set>
                                    <p:animEffect transition="in" filter="fade">
                                      <p:cBhvr>
                                        <p:cTn id="78" dur="500"/>
                                        <p:tgtEl>
                                          <p:spTgt spid="28"/>
                                        </p:tgtEl>
                                      </p:cBhvr>
                                    </p:animEffect>
                                  </p:childTnLst>
                                </p:cTn>
                              </p:par>
                            </p:childTnLst>
                          </p:cTn>
                        </p:par>
                        <p:par>
                          <p:cTn id="79" fill="hold">
                            <p:stCondLst>
                              <p:cond delay="4500"/>
                            </p:stCondLst>
                            <p:childTnLst>
                              <p:par>
                                <p:cTn id="80" presetID="10" presetClass="entr" presetSubtype="0" fill="hold" grpId="0" nodeType="afterEffect">
                                  <p:stCondLst>
                                    <p:cond delay="0"/>
                                  </p:stCondLst>
                                  <p:childTnLst>
                                    <p:set>
                                      <p:cBhvr>
                                        <p:cTn id="81" dur="1" fill="hold">
                                          <p:stCondLst>
                                            <p:cond delay="0"/>
                                          </p:stCondLst>
                                        </p:cTn>
                                        <p:tgtEl>
                                          <p:spTgt spid="72"/>
                                        </p:tgtEl>
                                        <p:attrNameLst>
                                          <p:attrName>style.visibility</p:attrName>
                                        </p:attrNameLst>
                                      </p:cBhvr>
                                      <p:to>
                                        <p:strVal val="visible"/>
                                      </p:to>
                                    </p:set>
                                    <p:animEffect transition="in" filter="fade">
                                      <p:cBhvr>
                                        <p:cTn id="82" dur="500"/>
                                        <p:tgtEl>
                                          <p:spTgt spid="72"/>
                                        </p:tgtEl>
                                      </p:cBhvr>
                                    </p:animEffect>
                                  </p:childTnLst>
                                </p:cTn>
                              </p:par>
                              <p:par>
                                <p:cTn id="83" presetID="17" presetClass="entr" presetSubtype="10" fill="hold" grpId="0" nodeType="withEffect">
                                  <p:stCondLst>
                                    <p:cond delay="250"/>
                                  </p:stCondLst>
                                  <p:iterate type="lt">
                                    <p:tmPct val="10000"/>
                                  </p:iterate>
                                  <p:childTnLst>
                                    <p:set>
                                      <p:cBhvr>
                                        <p:cTn id="84" dur="1" fill="hold">
                                          <p:stCondLst>
                                            <p:cond delay="0"/>
                                          </p:stCondLst>
                                        </p:cTn>
                                        <p:tgtEl>
                                          <p:spTgt spid="70"/>
                                        </p:tgtEl>
                                        <p:attrNameLst>
                                          <p:attrName>style.visibility</p:attrName>
                                        </p:attrNameLst>
                                      </p:cBhvr>
                                      <p:to>
                                        <p:strVal val="visible"/>
                                      </p:to>
                                    </p:set>
                                    <p:anim calcmode="lin" valueType="num">
                                      <p:cBhvr>
                                        <p:cTn id="85" dur="500" fill="hold"/>
                                        <p:tgtEl>
                                          <p:spTgt spid="70"/>
                                        </p:tgtEl>
                                        <p:attrNameLst>
                                          <p:attrName>ppt_w</p:attrName>
                                        </p:attrNameLst>
                                      </p:cBhvr>
                                      <p:tavLst>
                                        <p:tav tm="0">
                                          <p:val>
                                            <p:fltVal val="0"/>
                                          </p:val>
                                        </p:tav>
                                        <p:tav tm="100000">
                                          <p:val>
                                            <p:strVal val="#ppt_w"/>
                                          </p:val>
                                        </p:tav>
                                      </p:tavLst>
                                    </p:anim>
                                    <p:anim calcmode="lin" valueType="num">
                                      <p:cBhvr>
                                        <p:cTn id="86" dur="500" fill="hold"/>
                                        <p:tgtEl>
                                          <p:spTgt spid="70"/>
                                        </p:tgtEl>
                                        <p:attrNameLst>
                                          <p:attrName>ppt_h</p:attrName>
                                        </p:attrNameLst>
                                      </p:cBhvr>
                                      <p:tavLst>
                                        <p:tav tm="0">
                                          <p:val>
                                            <p:strVal val="#ppt_h"/>
                                          </p:val>
                                        </p:tav>
                                        <p:tav tm="100000">
                                          <p:val>
                                            <p:strVal val="#ppt_h"/>
                                          </p:val>
                                        </p:tav>
                                      </p:tavLst>
                                    </p:anim>
                                  </p:childTnLst>
                                </p:cTn>
                              </p:par>
                              <p:par>
                                <p:cTn id="87" presetID="10" presetClass="entr" presetSubtype="0" fill="hold" grpId="0" nodeType="withEffect">
                                  <p:stCondLst>
                                    <p:cond delay="500"/>
                                  </p:stCondLst>
                                  <p:childTnLst>
                                    <p:set>
                                      <p:cBhvr>
                                        <p:cTn id="88" dur="1" fill="hold">
                                          <p:stCondLst>
                                            <p:cond delay="0"/>
                                          </p:stCondLst>
                                        </p:cTn>
                                        <p:tgtEl>
                                          <p:spTgt spid="56"/>
                                        </p:tgtEl>
                                        <p:attrNameLst>
                                          <p:attrName>style.visibility</p:attrName>
                                        </p:attrNameLst>
                                      </p:cBhvr>
                                      <p:to>
                                        <p:strVal val="visible"/>
                                      </p:to>
                                    </p:set>
                                    <p:animEffect transition="in" filter="fade">
                                      <p:cBhvr>
                                        <p:cTn id="89" dur="500"/>
                                        <p:tgtEl>
                                          <p:spTgt spid="56"/>
                                        </p:tgtEl>
                                      </p:cBhvr>
                                    </p:animEffect>
                                  </p:childTnLst>
                                </p:cTn>
                              </p:par>
                              <p:par>
                                <p:cTn id="90" presetID="10" presetClass="entr" presetSubtype="0" fill="hold" nodeType="withEffect">
                                  <p:stCondLst>
                                    <p:cond delay="500"/>
                                  </p:stCondLst>
                                  <p:childTnLst>
                                    <p:set>
                                      <p:cBhvr>
                                        <p:cTn id="91" dur="1" fill="hold">
                                          <p:stCondLst>
                                            <p:cond delay="0"/>
                                          </p:stCondLst>
                                        </p:cTn>
                                        <p:tgtEl>
                                          <p:spTgt spid="75"/>
                                        </p:tgtEl>
                                        <p:attrNameLst>
                                          <p:attrName>style.visibility</p:attrName>
                                        </p:attrNameLst>
                                      </p:cBhvr>
                                      <p:to>
                                        <p:strVal val="visible"/>
                                      </p:to>
                                    </p:set>
                                    <p:animEffect transition="in" filter="fade">
                                      <p:cBhvr>
                                        <p:cTn id="92" dur="250"/>
                                        <p:tgtEl>
                                          <p:spTgt spid="75"/>
                                        </p:tgtEl>
                                      </p:cBhvr>
                                    </p:animEffect>
                                  </p:childTnLst>
                                </p:cTn>
                              </p:par>
                              <p:par>
                                <p:cTn id="93" presetID="42" presetClass="path" presetSubtype="0" decel="100000" fill="hold" nodeType="withEffect">
                                  <p:stCondLst>
                                    <p:cond delay="500"/>
                                  </p:stCondLst>
                                  <p:childTnLst>
                                    <p:animMotion origin="layout" path="M 0.01666 -0.00046 L 3.75E-6 1.85185E-6 " pathEditMode="relative" rAng="0" ptsTypes="AA">
                                      <p:cBhvr>
                                        <p:cTn id="94" dur="500" fill="hold"/>
                                        <p:tgtEl>
                                          <p:spTgt spid="75"/>
                                        </p:tgtEl>
                                        <p:attrNameLst>
                                          <p:attrName>ppt_x</p:attrName>
                                          <p:attrName>ppt_y</p:attrName>
                                        </p:attrNameLst>
                                      </p:cBhvr>
                                      <p:rCtr x="-833" y="23"/>
                                    </p:animMotion>
                                  </p:childTnLst>
                                </p:cTn>
                              </p:par>
                              <p:par>
                                <p:cTn id="95" presetID="10" presetClass="entr" presetSubtype="0" fill="hold" nodeType="withEffect">
                                  <p:stCondLst>
                                    <p:cond delay="1250"/>
                                  </p:stCondLst>
                                  <p:childTnLst>
                                    <p:set>
                                      <p:cBhvr>
                                        <p:cTn id="96" dur="1" fill="hold">
                                          <p:stCondLst>
                                            <p:cond delay="0"/>
                                          </p:stCondLst>
                                        </p:cTn>
                                        <p:tgtEl>
                                          <p:spTgt spid="89"/>
                                        </p:tgtEl>
                                        <p:attrNameLst>
                                          <p:attrName>style.visibility</p:attrName>
                                        </p:attrNameLst>
                                      </p:cBhvr>
                                      <p:to>
                                        <p:strVal val="visible"/>
                                      </p:to>
                                    </p:set>
                                    <p:animEffect transition="in" filter="fade">
                                      <p:cBhvr>
                                        <p:cTn id="97" dur="500"/>
                                        <p:tgtEl>
                                          <p:spTgt spid="89"/>
                                        </p:tgtEl>
                                      </p:cBhvr>
                                    </p:animEffect>
                                  </p:childTnLst>
                                </p:cTn>
                              </p:par>
                              <p:par>
                                <p:cTn id="98" presetID="6" presetClass="entr" presetSubtype="32" fill="hold" grpId="0" nodeType="withEffect">
                                  <p:stCondLst>
                                    <p:cond delay="1250"/>
                                  </p:stCondLst>
                                  <p:childTnLst>
                                    <p:set>
                                      <p:cBhvr>
                                        <p:cTn id="99" dur="1" fill="hold">
                                          <p:stCondLst>
                                            <p:cond delay="0"/>
                                          </p:stCondLst>
                                        </p:cTn>
                                        <p:tgtEl>
                                          <p:spTgt spid="86"/>
                                        </p:tgtEl>
                                        <p:attrNameLst>
                                          <p:attrName>style.visibility</p:attrName>
                                        </p:attrNameLst>
                                      </p:cBhvr>
                                      <p:to>
                                        <p:strVal val="visible"/>
                                      </p:to>
                                    </p:set>
                                    <p:animEffect transition="in" filter="circle(out)">
                                      <p:cBhvr>
                                        <p:cTn id="100" dur="250"/>
                                        <p:tgtEl>
                                          <p:spTgt spid="86"/>
                                        </p:tgtEl>
                                      </p:cBhvr>
                                    </p:animEffect>
                                  </p:childTnLst>
                                </p:cTn>
                              </p:par>
                              <p:par>
                                <p:cTn id="101" presetID="6" presetClass="emph" presetSubtype="0" accel="47000" decel="47000" autoRev="1" fill="hold" grpId="1" nodeType="withEffect">
                                  <p:stCondLst>
                                    <p:cond delay="1250"/>
                                  </p:stCondLst>
                                  <p:childTnLst>
                                    <p:animScale>
                                      <p:cBhvr>
                                        <p:cTn id="102" dur="250" fill="hold"/>
                                        <p:tgtEl>
                                          <p:spTgt spid="86"/>
                                        </p:tgtEl>
                                      </p:cBhvr>
                                      <p:by x="110000" y="110000"/>
                                    </p:animScale>
                                  </p:childTnLst>
                                </p:cTn>
                              </p:par>
                              <p:par>
                                <p:cTn id="103" presetID="10" presetClass="entr" presetSubtype="0" fill="hold" grpId="0" nodeType="withEffect">
                                  <p:stCondLst>
                                    <p:cond delay="1500"/>
                                  </p:stCondLst>
                                  <p:childTnLst>
                                    <p:set>
                                      <p:cBhvr>
                                        <p:cTn id="104" dur="1" fill="hold">
                                          <p:stCondLst>
                                            <p:cond delay="0"/>
                                          </p:stCondLst>
                                        </p:cTn>
                                        <p:tgtEl>
                                          <p:spTgt spid="90"/>
                                        </p:tgtEl>
                                        <p:attrNameLst>
                                          <p:attrName>style.visibility</p:attrName>
                                        </p:attrNameLst>
                                      </p:cBhvr>
                                      <p:to>
                                        <p:strVal val="visible"/>
                                      </p:to>
                                    </p:set>
                                    <p:animEffect transition="in" filter="fade">
                                      <p:cBhvr>
                                        <p:cTn id="105" dur="500"/>
                                        <p:tgtEl>
                                          <p:spTgt spid="90"/>
                                        </p:tgtEl>
                                      </p:cBhvr>
                                    </p:animEffect>
                                  </p:childTnLst>
                                </p:cTn>
                              </p:par>
                            </p:childTnLst>
                          </p:cTn>
                        </p:par>
                        <p:par>
                          <p:cTn id="106" fill="hold">
                            <p:stCondLst>
                              <p:cond delay="6500"/>
                            </p:stCondLst>
                            <p:childTnLst>
                              <p:par>
                                <p:cTn id="107" presetID="10" presetClass="entr" presetSubtype="0" fill="hold" grpId="0" nodeType="afterEffect">
                                  <p:stCondLst>
                                    <p:cond delay="0"/>
                                  </p:stCondLst>
                                  <p:childTnLst>
                                    <p:set>
                                      <p:cBhvr>
                                        <p:cTn id="108" dur="1" fill="hold">
                                          <p:stCondLst>
                                            <p:cond delay="0"/>
                                          </p:stCondLst>
                                        </p:cTn>
                                        <p:tgtEl>
                                          <p:spTgt spid="31"/>
                                        </p:tgtEl>
                                        <p:attrNameLst>
                                          <p:attrName>style.visibility</p:attrName>
                                        </p:attrNameLst>
                                      </p:cBhvr>
                                      <p:to>
                                        <p:strVal val="visible"/>
                                      </p:to>
                                    </p:set>
                                    <p:animEffect transition="in" filter="fade">
                                      <p:cBhvr>
                                        <p:cTn id="109" dur="500"/>
                                        <p:tgtEl>
                                          <p:spTgt spid="31"/>
                                        </p:tgtEl>
                                      </p:cBhvr>
                                    </p:animEffect>
                                  </p:childTnLst>
                                </p:cTn>
                              </p:par>
                              <p:par>
                                <p:cTn id="110" presetID="10" presetClass="entr" presetSubtype="0" fill="hold" nodeType="withEffect">
                                  <p:stCondLst>
                                    <p:cond delay="250"/>
                                  </p:stCondLst>
                                  <p:childTnLst>
                                    <p:set>
                                      <p:cBhvr>
                                        <p:cTn id="111" dur="1" fill="hold">
                                          <p:stCondLst>
                                            <p:cond delay="0"/>
                                          </p:stCondLst>
                                        </p:cTn>
                                        <p:tgtEl>
                                          <p:spTgt spid="96"/>
                                        </p:tgtEl>
                                        <p:attrNameLst>
                                          <p:attrName>style.visibility</p:attrName>
                                        </p:attrNameLst>
                                      </p:cBhvr>
                                      <p:to>
                                        <p:strVal val="visible"/>
                                      </p:to>
                                    </p:set>
                                    <p:animEffect transition="in" filter="fade">
                                      <p:cBhvr>
                                        <p:cTn id="112" dur="250"/>
                                        <p:tgtEl>
                                          <p:spTgt spid="96"/>
                                        </p:tgtEl>
                                      </p:cBhvr>
                                    </p:animEffect>
                                  </p:childTnLst>
                                </p:cTn>
                              </p:par>
                              <p:par>
                                <p:cTn id="113" presetID="42" presetClass="path" presetSubtype="0" decel="100000" fill="hold" nodeType="withEffect">
                                  <p:stCondLst>
                                    <p:cond delay="250"/>
                                  </p:stCondLst>
                                  <p:childTnLst>
                                    <p:animMotion origin="layout" path="M 1.25E-6 0.03888 L 1.25E-6 4.44444E-6 " pathEditMode="relative" rAng="0" ptsTypes="AA">
                                      <p:cBhvr>
                                        <p:cTn id="114" dur="500" fill="hold"/>
                                        <p:tgtEl>
                                          <p:spTgt spid="96"/>
                                        </p:tgtEl>
                                        <p:attrNameLst>
                                          <p:attrName>ppt_x</p:attrName>
                                          <p:attrName>ppt_y</p:attrName>
                                        </p:attrNameLst>
                                      </p:cBhvr>
                                      <p:rCtr x="0" y="-1944"/>
                                    </p:animMotion>
                                  </p:childTnLst>
                                </p:cTn>
                              </p:par>
                              <p:par>
                                <p:cTn id="115" presetID="10" presetClass="entr" presetSubtype="0" fill="hold" grpId="0" nodeType="withEffect">
                                  <p:stCondLst>
                                    <p:cond delay="500"/>
                                  </p:stCondLst>
                                  <p:childTnLst>
                                    <p:set>
                                      <p:cBhvr>
                                        <p:cTn id="116" dur="1" fill="hold">
                                          <p:stCondLst>
                                            <p:cond delay="0"/>
                                          </p:stCondLst>
                                        </p:cTn>
                                        <p:tgtEl>
                                          <p:spTgt spid="32"/>
                                        </p:tgtEl>
                                        <p:attrNameLst>
                                          <p:attrName>style.visibility</p:attrName>
                                        </p:attrNameLst>
                                      </p:cBhvr>
                                      <p:to>
                                        <p:strVal val="visible"/>
                                      </p:to>
                                    </p:set>
                                    <p:animEffect transition="in" filter="fade">
                                      <p:cBhvr>
                                        <p:cTn id="117" dur="500"/>
                                        <p:tgtEl>
                                          <p:spTgt spid="32"/>
                                        </p:tgtEl>
                                      </p:cBhvr>
                                    </p:animEffect>
                                  </p:childTnLst>
                                </p:cTn>
                              </p:par>
                            </p:childTnLst>
                          </p:cTn>
                        </p:par>
                        <p:par>
                          <p:cTn id="118" fill="hold">
                            <p:stCondLst>
                              <p:cond delay="7500"/>
                            </p:stCondLst>
                            <p:childTnLst>
                              <p:par>
                                <p:cTn id="119" presetID="10" presetClass="entr" presetSubtype="0" fill="hold" grpId="0" nodeType="afterEffect">
                                  <p:stCondLst>
                                    <p:cond delay="0"/>
                                  </p:stCondLst>
                                  <p:childTnLst>
                                    <p:set>
                                      <p:cBhvr>
                                        <p:cTn id="120" dur="1" fill="hold">
                                          <p:stCondLst>
                                            <p:cond delay="0"/>
                                          </p:stCondLst>
                                        </p:cTn>
                                        <p:tgtEl>
                                          <p:spTgt spid="44"/>
                                        </p:tgtEl>
                                        <p:attrNameLst>
                                          <p:attrName>style.visibility</p:attrName>
                                        </p:attrNameLst>
                                      </p:cBhvr>
                                      <p:to>
                                        <p:strVal val="visible"/>
                                      </p:to>
                                    </p:set>
                                    <p:animEffect transition="in" filter="fade">
                                      <p:cBhvr>
                                        <p:cTn id="121" dur="500"/>
                                        <p:tgtEl>
                                          <p:spTgt spid="44"/>
                                        </p:tgtEl>
                                      </p:cBhvr>
                                    </p:animEffect>
                                  </p:childTnLst>
                                </p:cTn>
                              </p:par>
                              <p:par>
                                <p:cTn id="122" presetID="21" presetClass="entr" presetSubtype="1" fill="hold" grpId="0" nodeType="withEffect">
                                  <p:stCondLst>
                                    <p:cond delay="0"/>
                                  </p:stCondLst>
                                  <p:childTnLst>
                                    <p:set>
                                      <p:cBhvr>
                                        <p:cTn id="123" dur="1" fill="hold">
                                          <p:stCondLst>
                                            <p:cond delay="0"/>
                                          </p:stCondLst>
                                        </p:cTn>
                                        <p:tgtEl>
                                          <p:spTgt spid="34"/>
                                        </p:tgtEl>
                                        <p:attrNameLst>
                                          <p:attrName>style.visibility</p:attrName>
                                        </p:attrNameLst>
                                      </p:cBhvr>
                                      <p:to>
                                        <p:strVal val="visible"/>
                                      </p:to>
                                    </p:set>
                                    <p:animEffect transition="in" filter="wheel(1)">
                                      <p:cBhvr>
                                        <p:cTn id="124" dur="750"/>
                                        <p:tgtEl>
                                          <p:spTgt spid="34"/>
                                        </p:tgtEl>
                                      </p:cBhvr>
                                    </p:animEffect>
                                  </p:childTnLst>
                                </p:cTn>
                              </p:par>
                              <p:par>
                                <p:cTn id="125" presetID="17" presetClass="entr" presetSubtype="10" fill="hold" grpId="0" nodeType="withEffect">
                                  <p:stCondLst>
                                    <p:cond delay="0"/>
                                  </p:stCondLst>
                                  <p:iterate type="lt">
                                    <p:tmPct val="10000"/>
                                  </p:iterate>
                                  <p:childTnLst>
                                    <p:set>
                                      <p:cBhvr>
                                        <p:cTn id="126" dur="1" fill="hold">
                                          <p:stCondLst>
                                            <p:cond delay="0"/>
                                          </p:stCondLst>
                                        </p:cTn>
                                        <p:tgtEl>
                                          <p:spTgt spid="35"/>
                                        </p:tgtEl>
                                        <p:attrNameLst>
                                          <p:attrName>style.visibility</p:attrName>
                                        </p:attrNameLst>
                                      </p:cBhvr>
                                      <p:to>
                                        <p:strVal val="visible"/>
                                      </p:to>
                                    </p:set>
                                    <p:anim calcmode="lin" valueType="num">
                                      <p:cBhvr>
                                        <p:cTn id="127" dur="500" fill="hold"/>
                                        <p:tgtEl>
                                          <p:spTgt spid="35"/>
                                        </p:tgtEl>
                                        <p:attrNameLst>
                                          <p:attrName>ppt_w</p:attrName>
                                        </p:attrNameLst>
                                      </p:cBhvr>
                                      <p:tavLst>
                                        <p:tav tm="0">
                                          <p:val>
                                            <p:fltVal val="0"/>
                                          </p:val>
                                        </p:tav>
                                        <p:tav tm="100000">
                                          <p:val>
                                            <p:strVal val="#ppt_w"/>
                                          </p:val>
                                        </p:tav>
                                      </p:tavLst>
                                    </p:anim>
                                    <p:anim calcmode="lin" valueType="num">
                                      <p:cBhvr>
                                        <p:cTn id="128" dur="500" fill="hold"/>
                                        <p:tgtEl>
                                          <p:spTgt spid="35"/>
                                        </p:tgtEl>
                                        <p:attrNameLst>
                                          <p:attrName>ppt_h</p:attrName>
                                        </p:attrNameLst>
                                      </p:cBhvr>
                                      <p:tavLst>
                                        <p:tav tm="0">
                                          <p:val>
                                            <p:strVal val="#ppt_h"/>
                                          </p:val>
                                        </p:tav>
                                        <p:tav tm="100000">
                                          <p:val>
                                            <p:strVal val="#ppt_h"/>
                                          </p:val>
                                        </p:tav>
                                      </p:tavLst>
                                    </p:anim>
                                  </p:childTnLst>
                                </p:cTn>
                              </p:par>
                              <p:par>
                                <p:cTn id="129" presetID="10" presetClass="entr" presetSubtype="0" fill="hold" grpId="0" nodeType="withEffect">
                                  <p:stCondLst>
                                    <p:cond delay="500"/>
                                  </p:stCondLst>
                                  <p:childTnLst>
                                    <p:set>
                                      <p:cBhvr>
                                        <p:cTn id="130" dur="1" fill="hold">
                                          <p:stCondLst>
                                            <p:cond delay="0"/>
                                          </p:stCondLst>
                                        </p:cTn>
                                        <p:tgtEl>
                                          <p:spTgt spid="36"/>
                                        </p:tgtEl>
                                        <p:attrNameLst>
                                          <p:attrName>style.visibility</p:attrName>
                                        </p:attrNameLst>
                                      </p:cBhvr>
                                      <p:to>
                                        <p:strVal val="visible"/>
                                      </p:to>
                                    </p:set>
                                    <p:animEffect transition="in" filter="fade">
                                      <p:cBhvr>
                                        <p:cTn id="131" dur="500"/>
                                        <p:tgtEl>
                                          <p:spTgt spid="36"/>
                                        </p:tgtEl>
                                      </p:cBhvr>
                                    </p:animEffect>
                                  </p:childTnLst>
                                </p:cTn>
                              </p:par>
                              <p:par>
                                <p:cTn id="132" presetID="10" presetClass="entr" presetSubtype="0" fill="hold" nodeType="withEffect">
                                  <p:stCondLst>
                                    <p:cond delay="1000"/>
                                  </p:stCondLst>
                                  <p:childTnLst>
                                    <p:set>
                                      <p:cBhvr>
                                        <p:cTn id="133" dur="1" fill="hold">
                                          <p:stCondLst>
                                            <p:cond delay="0"/>
                                          </p:stCondLst>
                                        </p:cTn>
                                        <p:tgtEl>
                                          <p:spTgt spid="93"/>
                                        </p:tgtEl>
                                        <p:attrNameLst>
                                          <p:attrName>style.visibility</p:attrName>
                                        </p:attrNameLst>
                                      </p:cBhvr>
                                      <p:to>
                                        <p:strVal val="visible"/>
                                      </p:to>
                                    </p:set>
                                    <p:animEffect transition="in" filter="fade">
                                      <p:cBhvr>
                                        <p:cTn id="134" dur="250"/>
                                        <p:tgtEl>
                                          <p:spTgt spid="93"/>
                                        </p:tgtEl>
                                      </p:cBhvr>
                                    </p:animEffect>
                                  </p:childTnLst>
                                </p:cTn>
                              </p:par>
                              <p:par>
                                <p:cTn id="135" presetID="42" presetClass="path" presetSubtype="0" decel="100000" fill="hold" nodeType="withEffect">
                                  <p:stCondLst>
                                    <p:cond delay="1000"/>
                                  </p:stCondLst>
                                  <p:childTnLst>
                                    <p:animMotion origin="layout" path="M 1.25E-6 0.03889 L 1.25E-6 1.85185E-6 " pathEditMode="relative" rAng="0" ptsTypes="AA">
                                      <p:cBhvr>
                                        <p:cTn id="136" dur="500" fill="hold"/>
                                        <p:tgtEl>
                                          <p:spTgt spid="93"/>
                                        </p:tgtEl>
                                        <p:attrNameLst>
                                          <p:attrName>ppt_x</p:attrName>
                                          <p:attrName>ppt_y</p:attrName>
                                        </p:attrNameLst>
                                      </p:cBhvr>
                                      <p:rCtr x="0" y="-1944"/>
                                    </p:animMotion>
                                  </p:childTnLst>
                                </p:cTn>
                              </p:par>
                              <p:par>
                                <p:cTn id="137" presetID="10" presetClass="entr" presetSubtype="0" fill="hold" grpId="0" nodeType="withEffect">
                                  <p:stCondLst>
                                    <p:cond delay="1250"/>
                                  </p:stCondLst>
                                  <p:childTnLst>
                                    <p:set>
                                      <p:cBhvr>
                                        <p:cTn id="138" dur="1" fill="hold">
                                          <p:stCondLst>
                                            <p:cond delay="0"/>
                                          </p:stCondLst>
                                        </p:cTn>
                                        <p:tgtEl>
                                          <p:spTgt spid="92"/>
                                        </p:tgtEl>
                                        <p:attrNameLst>
                                          <p:attrName>style.visibility</p:attrName>
                                        </p:attrNameLst>
                                      </p:cBhvr>
                                      <p:to>
                                        <p:strVal val="visible"/>
                                      </p:to>
                                    </p:set>
                                    <p:animEffect transition="in" filter="fade">
                                      <p:cBhvr>
                                        <p:cTn id="139" dur="500"/>
                                        <p:tgtEl>
                                          <p:spTgt spid="92"/>
                                        </p:tgtEl>
                                      </p:cBhvr>
                                    </p:animEffect>
                                  </p:childTnLst>
                                </p:cTn>
                              </p:par>
                              <p:par>
                                <p:cTn id="140" presetID="17" presetClass="entr" presetSubtype="10" fill="hold" grpId="0" nodeType="withEffect">
                                  <p:stCondLst>
                                    <p:cond delay="1250"/>
                                  </p:stCondLst>
                                  <p:iterate type="lt">
                                    <p:tmPct val="10000"/>
                                  </p:iterate>
                                  <p:childTnLst>
                                    <p:set>
                                      <p:cBhvr>
                                        <p:cTn id="141" dur="1" fill="hold">
                                          <p:stCondLst>
                                            <p:cond delay="0"/>
                                          </p:stCondLst>
                                        </p:cTn>
                                        <p:tgtEl>
                                          <p:spTgt spid="91"/>
                                        </p:tgtEl>
                                        <p:attrNameLst>
                                          <p:attrName>style.visibility</p:attrName>
                                        </p:attrNameLst>
                                      </p:cBhvr>
                                      <p:to>
                                        <p:strVal val="visible"/>
                                      </p:to>
                                    </p:set>
                                    <p:anim calcmode="lin" valueType="num">
                                      <p:cBhvr>
                                        <p:cTn id="142" dur="500" fill="hold"/>
                                        <p:tgtEl>
                                          <p:spTgt spid="91"/>
                                        </p:tgtEl>
                                        <p:attrNameLst>
                                          <p:attrName>ppt_w</p:attrName>
                                        </p:attrNameLst>
                                      </p:cBhvr>
                                      <p:tavLst>
                                        <p:tav tm="0">
                                          <p:val>
                                            <p:fltVal val="0"/>
                                          </p:val>
                                        </p:tav>
                                        <p:tav tm="100000">
                                          <p:val>
                                            <p:strVal val="#ppt_w"/>
                                          </p:val>
                                        </p:tav>
                                      </p:tavLst>
                                    </p:anim>
                                    <p:anim calcmode="lin" valueType="num">
                                      <p:cBhvr>
                                        <p:cTn id="143" dur="500" fill="hold"/>
                                        <p:tgtEl>
                                          <p:spTgt spid="91"/>
                                        </p:tgtEl>
                                        <p:attrNameLst>
                                          <p:attrName>ppt_h</p:attrName>
                                        </p:attrNameLst>
                                      </p:cBhvr>
                                      <p:tavLst>
                                        <p:tav tm="0">
                                          <p:val>
                                            <p:strVal val="#ppt_h"/>
                                          </p:val>
                                        </p:tav>
                                        <p:tav tm="100000">
                                          <p:val>
                                            <p:strVal val="#ppt_h"/>
                                          </p:val>
                                        </p:tav>
                                      </p:tavLst>
                                    </p:anim>
                                  </p:childTnLst>
                                </p:cTn>
                              </p:par>
                              <p:par>
                                <p:cTn id="144" presetID="10" presetClass="entr" presetSubtype="0" fill="hold" grpId="0" nodeType="withEffect">
                                  <p:stCondLst>
                                    <p:cond delay="2000"/>
                                  </p:stCondLst>
                                  <p:childTnLst>
                                    <p:set>
                                      <p:cBhvr>
                                        <p:cTn id="145" dur="1" fill="hold">
                                          <p:stCondLst>
                                            <p:cond delay="0"/>
                                          </p:stCondLst>
                                        </p:cTn>
                                        <p:tgtEl>
                                          <p:spTgt spid="15"/>
                                        </p:tgtEl>
                                        <p:attrNameLst>
                                          <p:attrName>style.visibility</p:attrName>
                                        </p:attrNameLst>
                                      </p:cBhvr>
                                      <p:to>
                                        <p:strVal val="visible"/>
                                      </p:to>
                                    </p:set>
                                    <p:animEffect transition="in" filter="fade">
                                      <p:cBhvr>
                                        <p:cTn id="146" dur="500"/>
                                        <p:tgtEl>
                                          <p:spTgt spid="15"/>
                                        </p:tgtEl>
                                      </p:cBhvr>
                                    </p:animEffect>
                                  </p:childTnLst>
                                </p:cTn>
                              </p:par>
                              <p:par>
                                <p:cTn id="147" presetID="10" presetClass="entr" presetSubtype="0" fill="hold" nodeType="withEffect">
                                  <p:stCondLst>
                                    <p:cond delay="2250"/>
                                  </p:stCondLst>
                                  <p:childTnLst>
                                    <p:set>
                                      <p:cBhvr>
                                        <p:cTn id="148" dur="1" fill="hold">
                                          <p:stCondLst>
                                            <p:cond delay="0"/>
                                          </p:stCondLst>
                                        </p:cTn>
                                        <p:tgtEl>
                                          <p:spTgt spid="16"/>
                                        </p:tgtEl>
                                        <p:attrNameLst>
                                          <p:attrName>style.visibility</p:attrName>
                                        </p:attrNameLst>
                                      </p:cBhvr>
                                      <p:to>
                                        <p:strVal val="visible"/>
                                      </p:to>
                                    </p:set>
                                    <p:animEffect transition="in" filter="fade">
                                      <p:cBhvr>
                                        <p:cTn id="149" dur="250"/>
                                        <p:tgtEl>
                                          <p:spTgt spid="16"/>
                                        </p:tgtEl>
                                      </p:cBhvr>
                                    </p:animEffect>
                                  </p:childTnLst>
                                </p:cTn>
                              </p:par>
                              <p:par>
                                <p:cTn id="150" presetID="42" presetClass="path" presetSubtype="0" decel="100000" fill="hold" nodeType="withEffect">
                                  <p:stCondLst>
                                    <p:cond delay="2250"/>
                                  </p:stCondLst>
                                  <p:childTnLst>
                                    <p:animMotion origin="layout" path="M 0.01667 -0.00046 L -4.58333E-6 1.85185E-6 " pathEditMode="relative" rAng="0" ptsTypes="AA">
                                      <p:cBhvr>
                                        <p:cTn id="151" dur="500" fill="hold"/>
                                        <p:tgtEl>
                                          <p:spTgt spid="16"/>
                                        </p:tgtEl>
                                        <p:attrNameLst>
                                          <p:attrName>ppt_x</p:attrName>
                                          <p:attrName>ppt_y</p:attrName>
                                        </p:attrNameLst>
                                      </p:cBhvr>
                                      <p:rCtr x="-833" y="23"/>
                                    </p:animMotion>
                                  </p:childTnLst>
                                </p:cTn>
                              </p:par>
                              <p:par>
                                <p:cTn id="152" presetID="17" presetClass="entr" presetSubtype="10" fill="hold" grpId="0" nodeType="withEffect">
                                  <p:stCondLst>
                                    <p:cond delay="3000"/>
                                  </p:stCondLst>
                                  <p:iterate type="lt">
                                    <p:tmPct val="10000"/>
                                  </p:iterate>
                                  <p:childTnLst>
                                    <p:set>
                                      <p:cBhvr>
                                        <p:cTn id="153" dur="1" fill="hold">
                                          <p:stCondLst>
                                            <p:cond delay="0"/>
                                          </p:stCondLst>
                                        </p:cTn>
                                        <p:tgtEl>
                                          <p:spTgt spid="13"/>
                                        </p:tgtEl>
                                        <p:attrNameLst>
                                          <p:attrName>style.visibility</p:attrName>
                                        </p:attrNameLst>
                                      </p:cBhvr>
                                      <p:to>
                                        <p:strVal val="visible"/>
                                      </p:to>
                                    </p:set>
                                    <p:anim calcmode="lin" valueType="num">
                                      <p:cBhvr>
                                        <p:cTn id="154" dur="500" fill="hold"/>
                                        <p:tgtEl>
                                          <p:spTgt spid="13"/>
                                        </p:tgtEl>
                                        <p:attrNameLst>
                                          <p:attrName>ppt_w</p:attrName>
                                        </p:attrNameLst>
                                      </p:cBhvr>
                                      <p:tavLst>
                                        <p:tav tm="0">
                                          <p:val>
                                            <p:fltVal val="0"/>
                                          </p:val>
                                        </p:tav>
                                        <p:tav tm="100000">
                                          <p:val>
                                            <p:strVal val="#ppt_w"/>
                                          </p:val>
                                        </p:tav>
                                      </p:tavLst>
                                    </p:anim>
                                    <p:anim calcmode="lin" valueType="num">
                                      <p:cBhvr>
                                        <p:cTn id="155" dur="500" fill="hold"/>
                                        <p:tgtEl>
                                          <p:spTgt spid="13"/>
                                        </p:tgtEl>
                                        <p:attrNameLst>
                                          <p:attrName>ppt_h</p:attrName>
                                        </p:attrNameLst>
                                      </p:cBhvr>
                                      <p:tavLst>
                                        <p:tav tm="0">
                                          <p:val>
                                            <p:strVal val="#ppt_h"/>
                                          </p:val>
                                        </p:tav>
                                        <p:tav tm="100000">
                                          <p:val>
                                            <p:strVal val="#ppt_h"/>
                                          </p:val>
                                        </p:tav>
                                      </p:tavLst>
                                    </p:anim>
                                  </p:childTnLst>
                                </p:cTn>
                              </p:par>
                              <p:par>
                                <p:cTn id="156" presetID="10" presetClass="entr" presetSubtype="0" fill="hold" grpId="0" nodeType="withEffect">
                                  <p:stCondLst>
                                    <p:cond delay="3300"/>
                                  </p:stCondLst>
                                  <p:childTnLst>
                                    <p:set>
                                      <p:cBhvr>
                                        <p:cTn id="157" dur="1" fill="hold">
                                          <p:stCondLst>
                                            <p:cond delay="0"/>
                                          </p:stCondLst>
                                        </p:cTn>
                                        <p:tgtEl>
                                          <p:spTgt spid="14"/>
                                        </p:tgtEl>
                                        <p:attrNameLst>
                                          <p:attrName>style.visibility</p:attrName>
                                        </p:attrNameLst>
                                      </p:cBhvr>
                                      <p:to>
                                        <p:strVal val="visible"/>
                                      </p:to>
                                    </p:set>
                                    <p:animEffect transition="in" filter="fade">
                                      <p:cBhvr>
                                        <p:cTn id="15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P spid="9" grpId="0"/>
      <p:bldP spid="11" grpId="0"/>
      <p:bldP spid="27" grpId="0"/>
      <p:bldP spid="28" grpId="0"/>
      <p:bldP spid="31" grpId="0"/>
      <p:bldP spid="32" grpId="0"/>
      <p:bldGraphic spid="34" grpId="0">
        <p:bldAsOne/>
      </p:bldGraphic>
      <p:bldP spid="35" grpId="0"/>
      <p:bldP spid="36" grpId="0"/>
      <p:bldP spid="44" grpId="0"/>
      <p:bldP spid="54" grpId="0" animBg="1"/>
      <p:bldP spid="54" grpId="1" animBg="1"/>
      <p:bldP spid="55" grpId="0" animBg="1"/>
      <p:bldP spid="55" grpId="1" animBg="1"/>
      <p:bldP spid="56" grpId="0"/>
      <p:bldP spid="68" grpId="0" animBg="1"/>
      <p:bldP spid="68" grpId="1" animBg="1"/>
      <p:bldP spid="69" grpId="0" animBg="1"/>
      <p:bldP spid="69" grpId="1" animBg="1"/>
      <p:bldP spid="70" grpId="0"/>
      <p:bldP spid="72" grpId="0"/>
      <p:bldP spid="86" grpId="0" animBg="1"/>
      <p:bldP spid="86" grpId="1" animBg="1"/>
      <p:bldP spid="90" grpId="0"/>
      <p:bldP spid="91" grpId="0"/>
      <p:bldP spid="92" grpId="0"/>
      <p:bldP spid="15" grpId="0"/>
      <p:bldP spid="13" grpId="0"/>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Master Slide Dark Green">
  <a:themeElements>
    <a:clrScheme name="IDH 2022">
      <a:dk1>
        <a:srgbClr val="00615F"/>
      </a:dk1>
      <a:lt1>
        <a:srgbClr val="FFFFFF"/>
      </a:lt1>
      <a:dk2>
        <a:srgbClr val="00615F"/>
      </a:dk2>
      <a:lt2>
        <a:srgbClr val="FFFFFF"/>
      </a:lt2>
      <a:accent1>
        <a:srgbClr val="00615F"/>
      </a:accent1>
      <a:accent2>
        <a:srgbClr val="47D985"/>
      </a:accent2>
      <a:accent3>
        <a:srgbClr val="FF5D00"/>
      </a:accent3>
      <a:accent4>
        <a:srgbClr val="FFC505"/>
      </a:accent4>
      <a:accent5>
        <a:srgbClr val="0098FF"/>
      </a:accent5>
      <a:accent6>
        <a:srgbClr val="78321E"/>
      </a:accent6>
      <a:hlink>
        <a:srgbClr val="47D985"/>
      </a:hlink>
      <a:folHlink>
        <a:srgbClr val="50F79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ctr">
        <a:noAutofit/>
      </a:bodyPr>
      <a:lstStyle>
        <a:defPPr algn="ctr">
          <a:defRPr sz="1400" dirty="0" err="1" smtClean="0">
            <a:solidFill>
              <a:srgbClr val="00625F"/>
            </a:solidFill>
            <a:cs typeface="Arial" panose="020B0604020202020204" pitchFamily="34" charset="0"/>
          </a:defRPr>
        </a:defPPr>
      </a:lstStyle>
    </a:txDef>
  </a:objectDefaults>
  <a:extraClrSchemeLst/>
  <a:extLst>
    <a:ext uri="{05A4C25C-085E-4340-85A3-A5531E510DB2}">
      <thm15:themeFamily xmlns:thm15="http://schemas.microsoft.com/office/thememl/2012/main" name="IDH_PPT_Master_5.3" id="{2A1312F6-07B4-B244-8557-797A27295401}" vid="{9179B3D6-F7A4-5947-8F20-B40843203BF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ster Slide White">
  <a:themeElements>
    <a:clrScheme name="IDH Brand">
      <a:dk1>
        <a:srgbClr val="00615F"/>
      </a:dk1>
      <a:lt1>
        <a:srgbClr val="FFFFFF"/>
      </a:lt1>
      <a:dk2>
        <a:srgbClr val="00615F"/>
      </a:dk2>
      <a:lt2>
        <a:srgbClr val="FFFFFF"/>
      </a:lt2>
      <a:accent1>
        <a:srgbClr val="00615F"/>
      </a:accent1>
      <a:accent2>
        <a:srgbClr val="47D985"/>
      </a:accent2>
      <a:accent3>
        <a:srgbClr val="FF5D00"/>
      </a:accent3>
      <a:accent4>
        <a:srgbClr val="FFC505"/>
      </a:accent4>
      <a:accent5>
        <a:srgbClr val="0098FF"/>
      </a:accent5>
      <a:accent6>
        <a:srgbClr val="78321E"/>
      </a:accent6>
      <a:hlink>
        <a:srgbClr val="47D985"/>
      </a:hlink>
      <a:folHlink>
        <a:srgbClr val="50F79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effectLst>
          <a:outerShdw blurRad="254000" algn="ctr" rotWithShape="0">
            <a:prstClr val="black">
              <a:alpha val="20000"/>
            </a:prstClr>
          </a:outerShdw>
        </a:effectLst>
      </a:spPr>
      <a:bodyPr rtlCol="0" anchor="ctr"/>
      <a:lstStyle>
        <a:defPPr algn="ctr">
          <a:spcAft>
            <a:spcPts val="600"/>
          </a:spcAft>
          <a:defRPr sz="1400" dirty="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algn="l">
          <a:spcAft>
            <a:spcPts val="600"/>
          </a:spcAft>
          <a:buClr>
            <a:schemeClr val="accent2"/>
          </a:buClr>
          <a:defRPr sz="1400" dirty="0" err="1" smtClean="0">
            <a:cs typeface="Arial" panose="020B0604020202020204" pitchFamily="34" charset="0"/>
          </a:defRPr>
        </a:defPPr>
      </a:lstStyle>
    </a:txDef>
  </a:objectDefaults>
  <a:extraClrSchemeLst/>
  <a:extLst>
    <a:ext uri="{05A4C25C-085E-4340-85A3-A5531E510DB2}">
      <thm15:themeFamily xmlns:thm15="http://schemas.microsoft.com/office/thememl/2012/main" name="IDH_PPT_Master_5.3" id="{2A1312F6-07B4-B244-8557-797A27295401}" vid="{D9809C81-9333-B746-B937-80B0D402E77A}"/>
    </a:ext>
  </a:extLst>
</a:theme>
</file>

<file path=ppt/theme/theme3.xml><?xml version="1.0" encoding="utf-8"?>
<a:theme xmlns:a="http://schemas.openxmlformats.org/drawingml/2006/main" name="Master Slide Light Green">
  <a:themeElements>
    <a:clrScheme name="IDH 2022">
      <a:dk1>
        <a:srgbClr val="00615F"/>
      </a:dk1>
      <a:lt1>
        <a:srgbClr val="FFFFFF"/>
      </a:lt1>
      <a:dk2>
        <a:srgbClr val="00615F"/>
      </a:dk2>
      <a:lt2>
        <a:srgbClr val="FFFFFF"/>
      </a:lt2>
      <a:accent1>
        <a:srgbClr val="00615F"/>
      </a:accent1>
      <a:accent2>
        <a:srgbClr val="47D985"/>
      </a:accent2>
      <a:accent3>
        <a:srgbClr val="FF5D00"/>
      </a:accent3>
      <a:accent4>
        <a:srgbClr val="FFC505"/>
      </a:accent4>
      <a:accent5>
        <a:srgbClr val="0098FF"/>
      </a:accent5>
      <a:accent6>
        <a:srgbClr val="78321E"/>
      </a:accent6>
      <a:hlink>
        <a:srgbClr val="47D985"/>
      </a:hlink>
      <a:folHlink>
        <a:srgbClr val="50F79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tlCol="0">
        <a:spAutoFit/>
      </a:bodyPr>
      <a:lstStyle>
        <a:defPPr algn="l">
          <a:defRPr b="0" i="0"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IDH_PPT_Master_5.3" id="{2A1312F6-07B4-B244-8557-797A27295401}" vid="{06088CCE-3714-A549-A08F-E5E12C043F46}"/>
    </a:ext>
  </a:extLst>
</a:theme>
</file>

<file path=ppt/theme/theme4.xml><?xml version="1.0" encoding="utf-8"?>
<a:theme xmlns:a="http://schemas.openxmlformats.org/drawingml/2006/main" name="1_Master Slide White">
  <a:themeElements>
    <a:clrScheme name="IDH Brand">
      <a:dk1>
        <a:srgbClr val="00615F"/>
      </a:dk1>
      <a:lt1>
        <a:srgbClr val="FFFFFF"/>
      </a:lt1>
      <a:dk2>
        <a:srgbClr val="00615F"/>
      </a:dk2>
      <a:lt2>
        <a:srgbClr val="FFFFFF"/>
      </a:lt2>
      <a:accent1>
        <a:srgbClr val="00615F"/>
      </a:accent1>
      <a:accent2>
        <a:srgbClr val="47D985"/>
      </a:accent2>
      <a:accent3>
        <a:srgbClr val="FF5D00"/>
      </a:accent3>
      <a:accent4>
        <a:srgbClr val="FFC505"/>
      </a:accent4>
      <a:accent5>
        <a:srgbClr val="0098FF"/>
      </a:accent5>
      <a:accent6>
        <a:srgbClr val="78321E"/>
      </a:accent6>
      <a:hlink>
        <a:srgbClr val="47D985"/>
      </a:hlink>
      <a:folHlink>
        <a:srgbClr val="50F79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oAutofit/>
      </a:bodyPr>
      <a:lstStyle>
        <a:defPPr algn="l">
          <a:spcAft>
            <a:spcPts val="600"/>
          </a:spcAft>
          <a:buClr>
            <a:schemeClr val="accent2"/>
          </a:buClr>
          <a:defRPr sz="1400"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IDH_PPT_Master_5.0" id="{A6320718-3477-C84B-845C-D40587A1EEE4}" vid="{E9798103-0DEA-E84B-82D3-AA1D20F8418F}"/>
    </a:ext>
  </a:extLst>
</a:theme>
</file>

<file path=ppt/theme/theme5.xml><?xml version="1.0" encoding="utf-8"?>
<a:theme xmlns:a="http://schemas.openxmlformats.org/drawingml/2006/main" name="2_Master Slide Dark Green">
  <a:themeElements>
    <a:clrScheme name="IDH 2022">
      <a:dk1>
        <a:srgbClr val="00615F"/>
      </a:dk1>
      <a:lt1>
        <a:srgbClr val="FFFFFF"/>
      </a:lt1>
      <a:dk2>
        <a:srgbClr val="00615F"/>
      </a:dk2>
      <a:lt2>
        <a:srgbClr val="FFFFFF"/>
      </a:lt2>
      <a:accent1>
        <a:srgbClr val="00615F"/>
      </a:accent1>
      <a:accent2>
        <a:srgbClr val="47D985"/>
      </a:accent2>
      <a:accent3>
        <a:srgbClr val="FF5D00"/>
      </a:accent3>
      <a:accent4>
        <a:srgbClr val="FFC505"/>
      </a:accent4>
      <a:accent5>
        <a:srgbClr val="0098FF"/>
      </a:accent5>
      <a:accent6>
        <a:srgbClr val="78321E"/>
      </a:accent6>
      <a:hlink>
        <a:srgbClr val="47D985"/>
      </a:hlink>
      <a:folHlink>
        <a:srgbClr val="50F79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ctr">
        <a:noAutofit/>
      </a:bodyPr>
      <a:lstStyle>
        <a:defPPr algn="ctr">
          <a:defRPr sz="1400" dirty="0" err="1" smtClean="0">
            <a:solidFill>
              <a:srgbClr val="00625F"/>
            </a:solidFill>
            <a:cs typeface="Arial" panose="020B0604020202020204" pitchFamily="34" charset="0"/>
          </a:defRPr>
        </a:defPPr>
      </a:lstStyle>
    </a:txDef>
  </a:objectDefaults>
  <a:extraClrSchemeLst/>
  <a:extLst>
    <a:ext uri="{05A4C25C-085E-4340-85A3-A5531E510DB2}">
      <thm15:themeFamily xmlns:thm15="http://schemas.microsoft.com/office/thememl/2012/main" name="IDH_PPT_Master_5.3" id="{2A1312F6-07B4-B244-8557-797A27295401}" vid="{9179B3D6-F7A4-5947-8F20-B40843203BF6}"/>
    </a:ext>
  </a:extLst>
</a:theme>
</file>

<file path=ppt/theme/theme6.xml><?xml version="1.0" encoding="utf-8"?>
<a:theme xmlns:a="http://schemas.openxmlformats.org/drawingml/2006/main" name="1_Master Slide Dark Green">
  <a:themeElements>
    <a:clrScheme name="IDH 2022">
      <a:dk1>
        <a:srgbClr val="00615F"/>
      </a:dk1>
      <a:lt1>
        <a:srgbClr val="FFFFFF"/>
      </a:lt1>
      <a:dk2>
        <a:srgbClr val="00615F"/>
      </a:dk2>
      <a:lt2>
        <a:srgbClr val="FFFFFF"/>
      </a:lt2>
      <a:accent1>
        <a:srgbClr val="00615F"/>
      </a:accent1>
      <a:accent2>
        <a:srgbClr val="47D985"/>
      </a:accent2>
      <a:accent3>
        <a:srgbClr val="FF5D00"/>
      </a:accent3>
      <a:accent4>
        <a:srgbClr val="FFC505"/>
      </a:accent4>
      <a:accent5>
        <a:srgbClr val="0098FF"/>
      </a:accent5>
      <a:accent6>
        <a:srgbClr val="78321E"/>
      </a:accent6>
      <a:hlink>
        <a:srgbClr val="47D985"/>
      </a:hlink>
      <a:folHlink>
        <a:srgbClr val="50F79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defRPr sz="1400" dirty="0" err="1" smtClean="0">
            <a:solidFill>
              <a:srgbClr val="00625F"/>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IDH_PPT_Master_5.0" id="{A6320718-3477-C84B-845C-D40587A1EEE4}" vid="{7739D7A7-07E5-A446-A75B-150786F42E85}"/>
    </a:ext>
  </a:extLst>
</a:theme>
</file>

<file path=ppt/theme/theme7.xml><?xml version="1.0" encoding="utf-8"?>
<a:theme xmlns:a="http://schemas.openxmlformats.org/drawingml/2006/main" name="1_Master Slide Light Green">
  <a:themeElements>
    <a:clrScheme name="IDH_2023_3">
      <a:dk1>
        <a:srgbClr val="00615F"/>
      </a:dk1>
      <a:lt1>
        <a:srgbClr val="FFFFFF"/>
      </a:lt1>
      <a:dk2>
        <a:srgbClr val="47D985"/>
      </a:dk2>
      <a:lt2>
        <a:srgbClr val="FFFFFF"/>
      </a:lt2>
      <a:accent1>
        <a:srgbClr val="46D985"/>
      </a:accent1>
      <a:accent2>
        <a:srgbClr val="00615F"/>
      </a:accent2>
      <a:accent3>
        <a:srgbClr val="FF5D00"/>
      </a:accent3>
      <a:accent4>
        <a:srgbClr val="FFC505"/>
      </a:accent4>
      <a:accent5>
        <a:srgbClr val="0098FF"/>
      </a:accent5>
      <a:accent6>
        <a:srgbClr val="78321E"/>
      </a:accent6>
      <a:hlink>
        <a:srgbClr val="47D985"/>
      </a:hlink>
      <a:folHlink>
        <a:srgbClr val="50F79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sz="1400" dirty="0" err="1" smtClean="0">
            <a:solidFill>
              <a:srgbClr val="FFFFFF"/>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algn="l">
          <a:spcAft>
            <a:spcPts val="600"/>
          </a:spcAft>
          <a:buClr>
            <a:schemeClr val="bg1"/>
          </a:buCl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IDH_PPT_Master_26.5" id="{03EC5BC6-8B7C-404D-86D9-84BD3D17643E}" vid="{7A661E81-565E-FD43-AFD5-B2DB6ABF021E}"/>
    </a:ext>
  </a:extLst>
</a:theme>
</file>

<file path=ppt/theme/theme8.xml><?xml version="1.0" encoding="utf-8"?>
<a:theme xmlns:a="http://schemas.openxmlformats.org/drawingml/2006/main" name="3_Master Slide White">
  <a:themeElements>
    <a:clrScheme name="IDH">
      <a:dk1>
        <a:srgbClr val="00615F"/>
      </a:dk1>
      <a:lt1>
        <a:srgbClr val="FFFFFF"/>
      </a:lt1>
      <a:dk2>
        <a:srgbClr val="00615F"/>
      </a:dk2>
      <a:lt2>
        <a:srgbClr val="FFFFFF"/>
      </a:lt2>
      <a:accent1>
        <a:srgbClr val="00615F"/>
      </a:accent1>
      <a:accent2>
        <a:srgbClr val="47D985"/>
      </a:accent2>
      <a:accent3>
        <a:srgbClr val="0098FF"/>
      </a:accent3>
      <a:accent4>
        <a:srgbClr val="FFC505"/>
      </a:accent4>
      <a:accent5>
        <a:srgbClr val="FF5D00"/>
      </a:accent5>
      <a:accent6>
        <a:srgbClr val="78321E"/>
      </a:accent6>
      <a:hlink>
        <a:srgbClr val="47D985"/>
      </a:hlink>
      <a:folHlink>
        <a:srgbClr val="50F79A"/>
      </a:folHlink>
    </a:clrScheme>
    <a:fontScheme name="Aangepast 24">
      <a:majorFont>
        <a:latin typeface="Roc Grotesk"/>
        <a:ea typeface=""/>
        <a:cs typeface=""/>
      </a:majorFont>
      <a:minorFont>
        <a:latin typeface="Tablet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effectLst>
          <a:outerShdw blurRad="254000" algn="ctr" rotWithShape="0">
            <a:prstClr val="black">
              <a:alpha val="20000"/>
            </a:prstClr>
          </a:outerShdw>
        </a:effectLst>
      </a:spPr>
      <a:bodyPr rtlCol="0" anchor="ctr"/>
      <a:lstStyle>
        <a:defPPr algn="ctr">
          <a:spcAft>
            <a:spcPts val="600"/>
          </a:spcAft>
          <a:defRPr sz="1400" dirty="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algn="l">
          <a:spcAft>
            <a:spcPts val="600"/>
          </a:spcAft>
          <a:buClr>
            <a:schemeClr val="accent2"/>
          </a:buClr>
          <a:defRPr sz="1400" dirty="0" err="1" smtClean="0">
            <a:cs typeface="Arial" panose="020B0604020202020204" pitchFamily="34" charset="0"/>
          </a:defRPr>
        </a:defPPr>
      </a:lstStyle>
    </a:txDef>
  </a:objectDefaults>
  <a:extraClrSchemeLst/>
  <a:extLst>
    <a:ext uri="{05A4C25C-085E-4340-85A3-A5531E510DB2}">
      <thm15:themeFamily xmlns:thm15="http://schemas.microsoft.com/office/thememl/2012/main" name="IDH_PPT_Master_5.3" id="{2A1312F6-07B4-B244-8557-797A27295401}" vid="{D9809C81-9333-B746-B937-80B0D402E77A}"/>
    </a:ext>
  </a:extLst>
</a:theme>
</file>

<file path=ppt/theme/theme9.xml><?xml version="1.0" encoding="utf-8"?>
<a:theme xmlns:a="http://schemas.openxmlformats.org/drawingml/2006/main" name="3_Master Slide Light Green">
  <a:themeElements>
    <a:clrScheme name="IDH 2022">
      <a:dk1>
        <a:srgbClr val="00615F"/>
      </a:dk1>
      <a:lt1>
        <a:srgbClr val="FFFFFF"/>
      </a:lt1>
      <a:dk2>
        <a:srgbClr val="00615F"/>
      </a:dk2>
      <a:lt2>
        <a:srgbClr val="FFFFFF"/>
      </a:lt2>
      <a:accent1>
        <a:srgbClr val="00615F"/>
      </a:accent1>
      <a:accent2>
        <a:srgbClr val="47D985"/>
      </a:accent2>
      <a:accent3>
        <a:srgbClr val="FF5D00"/>
      </a:accent3>
      <a:accent4>
        <a:srgbClr val="FFC505"/>
      </a:accent4>
      <a:accent5>
        <a:srgbClr val="0098FF"/>
      </a:accent5>
      <a:accent6>
        <a:srgbClr val="78321E"/>
      </a:accent6>
      <a:hlink>
        <a:srgbClr val="47D985"/>
      </a:hlink>
      <a:folHlink>
        <a:srgbClr val="50F79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tlCol="0">
        <a:spAutoFit/>
      </a:bodyPr>
      <a:lstStyle>
        <a:defPPr algn="l">
          <a:defRPr b="0" i="0"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IDH_PPT_Master_5.3" id="{2A1312F6-07B4-B244-8557-797A27295401}" vid="{06088CCE-3714-A549-A08F-E5E12C043F4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a83fb05-25c4-4fe8-9c7d-8cc98df650b4" xsi:nil="true"/>
    <lcf76f155ced4ddcb4097134ff3c332f xmlns="33c911da-8f72-43e2-badc-18a595f02dc3">
      <Terms xmlns="http://schemas.microsoft.com/office/infopath/2007/PartnerControls"/>
    </lcf76f155ced4ddcb4097134ff3c332f>
    <What_x0020_is_x0020_this_x003f_ xmlns="33c911da-8f72-43e2-badc-18a595f02dc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734DBE5FED294FB9D4A23CB1B0D4A7" ma:contentTypeVersion="17" ma:contentTypeDescription="Create a new document." ma:contentTypeScope="" ma:versionID="42b5636a4d574a1ec4a8c959de487854">
  <xsd:schema xmlns:xsd="http://www.w3.org/2001/XMLSchema" xmlns:xs="http://www.w3.org/2001/XMLSchema" xmlns:p="http://schemas.microsoft.com/office/2006/metadata/properties" xmlns:ns2="33c911da-8f72-43e2-badc-18a595f02dc3" xmlns:ns3="b60d7bd4-6ed0-4db3-8fc3-5e93bd8d508a" xmlns:ns4="fa83fb05-25c4-4fe8-9c7d-8cc98df650b4" targetNamespace="http://schemas.microsoft.com/office/2006/metadata/properties" ma:root="true" ma:fieldsID="7148e82a8eecfaaf14e4fbacca1a7cf2" ns2:_="" ns3:_="" ns4:_="">
    <xsd:import namespace="33c911da-8f72-43e2-badc-18a595f02dc3"/>
    <xsd:import namespace="b60d7bd4-6ed0-4db3-8fc3-5e93bd8d508a"/>
    <xsd:import namespace="fa83fb05-25c4-4fe8-9c7d-8cc98df650b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2:What_x0020_is_x0020_this_x003f_"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c911da-8f72-43e2-badc-18a595f02d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What_x0020_is_x0020_this_x003f_" ma:index="18" nillable="true" ma:displayName="What is this?" ma:internalName="What_x0020_is_x0020_this_x003f_">
      <xsd:simpleType>
        <xsd:restriction base="dms:Text">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23e38c7f-ba22-40b3-8743-e019f93da41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60d7bd4-6ed0-4db3-8fc3-5e93bd8d508a"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a83fb05-25c4-4fe8-9c7d-8cc98df650b4"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887d90c6-bc6f-4532-811c-b559b377a42f}" ma:internalName="TaxCatchAll" ma:showField="CatchAllData" ma:web="b60d7bd4-6ed0-4db3-8fc3-5e93bd8d50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9BA577-94B5-41AF-8170-03053F0AB86E}">
  <ds:schemaRefs>
    <ds:schemaRef ds:uri="http://schemas.microsoft.com/sharepoint/v3/contenttype/forms"/>
  </ds:schemaRefs>
</ds:datastoreItem>
</file>

<file path=customXml/itemProps2.xml><?xml version="1.0" encoding="utf-8"?>
<ds:datastoreItem xmlns:ds="http://schemas.openxmlformats.org/officeDocument/2006/customXml" ds:itemID="{574149AE-04CA-4D84-8A43-59DACA3AEEA4}">
  <ds:schemaRefs>
    <ds:schemaRef ds:uri="http://schemas.microsoft.com/office/2006/metadata/properties"/>
    <ds:schemaRef ds:uri="http://schemas.microsoft.com/office/infopath/2007/PartnerControls"/>
    <ds:schemaRef ds:uri="fa83fb05-25c4-4fe8-9c7d-8cc98df650b4"/>
    <ds:schemaRef ds:uri="33c911da-8f72-43e2-badc-18a595f02dc3"/>
  </ds:schemaRefs>
</ds:datastoreItem>
</file>

<file path=customXml/itemProps3.xml><?xml version="1.0" encoding="utf-8"?>
<ds:datastoreItem xmlns:ds="http://schemas.openxmlformats.org/officeDocument/2006/customXml" ds:itemID="{D98D3BE6-213D-4833-A23A-8ED28B180E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3c911da-8f72-43e2-badc-18a595f02dc3"/>
    <ds:schemaRef ds:uri="b60d7bd4-6ed0-4db3-8fc3-5e93bd8d508a"/>
    <ds:schemaRef ds:uri="fa83fb05-25c4-4fe8-9c7d-8cc98df650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DH_PPT_Master_5.3</Template>
  <TotalTime>12673</TotalTime>
  <Words>2420</Words>
  <Application>Microsoft Office PowerPoint</Application>
  <PresentationFormat>Widescreen</PresentationFormat>
  <Paragraphs>277</Paragraphs>
  <Slides>23</Slides>
  <Notes>23</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23</vt:i4>
      </vt:variant>
    </vt:vector>
  </HeadingPairs>
  <TitlesOfParts>
    <vt:vector size="40" baseType="lpstr">
      <vt:lpstr>Arial</vt:lpstr>
      <vt:lpstr>Calibri</vt:lpstr>
      <vt:lpstr>FreightSans Pro Book</vt:lpstr>
      <vt:lpstr>Roc Grotesk</vt:lpstr>
      <vt:lpstr>Segoe UI</vt:lpstr>
      <vt:lpstr>Tablet Gothic</vt:lpstr>
      <vt:lpstr>Verdana</vt:lpstr>
      <vt:lpstr>Master Slide Dark Green</vt:lpstr>
      <vt:lpstr>Master Slide White</vt:lpstr>
      <vt:lpstr>Master Slide Light Green</vt:lpstr>
      <vt:lpstr>1_Master Slide White</vt:lpstr>
      <vt:lpstr>2_Master Slide Dark Green</vt:lpstr>
      <vt:lpstr>1_Master Slide Dark Green</vt:lpstr>
      <vt:lpstr>1_Master Slide Light Green</vt:lpstr>
      <vt:lpstr>3_Master Slide White</vt:lpstr>
      <vt:lpstr>3_Master Slide Light Green</vt:lpstr>
      <vt:lpstr>think-cell Slide</vt:lpstr>
      <vt:lpstr>PowerPoint Presentation</vt:lpstr>
      <vt:lpstr>What is Living Income ??</vt:lpstr>
      <vt:lpstr>PowerPoint Presentation</vt:lpstr>
      <vt:lpstr>PowerPoint Presentation</vt:lpstr>
      <vt:lpstr>Living Income as a Target</vt:lpstr>
      <vt:lpstr>What is the living income gap?</vt:lpstr>
      <vt:lpstr>PowerPoint Presentation</vt:lpstr>
      <vt:lpstr>Why Farmers’ Income Matters</vt:lpstr>
      <vt:lpstr>Global urgency for SHF and workers</vt:lpstr>
      <vt:lpstr>Sustainability potential beyond income</vt:lpstr>
      <vt:lpstr>Stakeholder Incentives</vt:lpstr>
      <vt:lpstr>PowerPoint Presentation</vt:lpstr>
      <vt:lpstr>PowerPoint Presentation</vt:lpstr>
      <vt:lpstr>Incentives for other stakeholders</vt:lpstr>
      <vt:lpstr>Applied Learnings</vt:lpstr>
      <vt:lpstr>Insight 1: Household income is often diversified</vt:lpstr>
      <vt:lpstr>Moving towards Living Income</vt:lpstr>
      <vt:lpstr>Insight 2: Build your strategy on most relevant income drivers</vt:lpstr>
      <vt:lpstr>For Palm: relevant parameters of income drivers</vt:lpstr>
      <vt:lpstr>Insight 3: Developing stable diversified income sources is an essential strategy</vt:lpstr>
      <vt:lpstr>Insight 4: “Smart-mix” of strategies across stakeholders is essential </vt:lpstr>
      <vt:lpstr>Insight 5: Data is a necessity and crucial found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Katie Catling</dc:creator>
  <cp:keywords/>
  <dc:description/>
  <cp:lastModifiedBy>Vaibhav Panpaliya</cp:lastModifiedBy>
  <cp:revision>100</cp:revision>
  <dcterms:created xsi:type="dcterms:W3CDTF">2022-11-02T10:08:08Z</dcterms:created>
  <dcterms:modified xsi:type="dcterms:W3CDTF">2025-05-19T21:58:0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34DBE5FED294FB9D4A23CB1B0D4A7</vt:lpwstr>
  </property>
  <property fmtid="{D5CDD505-2E9C-101B-9397-08002B2CF9AE}" pid="3" name="NXPowerLiteLastOptimized">
    <vt:lpwstr>34793312</vt:lpwstr>
  </property>
  <property fmtid="{D5CDD505-2E9C-101B-9397-08002B2CF9AE}" pid="4" name="NXPowerLiteSettings">
    <vt:lpwstr>C980073804F000</vt:lpwstr>
  </property>
  <property fmtid="{D5CDD505-2E9C-101B-9397-08002B2CF9AE}" pid="5" name="NXPowerLiteVersion">
    <vt:lpwstr>D8.0.4</vt:lpwstr>
  </property>
</Properties>
</file>